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94" r:id="rId32"/>
    <p:sldMasterId id="2147483996" r:id="rId33"/>
    <p:sldMasterId id="2147484027" r:id="rId34"/>
  </p:sldMasterIdLst>
  <p:notesMasterIdLst>
    <p:notesMasterId r:id="rId49"/>
  </p:notesMasterIdLst>
  <p:handoutMasterIdLst>
    <p:handoutMasterId r:id="rId50"/>
  </p:handoutMasterIdLst>
  <p:sldIdLst>
    <p:sldId id="256" r:id="rId35"/>
    <p:sldId id="2147376392" r:id="rId36"/>
    <p:sldId id="2147376477" r:id="rId37"/>
    <p:sldId id="2147376382" r:id="rId38"/>
    <p:sldId id="2147376469" r:id="rId39"/>
    <p:sldId id="2147376435" r:id="rId40"/>
    <p:sldId id="2147376303" r:id="rId41"/>
    <p:sldId id="2147376482" r:id="rId42"/>
    <p:sldId id="2147376471" r:id="rId43"/>
    <p:sldId id="2147376481" r:id="rId44"/>
    <p:sldId id="2147376396" r:id="rId45"/>
    <p:sldId id="2147376484" r:id="rId46"/>
    <p:sldId id="309" r:id="rId47"/>
    <p:sldId id="2147376393" r:id="rId48"/>
  </p:sldIdLst>
  <p:sldSz cx="9144000" cy="5143500" type="screen16x9"/>
  <p:notesSz cx="6858000" cy="9926638"/>
  <p:custShowLst>
    <p:custShow name="Short introduction" id="0">
      <p:sldLst>
        <p:sld r:id="rId47"/>
      </p:sldLst>
    </p:custShow>
    <p:custShow name="Electronics" id="1">
      <p:sldLst/>
    </p:custShow>
    <p:custShow name="Mechanics" id="2">
      <p:sldLst/>
    </p:custShow>
    <p:custShow name="Rapid Prototyping" id="3">
      <p:sldLst/>
    </p:custShow>
    <p:custShow name="Support functions" id="4">
      <p:sldLst/>
    </p:custShow>
    <p:custShow name="Memberships" id="5">
      <p:sldLst/>
    </p:custShow>
  </p:custShowLst>
  <p:custDataLst>
    <p:tags r:id="rId5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Tahoma" charset="0"/>
        <a:ea typeface="+mn-ea"/>
        <a:cs typeface="+mn-cs"/>
      </a:defRPr>
    </a:lvl1pPr>
    <a:lvl2pPr marL="457102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Tahoma" charset="0"/>
        <a:ea typeface="+mn-ea"/>
        <a:cs typeface="+mn-cs"/>
      </a:defRPr>
    </a:lvl2pPr>
    <a:lvl3pPr marL="914205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Tahoma" charset="0"/>
        <a:ea typeface="+mn-ea"/>
        <a:cs typeface="+mn-cs"/>
      </a:defRPr>
    </a:lvl3pPr>
    <a:lvl4pPr marL="1371306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Tahoma" charset="0"/>
        <a:ea typeface="+mn-ea"/>
        <a:cs typeface="+mn-cs"/>
      </a:defRPr>
    </a:lvl4pPr>
    <a:lvl5pPr marL="1828409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Tahoma" charset="0"/>
        <a:ea typeface="+mn-ea"/>
        <a:cs typeface="+mn-cs"/>
      </a:defRPr>
    </a:lvl5pPr>
    <a:lvl6pPr marL="2285511" algn="l" defTabSz="914205" rtl="0" eaLnBrk="1" latinLnBrk="0" hangingPunct="1">
      <a:defRPr sz="3600" kern="1200">
        <a:solidFill>
          <a:schemeClr val="tx1"/>
        </a:solidFill>
        <a:latin typeface="Tahoma" charset="0"/>
        <a:ea typeface="+mn-ea"/>
        <a:cs typeface="+mn-cs"/>
      </a:defRPr>
    </a:lvl6pPr>
    <a:lvl7pPr marL="2742614" algn="l" defTabSz="914205" rtl="0" eaLnBrk="1" latinLnBrk="0" hangingPunct="1">
      <a:defRPr sz="3600" kern="1200">
        <a:solidFill>
          <a:schemeClr val="tx1"/>
        </a:solidFill>
        <a:latin typeface="Tahoma" charset="0"/>
        <a:ea typeface="+mn-ea"/>
        <a:cs typeface="+mn-cs"/>
      </a:defRPr>
    </a:lvl7pPr>
    <a:lvl8pPr marL="3199716" algn="l" defTabSz="914205" rtl="0" eaLnBrk="1" latinLnBrk="0" hangingPunct="1">
      <a:defRPr sz="3600" kern="1200">
        <a:solidFill>
          <a:schemeClr val="tx1"/>
        </a:solidFill>
        <a:latin typeface="Tahoma" charset="0"/>
        <a:ea typeface="+mn-ea"/>
        <a:cs typeface="+mn-cs"/>
      </a:defRPr>
    </a:lvl8pPr>
    <a:lvl9pPr marL="3656818" algn="l" defTabSz="914205" rtl="0" eaLnBrk="1" latinLnBrk="0" hangingPunct="1">
      <a:defRPr sz="3600" kern="1200">
        <a:solidFill>
          <a:schemeClr val="tx1"/>
        </a:solidFill>
        <a:latin typeface="Tahoma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C0A35B4-FCBC-4979-A8F6-1279CE225C38}">
          <p14:sldIdLst>
            <p14:sldId id="256"/>
            <p14:sldId id="2147376392"/>
            <p14:sldId id="2147376477"/>
            <p14:sldId id="2147376382"/>
            <p14:sldId id="2147376469"/>
            <p14:sldId id="2147376435"/>
            <p14:sldId id="2147376303"/>
            <p14:sldId id="2147376482"/>
            <p14:sldId id="2147376471"/>
            <p14:sldId id="2147376481"/>
            <p14:sldId id="2147376396"/>
            <p14:sldId id="2147376484"/>
            <p14:sldId id="309"/>
          </p14:sldIdLst>
        </p14:section>
        <p14:section name="Backup" id="{40791670-D7C9-7F43-8CA8-D16C9DA59DB6}">
          <p14:sldIdLst>
            <p14:sldId id="21473763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931">
          <p15:clr>
            <a:srgbClr val="A4A3A4"/>
          </p15:clr>
        </p15:guide>
        <p15:guide id="2" orient="horz" pos="552">
          <p15:clr>
            <a:srgbClr val="A4A3A4"/>
          </p15:clr>
        </p15:guide>
        <p15:guide id="3" orient="horz" pos="1686">
          <p15:clr>
            <a:srgbClr val="A4A3A4"/>
          </p15:clr>
        </p15:guide>
        <p15:guide id="4" orient="horz" pos="1800">
          <p15:clr>
            <a:srgbClr val="A4A3A4"/>
          </p15:clr>
        </p15:guide>
        <p15:guide id="5" pos="5540">
          <p15:clr>
            <a:srgbClr val="A4A3A4"/>
          </p15:clr>
        </p15:guide>
        <p15:guide id="6" pos="232">
          <p15:clr>
            <a:srgbClr val="A4A3A4"/>
          </p15:clr>
        </p15:guide>
        <p15:guide id="7" pos="2830">
          <p15:clr>
            <a:srgbClr val="A4A3A4"/>
          </p15:clr>
        </p15:guide>
        <p15:guide id="8" pos="29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">
          <p15:clr>
            <a:srgbClr val="A4A3A4"/>
          </p15:clr>
        </p15:guide>
        <p15:guide id="2" orient="horz" pos="5963">
          <p15:clr>
            <a:srgbClr val="A4A3A4"/>
          </p15:clr>
        </p15:guide>
        <p15:guide id="3" pos="440">
          <p15:clr>
            <a:srgbClr val="A4A3A4"/>
          </p15:clr>
        </p15:guide>
        <p15:guide id="4" pos="4083">
          <p15:clr>
            <a:srgbClr val="A4A3A4"/>
          </p15:clr>
        </p15:guide>
        <p15:guide id="5" orient="horz" pos="5960">
          <p15:clr>
            <a:srgbClr val="A4A3A4"/>
          </p15:clr>
        </p15:guide>
        <p15:guide id="6" pos="442">
          <p15:clr>
            <a:srgbClr val="A4A3A4"/>
          </p15:clr>
        </p15:guide>
        <p15:guide id="7" pos="410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6" name="Autor" initials="A" lastIdx="0" clrIdx="1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4"/>
    <a:srgbClr val="004D7A"/>
    <a:srgbClr val="E6F2F9"/>
    <a:srgbClr val="DD0C29"/>
    <a:srgbClr val="7FA5BC"/>
    <a:srgbClr val="81BCDF"/>
    <a:srgbClr val="1179BF"/>
    <a:srgbClr val="BFEAF9"/>
    <a:srgbClr val="7FD5F3"/>
    <a:srgbClr val="00AB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8D230F3-CF80-4859-8CE7-A43EE81993B5}" styleName="Světlý styl 1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Světlý styl 2 – zvýraznění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1769" autoAdjust="0"/>
  </p:normalViewPr>
  <p:slideViewPr>
    <p:cSldViewPr snapToGrid="0">
      <p:cViewPr varScale="1">
        <p:scale>
          <a:sx n="150" d="100"/>
          <a:sy n="150" d="100"/>
        </p:scale>
        <p:origin x="456" y="138"/>
      </p:cViewPr>
      <p:guideLst>
        <p:guide orient="horz" pos="2931"/>
        <p:guide orient="horz" pos="552"/>
        <p:guide orient="horz" pos="1686"/>
        <p:guide orient="horz" pos="1800"/>
        <p:guide pos="5540"/>
        <p:guide pos="232"/>
        <p:guide pos="2830"/>
        <p:guide pos="294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632" y="918"/>
      </p:cViewPr>
      <p:guideLst>
        <p:guide orient="horz" pos="293"/>
        <p:guide orient="horz" pos="5963"/>
        <p:guide pos="440"/>
        <p:guide pos="4083"/>
        <p:guide orient="horz" pos="5960"/>
        <p:guide pos="442"/>
        <p:guide pos="410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" Target="slides/slide5.xml"/><Relationship Id="rId21" Type="http://schemas.openxmlformats.org/officeDocument/2006/relationships/customXml" Target="../customXml/item21.xml"/><Relationship Id="rId34" Type="http://schemas.openxmlformats.org/officeDocument/2006/relationships/slideMaster" Target="slideMasters/slideMaster3.xml"/><Relationship Id="rId42" Type="http://schemas.openxmlformats.org/officeDocument/2006/relationships/slide" Target="slides/slide8.xml"/><Relationship Id="rId47" Type="http://schemas.openxmlformats.org/officeDocument/2006/relationships/slide" Target="slides/slide13.xml"/><Relationship Id="rId50" Type="http://schemas.openxmlformats.org/officeDocument/2006/relationships/handoutMaster" Target="handoutMasters/handoutMaster1.xml"/><Relationship Id="rId55" Type="http://schemas.openxmlformats.org/officeDocument/2006/relationships/theme" Target="theme/theme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Master" Target="slideMasters/slideMaster1.xml"/><Relationship Id="rId37" Type="http://schemas.openxmlformats.org/officeDocument/2006/relationships/slide" Target="slides/slide3.xml"/><Relationship Id="rId40" Type="http://schemas.openxmlformats.org/officeDocument/2006/relationships/slide" Target="slides/slide6.xml"/><Relationship Id="rId45" Type="http://schemas.openxmlformats.org/officeDocument/2006/relationships/slide" Target="slides/slide11.xml"/><Relationship Id="rId53" Type="http://schemas.openxmlformats.org/officeDocument/2006/relationships/presProps" Target="presProps.xml"/><Relationship Id="rId5" Type="http://schemas.openxmlformats.org/officeDocument/2006/relationships/customXml" Target="../customXml/item5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slide" Target="slides/slide10.xml"/><Relationship Id="rId52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" Target="slides/slide1.xml"/><Relationship Id="rId43" Type="http://schemas.openxmlformats.org/officeDocument/2006/relationships/slide" Target="slides/slide9.xml"/><Relationship Id="rId48" Type="http://schemas.openxmlformats.org/officeDocument/2006/relationships/slide" Target="slides/slide14.xml"/><Relationship Id="rId56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Master" Target="slideMasters/slideMaster2.xml"/><Relationship Id="rId38" Type="http://schemas.openxmlformats.org/officeDocument/2006/relationships/slide" Target="slides/slide4.xml"/><Relationship Id="rId46" Type="http://schemas.openxmlformats.org/officeDocument/2006/relationships/slide" Target="slides/slide12.xml"/><Relationship Id="rId20" Type="http://schemas.openxmlformats.org/officeDocument/2006/relationships/customXml" Target="../customXml/item20.xml"/><Relationship Id="rId41" Type="http://schemas.openxmlformats.org/officeDocument/2006/relationships/slide" Target="slides/slide7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" Target="slides/slide2.xml"/><Relationship Id="rId49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71261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>
              <a:latin typeface="Tahoma" panose="020B0604030504040204" pitchFamily="34" charset="0"/>
            </a:endParaRP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5124" y="0"/>
            <a:ext cx="2971261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>
              <a:latin typeface="Tahoma" panose="020B0604030504040204" pitchFamily="34" charset="0"/>
            </a:endParaRPr>
          </a:p>
        </p:txBody>
      </p:sp>
      <p:sp>
        <p:nvSpPr>
          <p:cNvPr id="4003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29048"/>
            <a:ext cx="2971261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>
              <a:latin typeface="Tahoma" panose="020B0604030504040204" pitchFamily="34" charset="0"/>
            </a:endParaRPr>
          </a:p>
        </p:txBody>
      </p:sp>
      <p:sp>
        <p:nvSpPr>
          <p:cNvPr id="4003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5124" y="9429048"/>
            <a:ext cx="2971261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A9E995C-A1C3-4891-826F-B58323B5BAF0}" type="slidenum">
              <a:rPr lang="de-DE">
                <a:latin typeface="Tahoma" panose="020B0604030504040204" pitchFamily="34" charset="0"/>
              </a:rPr>
              <a:pPr/>
              <a:t>‹#›</a:t>
            </a:fld>
            <a:endParaRPr lang="de-DE"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36016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5963" y="466725"/>
            <a:ext cx="5759450" cy="32400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48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0070" y="3960000"/>
            <a:ext cx="5811116" cy="54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48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596092" y="9473600"/>
            <a:ext cx="2905558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934568">
              <a:defRPr sz="900">
                <a:latin typeface="Tahoma" panose="020B0604030504040204" pitchFamily="34" charset="0"/>
              </a:defRPr>
            </a:lvl1pPr>
          </a:lstStyle>
          <a:p>
            <a:fld id="{17D2E66F-F39D-431A-92B9-38BCB45B539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170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  <a:lvl2pPr marL="180957" indent="-180957" algn="l" rtl="0" fontAlgn="base">
      <a:spcBef>
        <a:spcPct val="0"/>
      </a:spcBef>
      <a:spcAft>
        <a:spcPct val="0"/>
      </a:spcAft>
      <a:buClr>
        <a:schemeClr val="tx2"/>
      </a:buClr>
      <a:buSzPct val="100000"/>
      <a:buFont typeface="Arial" panose="020B0604020202020204" pitchFamily="34" charset="0"/>
      <a:buChar char="•"/>
      <a:defRPr sz="10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2pPr>
    <a:lvl3pPr marL="361913" indent="-180957" algn="l" rtl="0" fontAlgn="base">
      <a:spcBef>
        <a:spcPct val="0"/>
      </a:spcBef>
      <a:spcAft>
        <a:spcPct val="0"/>
      </a:spcAft>
      <a:buClr>
        <a:schemeClr val="tx2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3pPr>
    <a:lvl4pPr marL="533364" indent="-171450" algn="l" rtl="0" fontAlgn="base">
      <a:spcBef>
        <a:spcPct val="0"/>
      </a:spcBef>
      <a:spcAft>
        <a:spcPct val="0"/>
      </a:spcAft>
      <a:buClr>
        <a:schemeClr val="tx2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4pPr>
    <a:lvl5pPr marL="714321" indent="-171450" algn="l" rtl="0" fontAlgn="base">
      <a:spcBef>
        <a:spcPct val="0"/>
      </a:spcBef>
      <a:spcAft>
        <a:spcPct val="0"/>
      </a:spcAft>
      <a:buClr>
        <a:schemeClr val="tx2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5pPr>
    <a:lvl6pPr marL="2285511" algn="l" defTabSz="91420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4" algn="l" defTabSz="91420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16" algn="l" defTabSz="91420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18" algn="l" defTabSz="91420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B4C21-2AF8-4513-9A88-12DEBB551087}" type="slidenum">
              <a:rPr lang="de-DE" smtClean="0"/>
              <a:t>1</a:t>
            </a:fld>
            <a:endParaRPr lang="de-DE"/>
          </a:p>
        </p:txBody>
      </p:sp>
      <p:sp>
        <p:nvSpPr>
          <p:cNvPr id="10" name="Folienbildplatzhalter 9"/>
          <p:cNvSpPr>
            <a:spLocks noGrp="1" noRot="1" noChangeAspect="1"/>
          </p:cNvSpPr>
          <p:nvPr>
            <p:ph type="sldImg"/>
          </p:nvPr>
        </p:nvSpPr>
        <p:spPr>
          <a:xfrm>
            <a:off x="360363" y="360363"/>
            <a:ext cx="6119812" cy="3443287"/>
          </a:xfrm>
        </p:spPr>
      </p:sp>
      <p:sp>
        <p:nvSpPr>
          <p:cNvPr id="11" name="Notizenplatzhalt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1869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2E66F-F39D-431A-92B9-38BCB45B539F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61335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22270" cy="49403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>
          <a:xfrm>
            <a:off x="3819869" y="0"/>
            <a:ext cx="2922270" cy="49403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5E89B-F4D6-4734-A5B9-B49940B5D7E8}" type="datetime1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9.2024</a:t>
            </a:fld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0" y="9384855"/>
            <a:ext cx="2922270" cy="49403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B4C21-2AF8-4513-9A88-12DEBB551087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2568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360363"/>
            <a:ext cx="6119812" cy="34432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Calibri"/>
                <a:cs typeface="Calibri"/>
              </a:rPr>
              <a:t>5.4.21 - Replace </a:t>
            </a:r>
            <a:r>
              <a:rPr lang="en-US" dirty="0" err="1">
                <a:latin typeface="Calibri"/>
                <a:cs typeface="Calibri"/>
              </a:rPr>
              <a:t>heli</a:t>
            </a:r>
            <a:r>
              <a:rPr lang="en-US" dirty="0">
                <a:latin typeface="Calibri"/>
                <a:cs typeface="Calibri"/>
              </a:rPr>
              <a:t> by wind power transmission</a:t>
            </a:r>
          </a:p>
          <a:p>
            <a:r>
              <a:rPr lang="en-US" dirty="0">
                <a:latin typeface="Calibri"/>
                <a:cs typeface="Calibri"/>
              </a:rPr>
              <a:t>Replace / modify pictures for blue backgrou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B4C21-2AF8-4513-9A88-12DEBB551087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3872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360363"/>
            <a:ext cx="6119812" cy="34432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Update 21-01-2022: Marta </a:t>
            </a:r>
            <a:r>
              <a:rPr lang="cs-CZ" dirty="0" err="1"/>
              <a:t>Surowiec</a:t>
            </a:r>
            <a:r>
              <a:rPr lang="cs-CZ" dirty="0"/>
              <a:t> </a:t>
            </a:r>
            <a:r>
              <a:rPr lang="cs-CZ" dirty="0" err="1"/>
              <a:t>does</a:t>
            </a:r>
            <a:r>
              <a:rPr lang="cs-CZ" dirty="0"/>
              <a:t> not </a:t>
            </a:r>
            <a:r>
              <a:rPr lang="cs-CZ" dirty="0" err="1"/>
              <a:t>have</a:t>
            </a:r>
            <a:r>
              <a:rPr lang="cs-CZ" dirty="0"/>
              <a:t> </a:t>
            </a:r>
            <a:r>
              <a:rPr lang="cs-CZ" dirty="0" err="1"/>
              <a:t>the</a:t>
            </a:r>
            <a:r>
              <a:rPr lang="cs-CZ" dirty="0"/>
              <a:t> </a:t>
            </a:r>
            <a:r>
              <a:rPr lang="cs-CZ" dirty="0" err="1"/>
              <a:t>info</a:t>
            </a:r>
            <a:r>
              <a:rPr lang="cs-CZ" dirty="0"/>
              <a:t> </a:t>
            </a:r>
            <a:r>
              <a:rPr lang="cs-CZ" dirty="0" err="1"/>
              <a:t>yet</a:t>
            </a:r>
            <a:r>
              <a:rPr lang="cs-CZ" dirty="0"/>
              <a:t> and </a:t>
            </a:r>
            <a:r>
              <a:rPr lang="cs-CZ" dirty="0" err="1"/>
              <a:t>she</a:t>
            </a:r>
            <a:r>
              <a:rPr lang="cs-CZ" dirty="0"/>
              <a:t> </a:t>
            </a:r>
            <a:r>
              <a:rPr lang="cs-CZ" dirty="0" err="1"/>
              <a:t>instructed</a:t>
            </a:r>
            <a:r>
              <a:rPr lang="cs-CZ" dirty="0"/>
              <a:t> </a:t>
            </a:r>
            <a:r>
              <a:rPr lang="cs-CZ" dirty="0" err="1"/>
              <a:t>us</a:t>
            </a:r>
            <a:r>
              <a:rPr lang="cs-CZ" dirty="0"/>
              <a:t> not to </a:t>
            </a:r>
            <a:r>
              <a:rPr lang="cs-CZ" dirty="0" err="1"/>
              <a:t>share</a:t>
            </a:r>
            <a:r>
              <a:rPr lang="cs-CZ" dirty="0"/>
              <a:t> these </a:t>
            </a:r>
            <a:r>
              <a:rPr lang="cs-CZ" dirty="0" err="1"/>
              <a:t>numbers</a:t>
            </a:r>
            <a:r>
              <a:rPr lang="cs-CZ" dirty="0"/>
              <a:t> </a:t>
            </a:r>
            <a:r>
              <a:rPr lang="cs-CZ" dirty="0" err="1"/>
              <a:t>externally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B4C21-2AF8-4513-9A88-12DEBB55108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31207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360363"/>
            <a:ext cx="6119812" cy="34432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B4C21-2AF8-4513-9A88-12DEBB551087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62536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360363"/>
            <a:ext cx="6119812" cy="34432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B4C21-2AF8-4513-9A88-12DEBB551087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93730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360363"/>
            <a:ext cx="6119812" cy="34432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B4C21-2AF8-4513-9A88-12DEBB55108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2593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D2E66F-F39D-431A-92B9-38BCB45B539F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4629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2E66F-F39D-431A-92B9-38BCB45B539F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49949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9999" y="1484884"/>
            <a:ext cx="8424000" cy="1057982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" cy="3599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lze upravit styl předlohy.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59999" y="2729931"/>
            <a:ext cx="8424000" cy="2520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98" y="438150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528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1179BF"/>
                </a:solidFill>
              </a:rPr>
              <a:pPr algn="r">
                <a:lnSpc>
                  <a:spcPts val="800"/>
                </a:lnSpc>
              </a:pPr>
              <a:t>‹#›</a:t>
            </a:fld>
            <a:endParaRPr lang="cs-CZ">
              <a:solidFill>
                <a:srgbClr val="1179BF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0" y="864002"/>
            <a:ext cx="9144000" cy="3780000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11" name="Textfeld 13"/>
          <p:cNvSpPr txBox="1">
            <a:spLocks noChangeArrowheads="1"/>
          </p:cNvSpPr>
          <p:nvPr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2" name="Textfeld 14"/>
          <p:cNvSpPr txBox="1">
            <a:spLocks noChangeArrowheads="1"/>
          </p:cNvSpPr>
          <p:nvPr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0045328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84309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2781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indiviu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4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5" name="Gerade Verbindung 14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Grafik 11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grpSp>
        <p:nvGrpSpPr>
          <p:cNvPr id="6" name="Gruppieren 5"/>
          <p:cNvGrpSpPr/>
          <p:nvPr/>
        </p:nvGrpSpPr>
        <p:grpSpPr>
          <a:xfrm>
            <a:off x="-2188873" y="0"/>
            <a:ext cx="2103150" cy="2448000"/>
            <a:chOff x="-2188874" y="0"/>
            <a:chExt cx="2103150" cy="2448000"/>
          </a:xfrm>
        </p:grpSpPr>
        <p:sp>
          <p:nvSpPr>
            <p:cNvPr id="13" name="Textfeld 12"/>
            <p:cNvSpPr txBox="1">
              <a:spLocks noChangeArrowheads="1"/>
            </p:cNvSpPr>
            <p:nvPr userDrawn="1"/>
          </p:nvSpPr>
          <p:spPr bwMode="auto">
            <a:xfrm>
              <a:off x="-2188874" y="0"/>
              <a:ext cx="2103150" cy="2448000"/>
            </a:xfrm>
            <a:prstGeom prst="rect">
              <a:avLst/>
            </a:prstGeom>
            <a:solidFill>
              <a:srgbClr val="DD0C29"/>
            </a:solidFill>
            <a:ln>
              <a:noFill/>
            </a:ln>
          </p:spPr>
          <p:txBody>
            <a:bodyPr wrap="square" lIns="36000" tIns="36000" rIns="36000" bIns="36000">
              <a:no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de-DE" sz="1000" b="1">
                  <a:solidFill>
                    <a:srgbClr val="FFFFFF"/>
                  </a:solidFill>
                  <a:cs typeface="Tahoma" charset="0"/>
                </a:rPr>
                <a:t>Bearbeitungshinweis: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de-DE" sz="800">
                  <a:solidFill>
                    <a:srgbClr val="FFFFFF"/>
                  </a:solidFill>
                  <a:cs typeface="Tahoma" charset="0"/>
                </a:rPr>
                <a:t>Um das Hintergrundbild auszutauschen, klicken Sie mit der rechten Maustaste auf die Folie und anschließend auf „Hintergrund formatieren“. Wählen Sie dann das gewünschte Bild über „Einfügen aus: Datei“ ein.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de-DE" sz="800" b="1">
                  <a:solidFill>
                    <a:srgbClr val="FFFFFF"/>
                  </a:solidFill>
                  <a:cs typeface="Tahoma" charset="0"/>
                </a:rPr>
                <a:t>WICHTIG:</a:t>
              </a:r>
              <a:r>
                <a:rPr lang="de-DE" sz="800">
                  <a:solidFill>
                    <a:srgbClr val="FFFFFF"/>
                  </a:solidFill>
                  <a:cs typeface="Tahoma" charset="0"/>
                </a:rPr>
                <a:t> Wenn Sie diese Folie dann in eine andere Präsentation einfügen, müssen Sie die ursprüngliche Formatierung beibehalten, da ansonsten der Hintergrund wieder zurückgesetzt wird.  </a:t>
              </a:r>
            </a:p>
          </p:txBody>
        </p:sp>
        <p:pic>
          <p:nvPicPr>
            <p:cNvPr id="5" name="Grafik 4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000481" y="1576454"/>
              <a:ext cx="1723293" cy="828155"/>
            </a:xfrm>
            <a:prstGeom prst="rect">
              <a:avLst/>
            </a:prstGeom>
          </p:spPr>
        </p:pic>
      </p:grpSp>
      <p:grpSp>
        <p:nvGrpSpPr>
          <p:cNvPr id="17" name="Gruppieren 16"/>
          <p:cNvGrpSpPr/>
          <p:nvPr/>
        </p:nvGrpSpPr>
        <p:grpSpPr>
          <a:xfrm>
            <a:off x="-2188873" y="2557009"/>
            <a:ext cx="2103150" cy="2124000"/>
            <a:chOff x="-2188874" y="0"/>
            <a:chExt cx="2103150" cy="2124000"/>
          </a:xfrm>
        </p:grpSpPr>
        <p:sp>
          <p:nvSpPr>
            <p:cNvPr id="20" name="Textfeld 19"/>
            <p:cNvSpPr txBox="1">
              <a:spLocks noChangeArrowheads="1"/>
            </p:cNvSpPr>
            <p:nvPr userDrawn="1"/>
          </p:nvSpPr>
          <p:spPr bwMode="auto">
            <a:xfrm>
              <a:off x="-2188874" y="0"/>
              <a:ext cx="2103150" cy="2124000"/>
            </a:xfrm>
            <a:prstGeom prst="rect">
              <a:avLst/>
            </a:prstGeom>
            <a:solidFill>
              <a:srgbClr val="DD0C29"/>
            </a:solidFill>
            <a:ln>
              <a:noFill/>
            </a:ln>
          </p:spPr>
          <p:txBody>
            <a:bodyPr wrap="square" lIns="36000" tIns="36000" rIns="36000" bIns="36000">
              <a:no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de-DE" sz="1000" b="1">
                  <a:solidFill>
                    <a:srgbClr val="FFFFFF"/>
                  </a:solidFill>
                  <a:cs typeface="Tahoma" charset="0"/>
                </a:rPr>
                <a:t>Handling </a:t>
              </a:r>
              <a:r>
                <a:rPr lang="de-DE" sz="1000" b="1" err="1">
                  <a:solidFill>
                    <a:srgbClr val="FFFFFF"/>
                  </a:solidFill>
                  <a:cs typeface="Tahoma" charset="0"/>
                </a:rPr>
                <a:t>instructions</a:t>
              </a:r>
              <a:r>
                <a:rPr lang="de-DE" sz="1000" b="1">
                  <a:solidFill>
                    <a:srgbClr val="FFFFFF"/>
                  </a:solidFill>
                  <a:cs typeface="Tahoma" charset="0"/>
                </a:rPr>
                <a:t>: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FFFFFF"/>
                  </a:solidFill>
                  <a:cs typeface="Tahoma" charset="0"/>
                </a:rPr>
                <a:t>To change the background, right-click on the slide and select “Format Background”. Choose the requested image “Insert from: File”. 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>
                  <a:solidFill>
                    <a:srgbClr val="FFFFFF"/>
                  </a:solidFill>
                  <a:cs typeface="Tahoma" charset="0"/>
                </a:rPr>
                <a:t>IMPORTANT:</a:t>
              </a:r>
              <a:r>
                <a:rPr lang="en-US" sz="800">
                  <a:solidFill>
                    <a:srgbClr val="FFFFFF"/>
                  </a:solidFill>
                  <a:cs typeface="Tahoma" charset="0"/>
                </a:rPr>
                <a:t> If you want to insert this slide into another presentation, you have to keep the original formatting. Otherwise the background will be reset.</a:t>
              </a: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000481" y="1231414"/>
              <a:ext cx="1723293" cy="828155"/>
            </a:xfrm>
            <a:prstGeom prst="rect">
              <a:avLst/>
            </a:prstGeom>
          </p:spPr>
        </p:pic>
      </p:grpSp>
      <p:sp>
        <p:nvSpPr>
          <p:cNvPr id="2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24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360001" y="324642"/>
            <a:ext cx="1279615" cy="1057982"/>
          </a:xfrm>
        </p:spPr>
        <p:txBody>
          <a:bodyPr wrap="none" lIns="0" tIns="0" rIns="0" bIns="0">
            <a:noAutofit/>
          </a:bodyPr>
          <a:lstStyle>
            <a:lvl1pPr>
              <a:defRPr lang="de-DE" sz="7200" b="1" kern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59999" y="1338593"/>
            <a:ext cx="8424000" cy="461665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3000" b="1" kern="120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cs-CZ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496463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 und 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60000" y="438150"/>
            <a:ext cx="6706589" cy="105798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grpSp>
        <p:nvGrpSpPr>
          <p:cNvPr id="16" name="Gruppieren 15"/>
          <p:cNvGrpSpPr/>
          <p:nvPr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7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20" name="Gerade Verbindung 19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95177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cial_Slide - Do_not_use!!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grpSp>
        <p:nvGrpSpPr>
          <p:cNvPr id="15" name="Gruppieren 14"/>
          <p:cNvGrpSpPr/>
          <p:nvPr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6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7" name="Gerade Verbindung 16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86303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Textplatzhalter 3"/>
          <p:cNvSpPr>
            <a:spLocks noGrp="1"/>
          </p:cNvSpPr>
          <p:nvPr>
            <p:ph idx="1"/>
          </p:nvPr>
        </p:nvSpPr>
        <p:spPr bwMode="gray">
          <a:xfrm>
            <a:off x="360002" y="864002"/>
            <a:ext cx="8424000" cy="37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283037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864002"/>
            <a:ext cx="4122737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4661096" y="864002"/>
            <a:ext cx="4122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79151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1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quarter" idx="14"/>
          </p:nvPr>
        </p:nvSpPr>
        <p:spPr>
          <a:xfrm>
            <a:off x="6084002" y="864002"/>
            <a:ext cx="2700000" cy="378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40776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863999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4660362" y="864000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quarter" idx="14"/>
          </p:nvPr>
        </p:nvSpPr>
        <p:spPr>
          <a:xfrm>
            <a:off x="360003" y="2844000"/>
            <a:ext cx="4122737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5"/>
          </p:nvPr>
        </p:nvSpPr>
        <p:spPr>
          <a:xfrm>
            <a:off x="4660362" y="2844000"/>
            <a:ext cx="4122737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84213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82357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quarter" idx="14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5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4"/>
          <p:cNvSpPr>
            <a:spLocks noGrp="1"/>
          </p:cNvSpPr>
          <p:nvPr>
            <p:ph sz="quarter" idx="16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915693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91" tIns="89991" rIns="89991" bIns="89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9"/>
              </a:lnSpc>
              <a:spcBef>
                <a:spcPts val="840"/>
              </a:spcBef>
            </a:pPr>
            <a:endParaRPr lang="de-DE" sz="1200" err="1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4000" cy="108000"/>
          </a:xfrm>
        </p:spPr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2"/>
          </p:nvPr>
        </p:nvSpPr>
        <p:spPr>
          <a:xfrm>
            <a:off x="4661096" y="0"/>
            <a:ext cx="4482904" cy="51435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360003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de-DE" sz="1000" b="1">
                <a:solidFill>
                  <a:schemeClr val="bg1"/>
                </a:solidFill>
                <a:latin typeface="Tahoma"/>
                <a:cs typeface="Arial" charset="0"/>
              </a:rPr>
              <a:t>Bearbeitungshinweis:</a:t>
            </a:r>
          </a:p>
          <a:p>
            <a:pPr algn="l" eaLnBrk="1" hangingPunct="1">
              <a:spcBef>
                <a:spcPct val="0"/>
              </a:spcBef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Klicken Sie auf das Symbol im Platzhalter und wählen Sie ein Bild aus.</a:t>
            </a:r>
          </a:p>
          <a:p>
            <a:pPr algn="l" eaLnBrk="1" hangingPunct="1">
              <a:spcBef>
                <a:spcPct val="0"/>
              </a:spcBef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Sofern das Bild nicht der Größe des Bildplatzhalters entspricht und somit nicht richtig zugeschnitten ist, gehen Sie bitte wie folgt vor:</a:t>
            </a:r>
          </a:p>
          <a:p>
            <a:pPr algn="l" eaLnBrk="1" hangingPunct="1">
              <a:spcBef>
                <a:spcPct val="0"/>
              </a:spcBef>
              <a:buFont typeface="Arial" charset="0"/>
              <a:buNone/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Gehen Sie mit der Maus auf das Bild - Klicken Sie auf die rechte Maustaste und wählen Sie „Grafik formatieren“ aus.</a:t>
            </a:r>
          </a:p>
          <a:p>
            <a:pPr algn="l" eaLnBrk="1" hangingPunct="1">
              <a:spcBef>
                <a:spcPct val="0"/>
              </a:spcBef>
              <a:buFont typeface="Arial" charset="0"/>
              <a:buNone/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Wählen Sie dann „Zuschneiden“. Unter „Bildposition“ – X-Offset und Y-Offset können Sie nun den gewünschten Ausschnitt bestimmen.</a:t>
            </a:r>
          </a:p>
          <a:p>
            <a:pPr algn="l" eaLnBrk="1" hangingPunct="1">
              <a:spcBef>
                <a:spcPct val="0"/>
              </a:spcBef>
              <a:buFont typeface="Arial" charset="0"/>
              <a:buNone/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chemeClr val="bg1"/>
              </a:solidFill>
              <a:latin typeface="Tahoma"/>
              <a:cs typeface="Arial" charset="0"/>
            </a:endParaRPr>
          </a:p>
        </p:txBody>
      </p:sp>
      <p:sp>
        <p:nvSpPr>
          <p:cNvPr id="12" name="Textfeld 11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de-DE" sz="1000" b="1">
                <a:solidFill>
                  <a:schemeClr val="bg1"/>
                </a:solidFill>
                <a:latin typeface="Tahoma"/>
                <a:cs typeface="Arial" charset="0"/>
              </a:rPr>
              <a:t>Handling </a:t>
            </a:r>
            <a:r>
              <a:rPr lang="de-DE" sz="1000" b="1" err="1">
                <a:solidFill>
                  <a:schemeClr val="bg1"/>
                </a:solidFill>
                <a:latin typeface="Tahoma"/>
                <a:cs typeface="Arial" charset="0"/>
              </a:rPr>
              <a:t>instructions</a:t>
            </a:r>
            <a:r>
              <a:rPr lang="de-DE" sz="1000" b="1">
                <a:solidFill>
                  <a:schemeClr val="bg1"/>
                </a:solidFill>
                <a:latin typeface="Tahoma"/>
                <a:cs typeface="Arial" charset="0"/>
              </a:rPr>
              <a:t>:</a:t>
            </a:r>
          </a:p>
          <a:p>
            <a:pPr algn="l" eaLnBrk="1" hangingPunct="1">
              <a:spcBef>
                <a:spcPct val="0"/>
              </a:spcBef>
            </a:pPr>
            <a:r>
              <a:rPr lang="en-US" sz="800">
                <a:solidFill>
                  <a:schemeClr val="bg1"/>
                </a:solidFill>
                <a:latin typeface="Tahoma"/>
                <a:cs typeface="Arial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algn="l" eaLnBrk="1" hangingPunct="1">
              <a:spcBef>
                <a:spcPct val="0"/>
              </a:spcBef>
            </a:pPr>
            <a:r>
              <a:rPr lang="en-US" sz="800">
                <a:solidFill>
                  <a:schemeClr val="bg1"/>
                </a:solidFill>
                <a:latin typeface="Tahoma"/>
                <a:cs typeface="Arial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algn="l" eaLnBrk="1" hangingPunct="1">
              <a:spcBef>
                <a:spcPct val="0"/>
              </a:spcBef>
            </a:pPr>
            <a:r>
              <a:rPr lang="en-US" sz="800">
                <a:solidFill>
                  <a:schemeClr val="bg1"/>
                </a:solidFill>
                <a:latin typeface="Tahoma"/>
                <a:cs typeface="Arial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6446234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mit zwei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91" tIns="89991" rIns="89991" bIns="89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9"/>
              </a:lnSpc>
              <a:spcBef>
                <a:spcPts val="840"/>
              </a:spcBef>
            </a:pPr>
            <a:endParaRPr lang="de-DE" sz="1200" err="1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3234" cy="108000"/>
          </a:xfrm>
        </p:spPr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sz="quarter" idx="12"/>
          </p:nvPr>
        </p:nvSpPr>
        <p:spPr>
          <a:xfrm>
            <a:off x="4661096" y="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13"/>
          </p:nvPr>
        </p:nvSpPr>
        <p:spPr>
          <a:xfrm>
            <a:off x="4661096" y="257400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60003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de-DE" sz="1000" b="1">
                <a:solidFill>
                  <a:schemeClr val="bg1"/>
                </a:solidFill>
                <a:latin typeface="Tahoma"/>
                <a:cs typeface="Arial" charset="0"/>
              </a:rPr>
              <a:t>Bearbeitungshinweis:</a:t>
            </a:r>
          </a:p>
          <a:p>
            <a:pPr algn="l" eaLnBrk="1" hangingPunct="1">
              <a:spcBef>
                <a:spcPct val="0"/>
              </a:spcBef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Klicken Sie auf das Symbol im Platzhalter und wählen Sie ein Bild aus.</a:t>
            </a:r>
          </a:p>
          <a:p>
            <a:pPr algn="l" eaLnBrk="1" hangingPunct="1">
              <a:spcBef>
                <a:spcPct val="0"/>
              </a:spcBef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Sofern das Bild nicht der Größe des Bildplatzhalters entspricht und somit nicht richtig zugeschnitten ist, gehen Sie bitte wie folgt vor:</a:t>
            </a:r>
          </a:p>
          <a:p>
            <a:pPr algn="l" eaLnBrk="1" hangingPunct="1">
              <a:spcBef>
                <a:spcPct val="0"/>
              </a:spcBef>
              <a:buFont typeface="Arial" charset="0"/>
              <a:buNone/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Gehen Sie mit der Maus auf das Bild - Klicken Sie auf die rechte Maustaste und wählen Sie „Grafik formatieren“ aus.</a:t>
            </a:r>
          </a:p>
          <a:p>
            <a:pPr algn="l" eaLnBrk="1" hangingPunct="1">
              <a:spcBef>
                <a:spcPct val="0"/>
              </a:spcBef>
              <a:buFont typeface="Arial" charset="0"/>
              <a:buNone/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Wählen Sie dann „Zuschneiden“. Unter „Bildposition“ – X-Offset und Y-Offset können Sie nun den gewünschten Ausschnitt bestimmen.</a:t>
            </a:r>
          </a:p>
          <a:p>
            <a:pPr algn="l" eaLnBrk="1" hangingPunct="1">
              <a:spcBef>
                <a:spcPct val="0"/>
              </a:spcBef>
              <a:buFont typeface="Arial" charset="0"/>
              <a:buNone/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chemeClr val="bg1"/>
              </a:solidFill>
              <a:latin typeface="Tahoma"/>
              <a:cs typeface="Arial" charset="0"/>
            </a:endParaRPr>
          </a:p>
        </p:txBody>
      </p:sp>
      <p:sp>
        <p:nvSpPr>
          <p:cNvPr id="12" name="Textfeld 11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de-DE" sz="1000" b="1">
                <a:solidFill>
                  <a:schemeClr val="bg1"/>
                </a:solidFill>
                <a:latin typeface="Tahoma"/>
                <a:cs typeface="Arial" charset="0"/>
              </a:rPr>
              <a:t>Handling </a:t>
            </a:r>
            <a:r>
              <a:rPr lang="de-DE" sz="1000" b="1" err="1">
                <a:solidFill>
                  <a:schemeClr val="bg1"/>
                </a:solidFill>
                <a:latin typeface="Tahoma"/>
                <a:cs typeface="Arial" charset="0"/>
              </a:rPr>
              <a:t>instructions</a:t>
            </a:r>
            <a:r>
              <a:rPr lang="de-DE" sz="1000" b="1">
                <a:solidFill>
                  <a:schemeClr val="bg1"/>
                </a:solidFill>
                <a:latin typeface="Tahoma"/>
                <a:cs typeface="Arial" charset="0"/>
              </a:rPr>
              <a:t>:</a:t>
            </a:r>
          </a:p>
          <a:p>
            <a:pPr algn="l" eaLnBrk="1" hangingPunct="1">
              <a:spcBef>
                <a:spcPct val="0"/>
              </a:spcBef>
            </a:pPr>
            <a:r>
              <a:rPr lang="en-US" sz="800">
                <a:solidFill>
                  <a:schemeClr val="bg1"/>
                </a:solidFill>
                <a:latin typeface="Tahoma"/>
                <a:cs typeface="Arial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algn="l" eaLnBrk="1" hangingPunct="1">
              <a:spcBef>
                <a:spcPct val="0"/>
              </a:spcBef>
            </a:pPr>
            <a:r>
              <a:rPr lang="en-US" sz="800">
                <a:solidFill>
                  <a:schemeClr val="bg1"/>
                </a:solidFill>
                <a:latin typeface="Tahoma"/>
                <a:cs typeface="Arial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algn="l" eaLnBrk="1" hangingPunct="1">
              <a:spcBef>
                <a:spcPct val="0"/>
              </a:spcBef>
            </a:pPr>
            <a:r>
              <a:rPr lang="en-US" sz="800">
                <a:solidFill>
                  <a:schemeClr val="bg1"/>
                </a:solidFill>
                <a:latin typeface="Tahoma"/>
                <a:cs typeface="Arial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27287163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drei Blöck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60001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222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084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5"/>
          </p:nvPr>
        </p:nvSpPr>
        <p:spPr>
          <a:xfrm>
            <a:off x="360001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11"/>
          <p:cNvSpPr>
            <a:spLocks noGrp="1"/>
          </p:cNvSpPr>
          <p:nvPr>
            <p:ph type="pic" sz="quarter" idx="16"/>
          </p:nvPr>
        </p:nvSpPr>
        <p:spPr>
          <a:xfrm>
            <a:off x="3222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6084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Inhaltsplatzhalter 15"/>
          <p:cNvSpPr>
            <a:spLocks noGrp="1"/>
          </p:cNvSpPr>
          <p:nvPr>
            <p:ph sz="quarter" idx="18"/>
          </p:nvPr>
        </p:nvSpPr>
        <p:spPr>
          <a:xfrm>
            <a:off x="360001" y="3492000"/>
            <a:ext cx="2700000" cy="1152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7"/>
          <p:cNvSpPr>
            <a:spLocks noGrp="1"/>
          </p:cNvSpPr>
          <p:nvPr>
            <p:ph sz="quarter" idx="19"/>
          </p:nvPr>
        </p:nvSpPr>
        <p:spPr>
          <a:xfrm>
            <a:off x="3222002" y="3492000"/>
            <a:ext cx="2700000" cy="1152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9"/>
          <p:cNvSpPr>
            <a:spLocks noGrp="1"/>
          </p:cNvSpPr>
          <p:nvPr>
            <p:ph sz="quarter" idx="20"/>
          </p:nvPr>
        </p:nvSpPr>
        <p:spPr>
          <a:xfrm>
            <a:off x="6084002" y="3492000"/>
            <a:ext cx="2700000" cy="1152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feld 13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de-DE" sz="1000" b="1">
                <a:solidFill>
                  <a:schemeClr val="bg1"/>
                </a:solidFill>
                <a:latin typeface="Tahoma"/>
                <a:cs typeface="Arial" charset="0"/>
              </a:rPr>
              <a:t>Bearbeitungshinweis:</a:t>
            </a:r>
          </a:p>
          <a:p>
            <a:pPr algn="l" eaLnBrk="1" hangingPunct="1">
              <a:spcBef>
                <a:spcPct val="0"/>
              </a:spcBef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Klicken Sie auf das Symbol im Platzhalter und wählen Sie ein Bild aus.</a:t>
            </a:r>
          </a:p>
          <a:p>
            <a:pPr algn="l" eaLnBrk="1" hangingPunct="1">
              <a:spcBef>
                <a:spcPct val="0"/>
              </a:spcBef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Sofern das Bild nicht der Größe des Bildplatzhalters entspricht und somit nicht richtig zugeschnitten ist, gehen Sie bitte wie folgt vor:</a:t>
            </a:r>
          </a:p>
          <a:p>
            <a:pPr algn="l" eaLnBrk="1" hangingPunct="1">
              <a:spcBef>
                <a:spcPct val="0"/>
              </a:spcBef>
              <a:buFont typeface="Arial" charset="0"/>
              <a:buNone/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Gehen Sie mit der Maus auf das Bild - Klicken Sie auf die rechte Maustaste und wählen Sie „Grafik formatieren“ aus.</a:t>
            </a:r>
          </a:p>
          <a:p>
            <a:pPr algn="l" eaLnBrk="1" hangingPunct="1">
              <a:spcBef>
                <a:spcPct val="0"/>
              </a:spcBef>
              <a:buFont typeface="Arial" charset="0"/>
              <a:buNone/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Wählen Sie dann „Zuschneiden“. Unter „Bildposition“ – X-Offset und Y-Offset können Sie nun den gewünschten Ausschnitt bestimmen.</a:t>
            </a:r>
          </a:p>
          <a:p>
            <a:pPr algn="l" eaLnBrk="1" hangingPunct="1">
              <a:spcBef>
                <a:spcPct val="0"/>
              </a:spcBef>
              <a:buFont typeface="Arial" charset="0"/>
              <a:buNone/>
            </a:pPr>
            <a:r>
              <a:rPr lang="de-DE" sz="800">
                <a:solidFill>
                  <a:schemeClr val="bg1"/>
                </a:solidFill>
                <a:latin typeface="Tahoma"/>
                <a:cs typeface="Arial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chemeClr val="bg1"/>
              </a:solidFill>
              <a:latin typeface="Tahoma"/>
              <a:cs typeface="Arial" charset="0"/>
            </a:endParaRPr>
          </a:p>
        </p:txBody>
      </p:sp>
      <p:sp>
        <p:nvSpPr>
          <p:cNvPr id="15" name="Textfeld 14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de-DE" sz="1000" b="1">
                <a:solidFill>
                  <a:schemeClr val="bg1"/>
                </a:solidFill>
                <a:latin typeface="Tahoma"/>
                <a:cs typeface="Arial" charset="0"/>
              </a:rPr>
              <a:t>Handling </a:t>
            </a:r>
            <a:r>
              <a:rPr lang="de-DE" sz="1000" b="1" err="1">
                <a:solidFill>
                  <a:schemeClr val="bg1"/>
                </a:solidFill>
                <a:latin typeface="Tahoma"/>
                <a:cs typeface="Arial" charset="0"/>
              </a:rPr>
              <a:t>instructions</a:t>
            </a:r>
            <a:r>
              <a:rPr lang="de-DE" sz="1000" b="1">
                <a:solidFill>
                  <a:schemeClr val="bg1"/>
                </a:solidFill>
                <a:latin typeface="Tahoma"/>
                <a:cs typeface="Arial" charset="0"/>
              </a:rPr>
              <a:t>:</a:t>
            </a:r>
          </a:p>
          <a:p>
            <a:pPr algn="l" eaLnBrk="1" hangingPunct="1">
              <a:spcBef>
                <a:spcPct val="0"/>
              </a:spcBef>
            </a:pPr>
            <a:r>
              <a:rPr lang="en-US" sz="800">
                <a:solidFill>
                  <a:schemeClr val="bg1"/>
                </a:solidFill>
                <a:latin typeface="Tahoma"/>
                <a:cs typeface="Arial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algn="l" eaLnBrk="1" hangingPunct="1">
              <a:spcBef>
                <a:spcPct val="0"/>
              </a:spcBef>
            </a:pPr>
            <a:r>
              <a:rPr lang="en-US" sz="800">
                <a:solidFill>
                  <a:schemeClr val="bg1"/>
                </a:solidFill>
                <a:latin typeface="Tahoma"/>
                <a:cs typeface="Arial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algn="l" eaLnBrk="1" hangingPunct="1">
              <a:spcBef>
                <a:spcPct val="0"/>
              </a:spcBef>
            </a:pPr>
            <a:r>
              <a:rPr lang="en-US" sz="800">
                <a:solidFill>
                  <a:schemeClr val="bg1"/>
                </a:solidFill>
                <a:latin typeface="Tahoma"/>
                <a:cs typeface="Arial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4344924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83058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97327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indiviu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7">
            <a:extLst>
              <a:ext uri="{FF2B5EF4-FFF2-40B4-BE49-F238E27FC236}">
                <a16:creationId xmlns:a16="http://schemas.microsoft.com/office/drawing/2014/main" id="{2EA05C3B-97DB-EB4C-8706-F381A1A43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98" y="438150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540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 und 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18" name="Textplatzhalter 12"/>
          <p:cNvSpPr>
            <a:spLocks noGrp="1"/>
          </p:cNvSpPr>
          <p:nvPr userDrawn="1">
            <p:ph type="body" sz="quarter" idx="12"/>
          </p:nvPr>
        </p:nvSpPr>
        <p:spPr>
          <a:xfrm>
            <a:off x="360000" y="438150"/>
            <a:ext cx="6706589" cy="105798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1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lnSpc>
                  <a:spcPts val="800"/>
                </a:lnSpc>
              </a:pPr>
              <a:r>
                <a:rPr lang="de-DE" sz="600">
                  <a:solidFill>
                    <a:schemeClr val="bg1"/>
                  </a:solidFill>
                  <a:latin typeface="Tahoma" panose="020B0604030504040204" pitchFamily="34" charset="0"/>
                </a:rPr>
                <a:t>© ZF Friedrichshafen AG</a:t>
              </a:r>
            </a:p>
          </p:txBody>
        </p:sp>
        <p:cxnSp>
          <p:nvCxnSpPr>
            <p:cNvPr id="13" name="Gerade Verbindung 12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40924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ecial_Slide - Do_not_use!!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0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lnSpc>
                  <a:spcPts val="800"/>
                </a:lnSpc>
              </a:pPr>
              <a:r>
                <a:rPr lang="de-DE" sz="600">
                  <a:solidFill>
                    <a:schemeClr val="bg1"/>
                  </a:solidFill>
                  <a:latin typeface="Tahoma" panose="020B0604030504040204" pitchFamily="34" charset="0"/>
                </a:rPr>
                <a:t>© ZF Friedrichshafen AG</a:t>
              </a:r>
            </a:p>
          </p:txBody>
        </p:sp>
        <p:cxnSp>
          <p:nvCxnSpPr>
            <p:cNvPr id="11" name="Gerade Verbindung 10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Grafik 12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41973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(indiviu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4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lnSpc>
                  <a:spcPts val="800"/>
                </a:lnSpc>
              </a:pPr>
              <a:r>
                <a:rPr lang="de-DE" sz="600">
                  <a:solidFill>
                    <a:srgbClr val="FFFFFF"/>
                  </a:solidFill>
                  <a:latin typeface="Tahoma" panose="020B0604030504040204" pitchFamily="34" charset="0"/>
                </a:rPr>
                <a:t>© ZF Friedrichshafen AG</a:t>
              </a:r>
            </a:p>
          </p:txBody>
        </p:sp>
        <p:cxnSp>
          <p:nvCxnSpPr>
            <p:cNvPr id="15" name="Gerade Verbindung 14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Grafik 11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grpSp>
        <p:nvGrpSpPr>
          <p:cNvPr id="6" name="Gruppieren 5"/>
          <p:cNvGrpSpPr/>
          <p:nvPr/>
        </p:nvGrpSpPr>
        <p:grpSpPr>
          <a:xfrm>
            <a:off x="-2188873" y="0"/>
            <a:ext cx="2103150" cy="2448000"/>
            <a:chOff x="-2188874" y="0"/>
            <a:chExt cx="2103150" cy="2448000"/>
          </a:xfrm>
        </p:grpSpPr>
        <p:sp>
          <p:nvSpPr>
            <p:cNvPr id="13" name="Textfeld 12"/>
            <p:cNvSpPr txBox="1">
              <a:spLocks noChangeArrowheads="1"/>
            </p:cNvSpPr>
            <p:nvPr userDrawn="1"/>
          </p:nvSpPr>
          <p:spPr bwMode="auto">
            <a:xfrm>
              <a:off x="-2188874" y="0"/>
              <a:ext cx="2103150" cy="2448000"/>
            </a:xfrm>
            <a:prstGeom prst="rect">
              <a:avLst/>
            </a:prstGeom>
            <a:solidFill>
              <a:srgbClr val="DD0C29"/>
            </a:solidFill>
            <a:ln>
              <a:noFill/>
            </a:ln>
          </p:spPr>
          <p:txBody>
            <a:bodyPr wrap="square" lIns="36000" tIns="36000" rIns="36000" bIns="36000">
              <a:no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9pPr>
            </a:lstStyle>
            <a:p>
              <a:pPr eaLnBrk="1" hangingPunct="1"/>
              <a:r>
                <a:rPr lang="de-DE" sz="1000" b="1">
                  <a:solidFill>
                    <a:srgbClr val="FFFFFF"/>
                  </a:solidFill>
                  <a:cs typeface="Tahoma" charset="0"/>
                </a:rPr>
                <a:t>Bearbeitungshinweis:</a:t>
              </a:r>
            </a:p>
            <a:p>
              <a:pPr eaLnBrk="1" hangingPunct="1"/>
              <a:r>
                <a:rPr lang="de-DE" sz="800">
                  <a:solidFill>
                    <a:srgbClr val="FFFFFF"/>
                  </a:solidFill>
                  <a:cs typeface="Tahoma" charset="0"/>
                </a:rPr>
                <a:t>Um das Hintergrundbild auszutauschen, klicken Sie mit der rechten Maustaste auf die Folie und anschließend auf „Hintergrund formatieren“. Wählen Sie dann das gewünschte Bild über „Einfügen aus: Datei“ ein.</a:t>
              </a:r>
            </a:p>
            <a:p>
              <a:pPr eaLnBrk="1" hangingPunct="1"/>
              <a:r>
                <a:rPr lang="de-DE" sz="800" b="1">
                  <a:solidFill>
                    <a:srgbClr val="FFFFFF"/>
                  </a:solidFill>
                  <a:cs typeface="Tahoma" charset="0"/>
                </a:rPr>
                <a:t>WICHTIG:</a:t>
              </a:r>
              <a:r>
                <a:rPr lang="de-DE" sz="800">
                  <a:solidFill>
                    <a:srgbClr val="FFFFFF"/>
                  </a:solidFill>
                  <a:cs typeface="Tahoma" charset="0"/>
                </a:rPr>
                <a:t> Wenn Sie diese Folie dann in eine andere Präsentation einfügen, müssen Sie die ursprüngliche Formatierung beibehalten, da ansonsten der Hintergrund wieder zurückgesetzt wird.  </a:t>
              </a:r>
            </a:p>
          </p:txBody>
        </p:sp>
        <p:pic>
          <p:nvPicPr>
            <p:cNvPr id="5" name="Grafik 4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000481" y="1576454"/>
              <a:ext cx="1723293" cy="828155"/>
            </a:xfrm>
            <a:prstGeom prst="rect">
              <a:avLst/>
            </a:prstGeom>
          </p:spPr>
        </p:pic>
      </p:grpSp>
      <p:grpSp>
        <p:nvGrpSpPr>
          <p:cNvPr id="17" name="Gruppieren 16"/>
          <p:cNvGrpSpPr/>
          <p:nvPr/>
        </p:nvGrpSpPr>
        <p:grpSpPr>
          <a:xfrm>
            <a:off x="-2188873" y="2557009"/>
            <a:ext cx="2103150" cy="2124000"/>
            <a:chOff x="-2188874" y="0"/>
            <a:chExt cx="2103150" cy="2124000"/>
          </a:xfrm>
        </p:grpSpPr>
        <p:sp>
          <p:nvSpPr>
            <p:cNvPr id="20" name="Textfeld 19"/>
            <p:cNvSpPr txBox="1">
              <a:spLocks noChangeArrowheads="1"/>
            </p:cNvSpPr>
            <p:nvPr userDrawn="1"/>
          </p:nvSpPr>
          <p:spPr bwMode="auto">
            <a:xfrm>
              <a:off x="-2188874" y="0"/>
              <a:ext cx="2103150" cy="2124000"/>
            </a:xfrm>
            <a:prstGeom prst="rect">
              <a:avLst/>
            </a:prstGeom>
            <a:solidFill>
              <a:srgbClr val="DD0C29"/>
            </a:solidFill>
            <a:ln>
              <a:noFill/>
            </a:ln>
          </p:spPr>
          <p:txBody>
            <a:bodyPr wrap="square" lIns="36000" tIns="36000" rIns="36000" bIns="36000">
              <a:no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9pPr>
            </a:lstStyle>
            <a:p>
              <a:pPr eaLnBrk="1" hangingPunct="1"/>
              <a:r>
                <a:rPr lang="de-DE" sz="1000" b="1">
                  <a:solidFill>
                    <a:srgbClr val="FFFFFF"/>
                  </a:solidFill>
                  <a:cs typeface="Tahoma" charset="0"/>
                </a:rPr>
                <a:t>Handling </a:t>
              </a:r>
              <a:r>
                <a:rPr lang="de-DE" sz="1000" b="1" err="1">
                  <a:solidFill>
                    <a:srgbClr val="FFFFFF"/>
                  </a:solidFill>
                  <a:cs typeface="Tahoma" charset="0"/>
                </a:rPr>
                <a:t>instructions</a:t>
              </a:r>
              <a:r>
                <a:rPr lang="de-DE" sz="1000" b="1">
                  <a:solidFill>
                    <a:srgbClr val="FFFFFF"/>
                  </a:solidFill>
                  <a:cs typeface="Tahoma" charset="0"/>
                </a:rPr>
                <a:t>:</a:t>
              </a:r>
            </a:p>
            <a:p>
              <a:pPr eaLnBrk="1" hangingPunct="1"/>
              <a:r>
                <a:rPr lang="en-US" sz="800">
                  <a:solidFill>
                    <a:srgbClr val="FFFFFF"/>
                  </a:solidFill>
                  <a:cs typeface="Tahoma" charset="0"/>
                </a:rPr>
                <a:t>To change the background, right-click on the slide and select “Format Background”. Choose the requested image “Insert from: File”. </a:t>
              </a:r>
            </a:p>
            <a:p>
              <a:pPr eaLnBrk="1" hangingPunct="1"/>
              <a:r>
                <a:rPr lang="en-US" sz="800" b="1">
                  <a:solidFill>
                    <a:srgbClr val="FFFFFF"/>
                  </a:solidFill>
                  <a:cs typeface="Tahoma" charset="0"/>
                </a:rPr>
                <a:t>IMPORTANT:</a:t>
              </a:r>
              <a:r>
                <a:rPr lang="en-US" sz="800">
                  <a:solidFill>
                    <a:srgbClr val="FFFFFF"/>
                  </a:solidFill>
                  <a:cs typeface="Tahoma" charset="0"/>
                </a:rPr>
                <a:t> If you want to insert this slide into another presentation, you have to keep the original formatting. Otherwise the background will be reset.</a:t>
              </a: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000481" y="1231414"/>
              <a:ext cx="1723293" cy="828155"/>
            </a:xfrm>
            <a:prstGeom prst="rect">
              <a:avLst/>
            </a:prstGeom>
          </p:spPr>
        </p:pic>
      </p:grpSp>
      <p:sp>
        <p:nvSpPr>
          <p:cNvPr id="2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>
                <a:solidFill>
                  <a:srgbClr val="FFFFFF"/>
                </a:solidFill>
              </a:rPr>
              <a:t>2020-05-25 | DIT | ZF Engineering Plzeň Company Presentation 2020 v2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smtClean="0">
                <a:solidFill>
                  <a:srgbClr val="FFFFFF"/>
                </a:solidFill>
              </a:rPr>
              <a:pPr algn="r">
                <a:lnSpc>
                  <a:spcPts val="800"/>
                </a:lnSpc>
              </a:pPr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24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360001" y="324642"/>
            <a:ext cx="1279615" cy="1057982"/>
          </a:xfrm>
        </p:spPr>
        <p:txBody>
          <a:bodyPr wrap="none" lIns="0" tIns="0" rIns="0" bIns="0">
            <a:noAutofit/>
          </a:bodyPr>
          <a:lstStyle>
            <a:lvl1pPr>
              <a:defRPr lang="de-DE" sz="7200" b="1" kern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59999" y="1338593"/>
            <a:ext cx="8424000" cy="461665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3000" b="1" kern="120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cs-CZ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8096440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4" y="143956"/>
            <a:ext cx="8424001" cy="59381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4" y="864002"/>
            <a:ext cx="4122737" cy="3780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4661096" y="864002"/>
            <a:ext cx="4122000" cy="3780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40963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- und 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60000" y="438150"/>
            <a:ext cx="6706589" cy="105798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>
                <a:solidFill>
                  <a:srgbClr val="FFFFFF"/>
                </a:solidFill>
              </a:rPr>
              <a:t>2020-05-25 | DIT | ZF Engineering Plzeň Company Presentation 2020 v2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smtClean="0">
                <a:solidFill>
                  <a:srgbClr val="FFFFFF"/>
                </a:solidFill>
              </a:rPr>
              <a:pPr algn="r">
                <a:lnSpc>
                  <a:spcPts val="800"/>
                </a:lnSpc>
              </a:pPr>
              <a:t>‹#›</a:t>
            </a:fld>
            <a:endParaRPr>
              <a:solidFill>
                <a:srgbClr val="FFFFFF"/>
              </a:solidFill>
            </a:endParaRP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7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lnSpc>
                  <a:spcPts val="800"/>
                </a:lnSpc>
              </a:pPr>
              <a:r>
                <a:rPr lang="de-DE" sz="600">
                  <a:solidFill>
                    <a:srgbClr val="FFFFFF"/>
                  </a:solidFill>
                  <a:latin typeface="Tahoma" panose="020B0604030504040204" pitchFamily="34" charset="0"/>
                </a:rPr>
                <a:t>© ZF Friedrichshafen AG</a:t>
              </a:r>
            </a:p>
          </p:txBody>
        </p:sp>
        <p:cxnSp>
          <p:nvCxnSpPr>
            <p:cNvPr id="20" name="Gerade Verbindung 19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31749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vider- und 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>
                <a:solidFill>
                  <a:srgbClr val="FFFFFF"/>
                </a:solidFill>
              </a:rPr>
              <a:t>2020-05-25 | DIT | ZF Engineering Plzeň Company Presentation 2020 v2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18" name="Textplatzhalter 12"/>
          <p:cNvSpPr>
            <a:spLocks noGrp="1"/>
          </p:cNvSpPr>
          <p:nvPr userDrawn="1">
            <p:ph type="body" sz="quarter" idx="12"/>
          </p:nvPr>
        </p:nvSpPr>
        <p:spPr>
          <a:xfrm>
            <a:off x="360000" y="438150"/>
            <a:ext cx="6706589" cy="105798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1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lnSpc>
                  <a:spcPts val="800"/>
                </a:lnSpc>
              </a:pPr>
              <a:r>
                <a:rPr lang="de-DE" sz="600">
                  <a:solidFill>
                    <a:srgbClr val="FFFFFF"/>
                  </a:solidFill>
                  <a:latin typeface="Tahoma" panose="020B0604030504040204" pitchFamily="34" charset="0"/>
                </a:rPr>
                <a:t>© ZF Friedrichshafen AG</a:t>
              </a:r>
            </a:p>
          </p:txBody>
        </p:sp>
        <p:cxnSp>
          <p:nvCxnSpPr>
            <p:cNvPr id="13" name="Gerade Verbindung 12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19044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004D7A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004D7A"/>
              </a:solidFill>
            </a:endParaRPr>
          </a:p>
        </p:txBody>
      </p:sp>
      <p:sp>
        <p:nvSpPr>
          <p:cNvPr id="5" name="Textplatzhalter 3"/>
          <p:cNvSpPr>
            <a:spLocks noGrp="1"/>
          </p:cNvSpPr>
          <p:nvPr>
            <p:ph idx="1"/>
          </p:nvPr>
        </p:nvSpPr>
        <p:spPr bwMode="gray">
          <a:xfrm>
            <a:off x="360002" y="864002"/>
            <a:ext cx="8424000" cy="37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516217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004D7A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004D7A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864002"/>
            <a:ext cx="4122737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4661096" y="864002"/>
            <a:ext cx="4122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195320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004D7A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004D7A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1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quarter" idx="14"/>
          </p:nvPr>
        </p:nvSpPr>
        <p:spPr>
          <a:xfrm>
            <a:off x="6084002" y="864002"/>
            <a:ext cx="2700000" cy="378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4481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004D7A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004D7A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863999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4660362" y="864000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quarter" idx="14"/>
          </p:nvPr>
        </p:nvSpPr>
        <p:spPr>
          <a:xfrm>
            <a:off x="360003" y="2844000"/>
            <a:ext cx="4122737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5"/>
          </p:nvPr>
        </p:nvSpPr>
        <p:spPr>
          <a:xfrm>
            <a:off x="4660362" y="2844000"/>
            <a:ext cx="4122737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435929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004D7A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004D7A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quarter" idx="14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5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4"/>
          <p:cNvSpPr>
            <a:spLocks noGrp="1"/>
          </p:cNvSpPr>
          <p:nvPr>
            <p:ph sz="quarter" idx="16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472892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91" tIns="89991" rIns="89991" bIns="89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9"/>
              </a:lnSpc>
              <a:spcBef>
                <a:spcPts val="840"/>
              </a:spcBef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4000" cy="108000"/>
          </a:xfrm>
        </p:spPr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2"/>
          </p:nvPr>
        </p:nvSpPr>
        <p:spPr>
          <a:xfrm>
            <a:off x="4661096" y="0"/>
            <a:ext cx="4482904" cy="51435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360003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000" b="1">
                <a:solidFill>
                  <a:srgbClr val="FFFFFF"/>
                </a:solidFill>
                <a:latin typeface="Tahoma"/>
                <a:cs typeface="Arial" charset="0"/>
              </a:rPr>
              <a:t>Bearbeitungshinweis:</a:t>
            </a:r>
          </a:p>
          <a:p>
            <a:pPr eaLnBrk="1" hangingPunct="1"/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Klicken Sie auf das Symbol im Platzhalter und wählen Sie ein Bild aus.</a:t>
            </a:r>
          </a:p>
          <a:p>
            <a:pPr eaLnBrk="1" hangingPunct="1"/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hangingPunct="1">
              <a:buFont typeface="Arial" charset="0"/>
              <a:buNone/>
            </a:pPr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Gehen Sie mit der Maus auf das Bild - Klicken Sie auf die rechte Maustaste und wählen Sie „Grafik formatieren“ aus.</a:t>
            </a:r>
          </a:p>
          <a:p>
            <a:pPr eaLnBrk="1" hangingPunct="1">
              <a:buFont typeface="Arial" charset="0"/>
              <a:buNone/>
            </a:pPr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hangingPunct="1">
              <a:buFont typeface="Arial" charset="0"/>
              <a:buNone/>
            </a:pPr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latin typeface="Tahoma"/>
              <a:cs typeface="Arial" charset="0"/>
            </a:endParaRPr>
          </a:p>
        </p:txBody>
      </p:sp>
      <p:sp>
        <p:nvSpPr>
          <p:cNvPr id="12" name="Textfeld 11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000" b="1">
                <a:solidFill>
                  <a:srgbClr val="FFFFFF"/>
                </a:solidFill>
                <a:latin typeface="Tahoma"/>
                <a:cs typeface="Arial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latin typeface="Tahoma"/>
                <a:cs typeface="Arial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latin typeface="Tahoma"/>
                <a:cs typeface="Arial" charset="0"/>
              </a:rPr>
              <a:t>:</a:t>
            </a:r>
          </a:p>
          <a:p>
            <a:pPr eaLnBrk="1" hangingPunct="1"/>
            <a:r>
              <a:rPr lang="en-US" sz="800">
                <a:solidFill>
                  <a:srgbClr val="FFFFFF"/>
                </a:solidFill>
                <a:latin typeface="Tahoma"/>
                <a:cs typeface="Arial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hangingPunct="1"/>
            <a:r>
              <a:rPr lang="en-US" sz="800">
                <a:solidFill>
                  <a:srgbClr val="FFFFFF"/>
                </a:solidFill>
                <a:latin typeface="Tahoma"/>
                <a:cs typeface="Arial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hangingPunct="1"/>
            <a:r>
              <a:rPr lang="en-US" sz="800">
                <a:solidFill>
                  <a:srgbClr val="FFFFFF"/>
                </a:solidFill>
                <a:latin typeface="Tahoma"/>
                <a:cs typeface="Arial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33601371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mit zwei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91" tIns="89991" rIns="89991" bIns="89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9"/>
              </a:lnSpc>
              <a:spcBef>
                <a:spcPts val="840"/>
              </a:spcBef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3234" cy="108000"/>
          </a:xfrm>
        </p:spPr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sz="quarter" idx="12"/>
          </p:nvPr>
        </p:nvSpPr>
        <p:spPr>
          <a:xfrm>
            <a:off x="4661096" y="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13"/>
          </p:nvPr>
        </p:nvSpPr>
        <p:spPr>
          <a:xfrm>
            <a:off x="4661096" y="257400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60003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000" b="1">
                <a:solidFill>
                  <a:srgbClr val="FFFFFF"/>
                </a:solidFill>
                <a:latin typeface="Tahoma"/>
                <a:cs typeface="Arial" charset="0"/>
              </a:rPr>
              <a:t>Bearbeitungshinweis:</a:t>
            </a:r>
          </a:p>
          <a:p>
            <a:pPr eaLnBrk="1" hangingPunct="1"/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Klicken Sie auf das Symbol im Platzhalter und wählen Sie ein Bild aus.</a:t>
            </a:r>
          </a:p>
          <a:p>
            <a:pPr eaLnBrk="1" hangingPunct="1"/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hangingPunct="1">
              <a:buFont typeface="Arial" charset="0"/>
              <a:buNone/>
            </a:pPr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Gehen Sie mit der Maus auf das Bild - Klicken Sie auf die rechte Maustaste und wählen Sie „Grafik formatieren“ aus.</a:t>
            </a:r>
          </a:p>
          <a:p>
            <a:pPr eaLnBrk="1" hangingPunct="1">
              <a:buFont typeface="Arial" charset="0"/>
              <a:buNone/>
            </a:pPr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hangingPunct="1">
              <a:buFont typeface="Arial" charset="0"/>
              <a:buNone/>
            </a:pPr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latin typeface="Tahoma"/>
              <a:cs typeface="Arial" charset="0"/>
            </a:endParaRPr>
          </a:p>
        </p:txBody>
      </p:sp>
      <p:sp>
        <p:nvSpPr>
          <p:cNvPr id="12" name="Textfeld 11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000" b="1">
                <a:solidFill>
                  <a:srgbClr val="FFFFFF"/>
                </a:solidFill>
                <a:latin typeface="Tahoma"/>
                <a:cs typeface="Arial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latin typeface="Tahoma"/>
                <a:cs typeface="Arial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latin typeface="Tahoma"/>
                <a:cs typeface="Arial" charset="0"/>
              </a:rPr>
              <a:t>:</a:t>
            </a:r>
          </a:p>
          <a:p>
            <a:pPr eaLnBrk="1" hangingPunct="1"/>
            <a:r>
              <a:rPr lang="en-US" sz="800">
                <a:solidFill>
                  <a:srgbClr val="FFFFFF"/>
                </a:solidFill>
                <a:latin typeface="Tahoma"/>
                <a:cs typeface="Arial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hangingPunct="1"/>
            <a:r>
              <a:rPr lang="en-US" sz="800">
                <a:solidFill>
                  <a:srgbClr val="FFFFFF"/>
                </a:solidFill>
                <a:latin typeface="Tahoma"/>
                <a:cs typeface="Arial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hangingPunct="1"/>
            <a:r>
              <a:rPr lang="en-US" sz="800">
                <a:solidFill>
                  <a:srgbClr val="FFFFFF"/>
                </a:solidFill>
                <a:latin typeface="Tahoma"/>
                <a:cs typeface="Arial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39688574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drei Blöck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004D7A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004D7A"/>
              </a:solidFill>
            </a:endParaRPr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60001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222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084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5"/>
          </p:nvPr>
        </p:nvSpPr>
        <p:spPr>
          <a:xfrm>
            <a:off x="360001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11"/>
          <p:cNvSpPr>
            <a:spLocks noGrp="1"/>
          </p:cNvSpPr>
          <p:nvPr>
            <p:ph type="pic" sz="quarter" idx="16"/>
          </p:nvPr>
        </p:nvSpPr>
        <p:spPr>
          <a:xfrm>
            <a:off x="3222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6084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Inhaltsplatzhalter 15"/>
          <p:cNvSpPr>
            <a:spLocks noGrp="1"/>
          </p:cNvSpPr>
          <p:nvPr>
            <p:ph sz="quarter" idx="18"/>
          </p:nvPr>
        </p:nvSpPr>
        <p:spPr>
          <a:xfrm>
            <a:off x="360001" y="3492000"/>
            <a:ext cx="2700000" cy="1152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7"/>
          <p:cNvSpPr>
            <a:spLocks noGrp="1"/>
          </p:cNvSpPr>
          <p:nvPr>
            <p:ph sz="quarter" idx="19"/>
          </p:nvPr>
        </p:nvSpPr>
        <p:spPr>
          <a:xfrm>
            <a:off x="3222002" y="3492000"/>
            <a:ext cx="2700000" cy="1152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9"/>
          <p:cNvSpPr>
            <a:spLocks noGrp="1"/>
          </p:cNvSpPr>
          <p:nvPr>
            <p:ph sz="quarter" idx="20"/>
          </p:nvPr>
        </p:nvSpPr>
        <p:spPr>
          <a:xfrm>
            <a:off x="6084002" y="3492000"/>
            <a:ext cx="2700000" cy="1152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feld 13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000" b="1">
                <a:solidFill>
                  <a:srgbClr val="FFFFFF"/>
                </a:solidFill>
                <a:latin typeface="Tahoma"/>
                <a:cs typeface="Arial" charset="0"/>
              </a:rPr>
              <a:t>Bearbeitungshinweis:</a:t>
            </a:r>
          </a:p>
          <a:p>
            <a:pPr eaLnBrk="1" hangingPunct="1"/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Klicken Sie auf das Symbol im Platzhalter und wählen Sie ein Bild aus.</a:t>
            </a:r>
          </a:p>
          <a:p>
            <a:pPr eaLnBrk="1" hangingPunct="1"/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hangingPunct="1">
              <a:buFont typeface="Arial" charset="0"/>
              <a:buNone/>
            </a:pPr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Gehen Sie mit der Maus auf das Bild - Klicken Sie auf die rechte Maustaste und wählen Sie „Grafik formatieren“ aus.</a:t>
            </a:r>
          </a:p>
          <a:p>
            <a:pPr eaLnBrk="1" hangingPunct="1">
              <a:buFont typeface="Arial" charset="0"/>
              <a:buNone/>
            </a:pPr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hangingPunct="1">
              <a:buFont typeface="Arial" charset="0"/>
              <a:buNone/>
            </a:pPr>
            <a:r>
              <a:rPr lang="de-DE" sz="800">
                <a:solidFill>
                  <a:srgbClr val="FFFFFF"/>
                </a:solidFill>
                <a:latin typeface="Tahoma"/>
                <a:cs typeface="Arial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latin typeface="Tahoma"/>
              <a:cs typeface="Arial" charset="0"/>
            </a:endParaRPr>
          </a:p>
        </p:txBody>
      </p:sp>
      <p:sp>
        <p:nvSpPr>
          <p:cNvPr id="15" name="Textfeld 14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C0525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000" b="1">
                <a:solidFill>
                  <a:srgbClr val="FFFFFF"/>
                </a:solidFill>
                <a:latin typeface="Tahoma"/>
                <a:cs typeface="Arial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latin typeface="Tahoma"/>
                <a:cs typeface="Arial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latin typeface="Tahoma"/>
                <a:cs typeface="Arial" charset="0"/>
              </a:rPr>
              <a:t>:</a:t>
            </a:r>
          </a:p>
          <a:p>
            <a:pPr eaLnBrk="1" hangingPunct="1"/>
            <a:r>
              <a:rPr lang="en-US" sz="800">
                <a:solidFill>
                  <a:srgbClr val="FFFFFF"/>
                </a:solidFill>
                <a:latin typeface="Tahoma"/>
                <a:cs typeface="Arial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hangingPunct="1"/>
            <a:r>
              <a:rPr lang="en-US" sz="800">
                <a:solidFill>
                  <a:srgbClr val="FFFFFF"/>
                </a:solidFill>
                <a:latin typeface="Tahoma"/>
                <a:cs typeface="Arial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hangingPunct="1"/>
            <a:r>
              <a:rPr lang="en-US" sz="800">
                <a:solidFill>
                  <a:srgbClr val="FFFFFF"/>
                </a:solidFill>
                <a:latin typeface="Tahoma"/>
                <a:cs typeface="Arial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058347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1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6084002" y="864002"/>
            <a:ext cx="2700000" cy="3780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96227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004D7A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004D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8323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2020-05-25 | DIT | ZF Engineering Plzeň Company Presentation 2020 v2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004D7A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004D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9275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(indiviu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>
                <a:solidFill>
                  <a:srgbClr val="FFFFFF"/>
                </a:solidFill>
              </a:rPr>
              <a:t>2020-05-25 | DIT | ZF Engineering Plzeň Company Presentation 2020 v2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18" name="Textplatzhalter 12"/>
          <p:cNvSpPr>
            <a:spLocks noGrp="1"/>
          </p:cNvSpPr>
          <p:nvPr userDrawn="1">
            <p:ph type="body" sz="quarter" idx="12"/>
          </p:nvPr>
        </p:nvSpPr>
        <p:spPr>
          <a:xfrm>
            <a:off x="360001" y="324642"/>
            <a:ext cx="1279615" cy="1057982"/>
          </a:xfrm>
        </p:spPr>
        <p:txBody>
          <a:bodyPr wrap="none" lIns="0" tIns="0" rIns="0" bIns="0">
            <a:noAutofit/>
          </a:bodyPr>
          <a:lstStyle>
            <a:lvl1pPr>
              <a:defRPr lang="de-DE" sz="7200" b="1" kern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12"/>
          <p:cNvSpPr>
            <a:spLocks noGrp="1"/>
          </p:cNvSpPr>
          <p:nvPr userDrawn="1">
            <p:ph type="body" sz="quarter" idx="13"/>
          </p:nvPr>
        </p:nvSpPr>
        <p:spPr>
          <a:xfrm>
            <a:off x="359999" y="1338593"/>
            <a:ext cx="5580000" cy="461665"/>
          </a:xfrm>
          <a:noFill/>
        </p:spPr>
        <p:txBody>
          <a:bodyPr wrap="none" lIns="0" tIns="0" rIns="0" bIns="0" rtlCol="0">
            <a:noAutofit/>
          </a:bodyPr>
          <a:lstStyle>
            <a:lvl1pPr>
              <a:defRPr lang="de-DE" sz="3000" b="1" kern="120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Textmasterformat bearbeiten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4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lnSpc>
                  <a:spcPts val="800"/>
                </a:lnSpc>
              </a:pPr>
              <a:r>
                <a:rPr lang="de-DE" sz="600">
                  <a:solidFill>
                    <a:srgbClr val="FFFFFF"/>
                  </a:solidFill>
                  <a:latin typeface="Tahoma" panose="020B0604030504040204" pitchFamily="34" charset="0"/>
                </a:rPr>
                <a:t>© ZF Friedrichshafen AG</a:t>
              </a:r>
            </a:p>
          </p:txBody>
        </p:sp>
        <p:cxnSp>
          <p:nvCxnSpPr>
            <p:cNvPr id="15" name="Gerade Verbindung 14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Grafik 11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grpSp>
        <p:nvGrpSpPr>
          <p:cNvPr id="6" name="Gruppieren 5"/>
          <p:cNvGrpSpPr/>
          <p:nvPr userDrawn="1"/>
        </p:nvGrpSpPr>
        <p:grpSpPr>
          <a:xfrm>
            <a:off x="-2188873" y="0"/>
            <a:ext cx="2103150" cy="2448000"/>
            <a:chOff x="-2188874" y="0"/>
            <a:chExt cx="2103150" cy="2448000"/>
          </a:xfrm>
        </p:grpSpPr>
        <p:sp>
          <p:nvSpPr>
            <p:cNvPr id="13" name="Textfeld 12"/>
            <p:cNvSpPr txBox="1">
              <a:spLocks noChangeArrowheads="1"/>
            </p:cNvSpPr>
            <p:nvPr userDrawn="1"/>
          </p:nvSpPr>
          <p:spPr bwMode="auto">
            <a:xfrm>
              <a:off x="-2188874" y="0"/>
              <a:ext cx="2103150" cy="2448000"/>
            </a:xfrm>
            <a:prstGeom prst="rect">
              <a:avLst/>
            </a:prstGeom>
            <a:solidFill>
              <a:srgbClr val="DC0525"/>
            </a:solidFill>
            <a:ln>
              <a:noFill/>
            </a:ln>
          </p:spPr>
          <p:txBody>
            <a:bodyPr wrap="square" lIns="36000" tIns="36000" rIns="36000" bIns="36000">
              <a:no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e-DE" sz="1000" b="1">
                  <a:solidFill>
                    <a:srgbClr val="FFFFFF"/>
                  </a:solidFill>
                  <a:latin typeface="Tahoma"/>
                  <a:cs typeface="Arial" charset="0"/>
                </a:rPr>
                <a:t>Bearbeitungshinweis:</a:t>
              </a:r>
            </a:p>
            <a:p>
              <a:pPr eaLnBrk="1" hangingPunct="1"/>
              <a:r>
                <a:rPr lang="de-DE" sz="800">
                  <a:solidFill>
                    <a:srgbClr val="FFFFFF"/>
                  </a:solidFill>
                  <a:latin typeface="Tahoma"/>
                  <a:cs typeface="Arial" charset="0"/>
                </a:rPr>
                <a:t>Um das Hintergrundbild auszutauschen, klicken Sie mit der rechten Maustaste auf die Folie und anschließend auf „Hintergrund formatieren“. Wählen Sie dann das gewünschte Bild über „Einfügen aus: Datei“ ein.</a:t>
              </a:r>
            </a:p>
            <a:p>
              <a:pPr eaLnBrk="1" hangingPunct="1"/>
              <a:r>
                <a:rPr lang="de-DE" sz="800" b="1">
                  <a:solidFill>
                    <a:srgbClr val="FFFFFF"/>
                  </a:solidFill>
                  <a:latin typeface="Tahoma"/>
                  <a:cs typeface="Arial" charset="0"/>
                </a:rPr>
                <a:t>WICHTIG:</a:t>
              </a:r>
              <a:r>
                <a:rPr lang="de-DE" sz="800">
                  <a:solidFill>
                    <a:srgbClr val="FFFFFF"/>
                  </a:solidFill>
                  <a:latin typeface="Tahoma"/>
                  <a:cs typeface="Arial" charset="0"/>
                </a:rPr>
                <a:t> Wenn Sie diese Folie dann in eine andere Präsentation einfügen, müssen Sie die ursprüngliche Formatierung beibehalten, da ansonsten der Hintergrund wieder zurückgesetzt wird.  </a:t>
              </a:r>
            </a:p>
          </p:txBody>
        </p:sp>
        <p:pic>
          <p:nvPicPr>
            <p:cNvPr id="5" name="Grafik 4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000481" y="1576454"/>
              <a:ext cx="1723293" cy="828155"/>
            </a:xfrm>
            <a:prstGeom prst="rect">
              <a:avLst/>
            </a:prstGeom>
          </p:spPr>
        </p:pic>
      </p:grpSp>
      <p:grpSp>
        <p:nvGrpSpPr>
          <p:cNvPr id="17" name="Gruppieren 16"/>
          <p:cNvGrpSpPr/>
          <p:nvPr userDrawn="1"/>
        </p:nvGrpSpPr>
        <p:grpSpPr>
          <a:xfrm>
            <a:off x="-2188873" y="2557009"/>
            <a:ext cx="2103150" cy="2124000"/>
            <a:chOff x="-2188874" y="0"/>
            <a:chExt cx="2103150" cy="2124000"/>
          </a:xfrm>
        </p:grpSpPr>
        <p:sp>
          <p:nvSpPr>
            <p:cNvPr id="20" name="Textfeld 19"/>
            <p:cNvSpPr txBox="1">
              <a:spLocks noChangeArrowheads="1"/>
            </p:cNvSpPr>
            <p:nvPr userDrawn="1"/>
          </p:nvSpPr>
          <p:spPr bwMode="auto">
            <a:xfrm>
              <a:off x="-2188874" y="0"/>
              <a:ext cx="2103150" cy="2124000"/>
            </a:xfrm>
            <a:prstGeom prst="rect">
              <a:avLst/>
            </a:prstGeom>
            <a:solidFill>
              <a:srgbClr val="DC0525"/>
            </a:solidFill>
            <a:ln>
              <a:noFill/>
            </a:ln>
          </p:spPr>
          <p:txBody>
            <a:bodyPr wrap="square" lIns="36000" tIns="36000" rIns="36000" bIns="36000">
              <a:no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e-DE" sz="1000" b="1">
                  <a:solidFill>
                    <a:srgbClr val="FFFFFF"/>
                  </a:solidFill>
                  <a:latin typeface="Tahoma"/>
                  <a:cs typeface="Arial" charset="0"/>
                </a:rPr>
                <a:t>Handling </a:t>
              </a:r>
              <a:r>
                <a:rPr lang="de-DE" sz="1000" b="1" err="1">
                  <a:solidFill>
                    <a:srgbClr val="FFFFFF"/>
                  </a:solidFill>
                  <a:latin typeface="Tahoma"/>
                  <a:cs typeface="Arial" charset="0"/>
                </a:rPr>
                <a:t>instructions</a:t>
              </a:r>
              <a:r>
                <a:rPr lang="de-DE" sz="1000" b="1">
                  <a:solidFill>
                    <a:srgbClr val="FFFFFF"/>
                  </a:solidFill>
                  <a:latin typeface="Tahoma"/>
                  <a:cs typeface="Arial" charset="0"/>
                </a:rPr>
                <a:t>:</a:t>
              </a:r>
            </a:p>
            <a:p>
              <a:pPr eaLnBrk="1" hangingPunct="1"/>
              <a:r>
                <a:rPr lang="en-US" sz="800">
                  <a:solidFill>
                    <a:srgbClr val="FFFFFF"/>
                  </a:solidFill>
                  <a:latin typeface="Tahoma"/>
                  <a:cs typeface="Arial" charset="0"/>
                </a:rPr>
                <a:t>To change the background, right-click on the slide and select “Format Background”. Choose the requested image “Insert from: File”. </a:t>
              </a:r>
            </a:p>
            <a:p>
              <a:pPr eaLnBrk="1" hangingPunct="1"/>
              <a:r>
                <a:rPr lang="en-US" sz="800" b="1">
                  <a:solidFill>
                    <a:srgbClr val="FFFFFF"/>
                  </a:solidFill>
                  <a:latin typeface="Tahoma"/>
                  <a:cs typeface="Arial" charset="0"/>
                </a:rPr>
                <a:t>IMPORTANT:</a:t>
              </a:r>
              <a:r>
                <a:rPr lang="en-US" sz="800">
                  <a:solidFill>
                    <a:srgbClr val="FFFFFF"/>
                  </a:solidFill>
                  <a:latin typeface="Tahoma"/>
                  <a:cs typeface="Arial" charset="0"/>
                </a:rPr>
                <a:t> If you want to insert this slide into another presentation, you have to keep the original formatting. Otherwise the background will be reset.</a:t>
              </a: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000481" y="1231414"/>
              <a:ext cx="1723293" cy="8281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97662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pecial_Slide - Do_not_use!!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>
                <a:solidFill>
                  <a:srgbClr val="FFFFFF"/>
                </a:solidFill>
              </a:rPr>
              <a:t>2020-05-25 | DIT | ZF Engineering Plzeň Company Presentation 2020 v2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0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3356"/>
              <a:ext cx="900000" cy="102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lnSpc>
                  <a:spcPts val="800"/>
                </a:lnSpc>
              </a:pPr>
              <a:r>
                <a:rPr lang="de-DE" sz="600">
                  <a:solidFill>
                    <a:srgbClr val="FFFFFF"/>
                  </a:solidFill>
                  <a:latin typeface="Tahoma" panose="020B0604030504040204" pitchFamily="34" charset="0"/>
                </a:rPr>
                <a:t>© ZF Friedrichshafen AG</a:t>
              </a:r>
            </a:p>
          </p:txBody>
        </p:sp>
        <p:cxnSp>
          <p:nvCxnSpPr>
            <p:cNvPr id="11" name="Gerade Verbindung 10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Grafik 12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71838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9999" y="1484884"/>
            <a:ext cx="8424000" cy="1057982"/>
          </a:xfrm>
        </p:spPr>
        <p:txBody>
          <a:bodyPr/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" cy="3599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můžete upravit styl předlohy.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59999" y="2729931"/>
            <a:ext cx="8424000" cy="2520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2021-05-04 l DIT l ZF Engineering Plzeň presentation, v2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98" y="438150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7888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21-05-04 l DIT l ZF Engineering Plzeň presentation, v2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02617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4" y="143956"/>
            <a:ext cx="8424001" cy="59381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5" y="864002"/>
            <a:ext cx="4122737" cy="3780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4661096" y="864002"/>
            <a:ext cx="4122000" cy="3780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21-05-04 l DIT l ZF Engineering Plzeň presentation, v2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27309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cs-CZ" dirty="0">
                <a:solidFill>
                  <a:srgbClr val="000000"/>
                </a:solidFill>
              </a:rPr>
              <a:t>2021-05-04 l DIT l ZF Engineering Plzeň </a:t>
            </a:r>
            <a:r>
              <a:rPr lang="cs-CZ" dirty="0" err="1">
                <a:solidFill>
                  <a:srgbClr val="000000"/>
                </a:solidFill>
              </a:rPr>
              <a:t>presentation</a:t>
            </a:r>
            <a:r>
              <a:rPr lang="cs-CZ" dirty="0">
                <a:solidFill>
                  <a:srgbClr val="000000"/>
                </a:solidFill>
              </a:rPr>
              <a:t>, v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1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6084002" y="864002"/>
            <a:ext cx="2700000" cy="3780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47528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cs-CZ" dirty="0">
                <a:solidFill>
                  <a:srgbClr val="000000"/>
                </a:solidFill>
              </a:rPr>
              <a:t>2021-05-04 l DIT l ZF Engineering Plzeň </a:t>
            </a:r>
            <a:r>
              <a:rPr lang="cs-CZ" dirty="0" err="1">
                <a:solidFill>
                  <a:srgbClr val="000000"/>
                </a:solidFill>
              </a:rPr>
              <a:t>presentation</a:t>
            </a:r>
            <a:r>
              <a:rPr lang="cs-CZ" dirty="0">
                <a:solidFill>
                  <a:srgbClr val="000000"/>
                </a:solidFill>
              </a:rPr>
              <a:t>, v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3" y="863999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4660362" y="864000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360003" y="2844000"/>
            <a:ext cx="4122737" cy="1800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4660362" y="2844000"/>
            <a:ext cx="4122737" cy="1800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71488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cs-CZ" dirty="0">
                <a:solidFill>
                  <a:srgbClr val="000000"/>
                </a:solidFill>
              </a:rPr>
              <a:t>2021-05-04 l DIT l ZF Engineering Plzeň </a:t>
            </a:r>
            <a:r>
              <a:rPr lang="cs-CZ" dirty="0" err="1">
                <a:solidFill>
                  <a:srgbClr val="000000"/>
                </a:solidFill>
              </a:rPr>
              <a:t>presentation</a:t>
            </a:r>
            <a:r>
              <a:rPr lang="cs-CZ" dirty="0">
                <a:solidFill>
                  <a:srgbClr val="000000"/>
                </a:solidFill>
              </a:rPr>
              <a:t>, v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9" name="Inhaltsplatzhalter 5"/>
          <p:cNvSpPr>
            <a:spLocks noGrp="1"/>
          </p:cNvSpPr>
          <p:nvPr>
            <p:ph sz="quarter" idx="16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7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28272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3" y="863999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4660362" y="864000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360003" y="2844000"/>
            <a:ext cx="4122737" cy="1800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4660362" y="2844000"/>
            <a:ext cx="4122737" cy="1800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9E4EEBC4-D0BE-4288-A9C1-5DAF9E9F4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4808" y="81981"/>
            <a:ext cx="834320" cy="718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7554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63" tIns="89963" rIns="89963" bIns="89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698"/>
              </a:lnSpc>
              <a:spcBef>
                <a:spcPts val="840"/>
              </a:spcBef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4000" cy="108000"/>
          </a:xfrm>
        </p:spPr>
        <p:txBody>
          <a:bodyPr/>
          <a:lstStyle/>
          <a:p>
            <a:pPr>
              <a:lnSpc>
                <a:spcPts val="800"/>
              </a:lnSpc>
            </a:pPr>
            <a:r>
              <a:rPr lang="cs-CZ" dirty="0">
                <a:solidFill>
                  <a:srgbClr val="000000"/>
                </a:solidFill>
              </a:rPr>
              <a:t>2021-05-04 l DIT l ZF Engineering Plzeň </a:t>
            </a:r>
            <a:r>
              <a:rPr lang="cs-CZ" dirty="0" err="1">
                <a:solidFill>
                  <a:srgbClr val="000000"/>
                </a:solidFill>
              </a:rPr>
              <a:t>presentation</a:t>
            </a:r>
            <a:r>
              <a:rPr lang="cs-CZ" dirty="0">
                <a:solidFill>
                  <a:srgbClr val="000000"/>
                </a:solidFill>
              </a:rPr>
              <a:t>, v2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2"/>
          </p:nvPr>
        </p:nvSpPr>
        <p:spPr>
          <a:xfrm>
            <a:off x="4661096" y="0"/>
            <a:ext cx="4482904" cy="51435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>
              <a:solidFill>
                <a:srgbClr val="FFFFFF"/>
              </a:solidFill>
            </a:endParaRPr>
          </a:p>
        </p:txBody>
      </p:sp>
      <p:cxnSp>
        <p:nvCxnSpPr>
          <p:cNvPr id="13" name="Gerade Verbindung 8"/>
          <p:cNvCxnSpPr/>
          <p:nvPr userDrawn="1"/>
        </p:nvCxnSpPr>
        <p:spPr>
          <a:xfrm>
            <a:off x="360004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9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Gehen Sie mit der Maus auf das Bild - 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5" name="Textfeld 11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23204924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63" tIns="89963" rIns="89963" bIns="89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698"/>
              </a:lnSpc>
              <a:spcBef>
                <a:spcPts val="840"/>
              </a:spcBef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3234" cy="108000"/>
          </a:xfrm>
        </p:spPr>
        <p:txBody>
          <a:bodyPr/>
          <a:lstStyle/>
          <a:p>
            <a:pPr>
              <a:lnSpc>
                <a:spcPts val="800"/>
              </a:lnSpc>
            </a:pPr>
            <a:r>
              <a:rPr lang="cs-CZ" dirty="0">
                <a:solidFill>
                  <a:srgbClr val="000000"/>
                </a:solidFill>
              </a:rPr>
              <a:t>2021-05-04 l DIT l ZF Engineering Plzeň </a:t>
            </a:r>
            <a:r>
              <a:rPr lang="cs-CZ" dirty="0" err="1">
                <a:solidFill>
                  <a:srgbClr val="000000"/>
                </a:solidFill>
              </a:rPr>
              <a:t>presentation</a:t>
            </a:r>
            <a:r>
              <a:rPr lang="cs-CZ" dirty="0">
                <a:solidFill>
                  <a:srgbClr val="000000"/>
                </a:solidFill>
              </a:rPr>
              <a:t>, v2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6" name="Bildplatzhalter 1"/>
          <p:cNvSpPr>
            <a:spLocks noGrp="1"/>
          </p:cNvSpPr>
          <p:nvPr>
            <p:ph type="pic" sz="quarter" idx="12"/>
          </p:nvPr>
        </p:nvSpPr>
        <p:spPr>
          <a:xfrm>
            <a:off x="4661096" y="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3"/>
          </p:nvPr>
        </p:nvSpPr>
        <p:spPr>
          <a:xfrm>
            <a:off x="4661096" y="257400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>
              <a:solidFill>
                <a:srgbClr val="FFFFFF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>
          <a:xfrm>
            <a:off x="360004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0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6" name="Textfeld 11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32889839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cs-CZ" dirty="0">
                <a:solidFill>
                  <a:srgbClr val="000000"/>
                </a:solidFill>
              </a:rPr>
              <a:t>2021-05-04 l DIT l ZF Engineering Plzeň </a:t>
            </a:r>
            <a:r>
              <a:rPr lang="cs-CZ" dirty="0" err="1">
                <a:solidFill>
                  <a:srgbClr val="000000"/>
                </a:solidFill>
              </a:rPr>
              <a:t>presentation</a:t>
            </a:r>
            <a:r>
              <a:rPr lang="cs-CZ" dirty="0">
                <a:solidFill>
                  <a:srgbClr val="000000"/>
                </a:solidFill>
              </a:rPr>
              <a:t>, v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60001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222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084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8" name="Bildplatzhalter 1"/>
          <p:cNvSpPr>
            <a:spLocks noGrp="1"/>
          </p:cNvSpPr>
          <p:nvPr>
            <p:ph type="pic" sz="quarter" idx="15"/>
          </p:nvPr>
        </p:nvSpPr>
        <p:spPr>
          <a:xfrm>
            <a:off x="360001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222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6084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11" name="Inhaltsplatzhalter 1"/>
          <p:cNvSpPr>
            <a:spLocks noGrp="1"/>
          </p:cNvSpPr>
          <p:nvPr>
            <p:ph sz="quarter" idx="18"/>
          </p:nvPr>
        </p:nvSpPr>
        <p:spPr>
          <a:xfrm>
            <a:off x="360001" y="3492000"/>
            <a:ext cx="2700000" cy="1152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9"/>
          </p:nvPr>
        </p:nvSpPr>
        <p:spPr>
          <a:xfrm>
            <a:off x="3222002" y="3492000"/>
            <a:ext cx="2700000" cy="1152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13" name="Inhaltsplatzhalter 3"/>
          <p:cNvSpPr>
            <a:spLocks noGrp="1"/>
          </p:cNvSpPr>
          <p:nvPr>
            <p:ph sz="quarter" idx="20"/>
          </p:nvPr>
        </p:nvSpPr>
        <p:spPr>
          <a:xfrm>
            <a:off x="6084002" y="3492000"/>
            <a:ext cx="2700000" cy="11520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16" name="Textfeld 13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7" name="Textfeld 14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25063702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cs-CZ" dirty="0">
                <a:solidFill>
                  <a:srgbClr val="000000"/>
                </a:solidFill>
              </a:rPr>
              <a:t>2021-05-04 l DIT l ZF Engineering Plzeň </a:t>
            </a:r>
            <a:r>
              <a:rPr lang="cs-CZ" dirty="0" err="1">
                <a:solidFill>
                  <a:srgbClr val="000000"/>
                </a:solidFill>
              </a:rPr>
              <a:t>presentation</a:t>
            </a:r>
            <a:r>
              <a:rPr lang="cs-CZ" dirty="0">
                <a:solidFill>
                  <a:srgbClr val="000000"/>
                </a:solidFill>
              </a:rPr>
              <a:t>, v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0" y="864002"/>
            <a:ext cx="9144000" cy="3780000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11" name="Textfeld 13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2" name="Textfeld 14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22743739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21-05-04 l DIT l ZF Engineering Plzeň presentation, v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64830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21-05-04 l DIT l ZF Engineering Plzeň presentation, v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09417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4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5" name="Gerade Verbindung 14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Grafik 11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cs-CZ" dirty="0">
                <a:solidFill>
                  <a:srgbClr val="FFFFFF"/>
                </a:solidFill>
              </a:rPr>
              <a:t>2021-05-04 l DIT l ZF Engineering Plzeň </a:t>
            </a:r>
            <a:r>
              <a:rPr lang="cs-CZ" dirty="0" err="1">
                <a:solidFill>
                  <a:srgbClr val="FFFFFF"/>
                </a:solidFill>
              </a:rPr>
              <a:t>presentation</a:t>
            </a:r>
            <a:r>
              <a:rPr lang="cs-CZ" dirty="0">
                <a:solidFill>
                  <a:srgbClr val="FFFFFF"/>
                </a:solidFill>
              </a:rPr>
              <a:t>, v2</a:t>
            </a:r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>
              <a:solidFill>
                <a:srgbClr val="FFFFFF"/>
              </a:solidFill>
            </a:endParaRPr>
          </a:p>
        </p:txBody>
      </p:sp>
      <p:sp>
        <p:nvSpPr>
          <p:cNvPr id="24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360002" y="324642"/>
            <a:ext cx="1279615" cy="1057982"/>
          </a:xfrm>
        </p:spPr>
        <p:txBody>
          <a:bodyPr wrap="none" lIns="0" tIns="0" rIns="0" bIns="0">
            <a:noAutofit/>
          </a:bodyPr>
          <a:lstStyle>
            <a:lvl1pPr>
              <a:defRPr lang="de-DE" sz="7198" b="1" kern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59999" y="1338593"/>
            <a:ext cx="8424000" cy="461665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2999" b="1" kern="120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cs-CZ"/>
              <a:t>Po kliknutí můžete upravovat styly textu v předloze.</a:t>
            </a:r>
          </a:p>
        </p:txBody>
      </p:sp>
      <p:sp>
        <p:nvSpPr>
          <p:cNvPr id="13" name="Textfeld 12" descr="NovaPathClassification"/>
          <p:cNvSpPr txBox="1"/>
          <p:nvPr userDrawn="1"/>
        </p:nvSpPr>
        <p:spPr>
          <a:xfrm>
            <a:off x="6269275" y="4887949"/>
            <a:ext cx="126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r>
              <a:rPr lang="en-US" sz="600" noProof="0">
                <a:solidFill>
                  <a:schemeClr val="bg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7531965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an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60001" y="438150"/>
            <a:ext cx="6706589" cy="105798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cs-CZ" dirty="0">
                <a:solidFill>
                  <a:srgbClr val="FFFFFF"/>
                </a:solidFill>
              </a:rPr>
              <a:t>2021-05-04 l DIT l ZF Engineering Plzeň </a:t>
            </a:r>
            <a:r>
              <a:rPr lang="cs-CZ" dirty="0" err="1">
                <a:solidFill>
                  <a:srgbClr val="FFFFFF"/>
                </a:solidFill>
              </a:rPr>
              <a:t>presentation</a:t>
            </a:r>
            <a:r>
              <a:rPr lang="cs-CZ" dirty="0">
                <a:solidFill>
                  <a:srgbClr val="FFFFFF"/>
                </a:solidFill>
              </a:rPr>
              <a:t>, v2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>
              <a:solidFill>
                <a:srgbClr val="FFFFFF"/>
              </a:solidFill>
            </a:endParaRP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7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20" name="Gerade Verbindung 19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1" name="Textfeld 10" descr="NovaPathClassification"/>
          <p:cNvSpPr txBox="1"/>
          <p:nvPr userDrawn="1"/>
        </p:nvSpPr>
        <p:spPr>
          <a:xfrm>
            <a:off x="6269275" y="4887949"/>
            <a:ext cx="126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r>
              <a:rPr lang="en-US" sz="600" noProof="0">
                <a:solidFill>
                  <a:schemeClr val="bg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1131968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021-05-04 l DIT l ZF Engineering Plzeň presentation, v2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9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0" name="Gerade Verbindung 9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5" name="Textfeld 14" descr="NovaPathClassification"/>
          <p:cNvSpPr txBox="1"/>
          <p:nvPr userDrawn="1"/>
        </p:nvSpPr>
        <p:spPr>
          <a:xfrm>
            <a:off x="6269275" y="4887949"/>
            <a:ext cx="126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r>
              <a:rPr lang="en-US" sz="600" noProof="0">
                <a:solidFill>
                  <a:schemeClr val="bg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42770791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021-05-04 l DIT l ZF Engineering Plzeň presentation, v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8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9" name="Gerade Verbindung 8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3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54672" y="-15354"/>
            <a:ext cx="2772000" cy="19434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de-DE" sz="90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90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90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4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43772" y="2131175"/>
            <a:ext cx="2772000" cy="1727467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1200" b="1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1200" b="1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1200" b="1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en-US" sz="90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90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90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  <p:sp>
        <p:nvSpPr>
          <p:cNvPr id="15" name="Textfeld 14" descr="NovaPathClassification"/>
          <p:cNvSpPr txBox="1"/>
          <p:nvPr userDrawn="1"/>
        </p:nvSpPr>
        <p:spPr>
          <a:xfrm>
            <a:off x="6269275" y="4887949"/>
            <a:ext cx="126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r>
              <a:rPr lang="en-US" sz="600" noProof="0">
                <a:solidFill>
                  <a:schemeClr val="bg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695437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9" name="Inhaltsplatzhalter 5"/>
          <p:cNvSpPr>
            <a:spLocks noGrp="1"/>
          </p:cNvSpPr>
          <p:nvPr>
            <p:ph sz="quarter" idx="16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7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60095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021-05-04 l DIT l ZF Engineering Plzeň presentation, v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7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8" name="Gerade Verbindung 7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2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54672" y="-15354"/>
            <a:ext cx="2772000" cy="19434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de-DE" sz="90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90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90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3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43772" y="2131175"/>
            <a:ext cx="2772000" cy="1727467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1200" b="1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1200" b="1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1200" b="1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en-US" sz="90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90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90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90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  <p:sp>
        <p:nvSpPr>
          <p:cNvPr id="14" name="Textfeld 13" descr="NovaPathClassification"/>
          <p:cNvSpPr txBox="1"/>
          <p:nvPr userDrawn="1"/>
        </p:nvSpPr>
        <p:spPr>
          <a:xfrm>
            <a:off x="6269275" y="4887949"/>
            <a:ext cx="126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r>
              <a:rPr lang="en-US" sz="600" noProof="0">
                <a:solidFill>
                  <a:schemeClr val="bg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7367395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ecial_Slide - Do_not_use!!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44" tIns="89944" rIns="89944" bIns="89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>
                <a:solidFill>
                  <a:srgbClr val="FFFFFF"/>
                </a:solidFill>
              </a:rPr>
              <a:t>2021-05-04 l DIT l ZF Engineering Plzeň presentation, v2</a:t>
            </a:r>
            <a:endParaRPr lang="cs-CZ">
              <a:solidFill>
                <a:srgbClr val="FFFFF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>
              <a:solidFill>
                <a:srgbClr val="FFFFFF"/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360002" y="4722302"/>
            <a:ext cx="8424000" cy="366353"/>
            <a:chOff x="360001" y="4722299"/>
            <a:chExt cx="8424000" cy="366353"/>
          </a:xfrm>
        </p:grpSpPr>
        <p:sp>
          <p:nvSpPr>
            <p:cNvPr id="16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7" name="Gerade Verbindung 16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11819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9999" y="1484884"/>
            <a:ext cx="8424000" cy="1057982"/>
          </a:xfrm>
        </p:spPr>
        <p:txBody>
          <a:bodyPr/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" cy="3599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59999" y="2729931"/>
            <a:ext cx="8424000" cy="2520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98" y="438150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0793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94023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4" y="143956"/>
            <a:ext cx="8424001" cy="59381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5" y="864002"/>
            <a:ext cx="4122737" cy="378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4661096" y="864002"/>
            <a:ext cx="4122000" cy="378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43881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endParaRPr lang="cs-CZ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1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2"/>
            <a:ext cx="2700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6084002" y="864002"/>
            <a:ext cx="2700000" cy="378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70732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endParaRPr lang="cs-CZ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3" y="863999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4660362" y="864000"/>
            <a:ext cx="4122737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360003" y="2844000"/>
            <a:ext cx="4122737" cy="18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4660362" y="2844000"/>
            <a:ext cx="4122737" cy="18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21347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endParaRPr lang="cs-CZ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16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7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816981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63" tIns="89963" rIns="89963" bIns="89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698"/>
              </a:lnSpc>
              <a:spcBef>
                <a:spcPts val="840"/>
              </a:spcBef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4000" cy="108000"/>
          </a:xfrm>
        </p:spPr>
        <p:txBody>
          <a:bodyPr/>
          <a:lstStyle/>
          <a:p>
            <a:pPr>
              <a:lnSpc>
                <a:spcPts val="800"/>
              </a:lnSpc>
            </a:pPr>
            <a:endParaRPr lang="cs-CZ">
              <a:solidFill>
                <a:srgbClr val="000000"/>
              </a:solidFill>
            </a:endParaRP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2"/>
          </p:nvPr>
        </p:nvSpPr>
        <p:spPr>
          <a:xfrm>
            <a:off x="4661096" y="0"/>
            <a:ext cx="4482904" cy="51435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>
              <a:solidFill>
                <a:srgbClr val="FFFFFF"/>
              </a:solidFill>
            </a:endParaRPr>
          </a:p>
        </p:txBody>
      </p:sp>
      <p:cxnSp>
        <p:nvCxnSpPr>
          <p:cNvPr id="13" name="Gerade Verbindung 8"/>
          <p:cNvCxnSpPr/>
          <p:nvPr userDrawn="1"/>
        </p:nvCxnSpPr>
        <p:spPr>
          <a:xfrm>
            <a:off x="360004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9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Gehen Sie mit der Maus auf das Bild - 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5" name="Textfeld 11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35618497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63" tIns="89963" rIns="89963" bIns="89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698"/>
              </a:lnSpc>
              <a:spcBef>
                <a:spcPts val="840"/>
              </a:spcBef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3234" cy="108000"/>
          </a:xfrm>
        </p:spPr>
        <p:txBody>
          <a:bodyPr/>
          <a:lstStyle/>
          <a:p>
            <a:pPr>
              <a:lnSpc>
                <a:spcPts val="800"/>
              </a:lnSpc>
            </a:pPr>
            <a:endParaRPr lang="cs-CZ">
              <a:solidFill>
                <a:srgbClr val="000000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1"/>
          <p:cNvSpPr>
            <a:spLocks noGrp="1"/>
          </p:cNvSpPr>
          <p:nvPr>
            <p:ph type="pic" sz="quarter" idx="12"/>
          </p:nvPr>
        </p:nvSpPr>
        <p:spPr>
          <a:xfrm>
            <a:off x="4661096" y="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3"/>
          </p:nvPr>
        </p:nvSpPr>
        <p:spPr>
          <a:xfrm>
            <a:off x="4661096" y="257400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>
              <a:solidFill>
                <a:srgbClr val="FFFFFF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>
          <a:xfrm>
            <a:off x="360004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0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6" name="Textfeld 11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781648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91" tIns="89991" rIns="89991" bIns="89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699"/>
              </a:lnSpc>
              <a:spcBef>
                <a:spcPts val="840"/>
              </a:spcBef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4000" cy="108000"/>
          </a:xfrm>
        </p:spPr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2"/>
          </p:nvPr>
        </p:nvSpPr>
        <p:spPr>
          <a:xfrm>
            <a:off x="4661096" y="0"/>
            <a:ext cx="4482904" cy="51435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cxnSp>
        <p:nvCxnSpPr>
          <p:cNvPr id="13" name="Gerade Verbindung 8"/>
          <p:cNvCxnSpPr/>
          <p:nvPr/>
        </p:nvCxnSpPr>
        <p:spPr>
          <a:xfrm>
            <a:off x="360003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9"/>
          <p:cNvSpPr txBox="1">
            <a:spLocks noChangeArrowheads="1"/>
          </p:cNvSpPr>
          <p:nvPr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Gehen Sie mit der Maus auf das Bild - 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5" name="Textfeld 11"/>
          <p:cNvSpPr txBox="1">
            <a:spLocks noChangeArrowheads="1"/>
          </p:cNvSpPr>
          <p:nvPr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41848622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endParaRPr lang="cs-CZ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60001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222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084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Bildplatzhalter 1"/>
          <p:cNvSpPr>
            <a:spLocks noGrp="1"/>
          </p:cNvSpPr>
          <p:nvPr>
            <p:ph type="pic" sz="quarter" idx="15"/>
          </p:nvPr>
        </p:nvSpPr>
        <p:spPr>
          <a:xfrm>
            <a:off x="360001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222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6084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Inhaltsplatzhalter 1"/>
          <p:cNvSpPr>
            <a:spLocks noGrp="1"/>
          </p:cNvSpPr>
          <p:nvPr>
            <p:ph sz="quarter" idx="18"/>
          </p:nvPr>
        </p:nvSpPr>
        <p:spPr>
          <a:xfrm>
            <a:off x="360001" y="3492000"/>
            <a:ext cx="2700000" cy="115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9"/>
          </p:nvPr>
        </p:nvSpPr>
        <p:spPr>
          <a:xfrm>
            <a:off x="3222002" y="3492000"/>
            <a:ext cx="2700000" cy="115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3"/>
          <p:cNvSpPr>
            <a:spLocks noGrp="1"/>
          </p:cNvSpPr>
          <p:nvPr>
            <p:ph sz="quarter" idx="20"/>
          </p:nvPr>
        </p:nvSpPr>
        <p:spPr>
          <a:xfrm>
            <a:off x="6084002" y="3492000"/>
            <a:ext cx="2700000" cy="115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feld 13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7" name="Textfeld 14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33233068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endParaRPr lang="cs-CZ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0" y="864002"/>
            <a:ext cx="9144000" cy="3780000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1" name="Textfeld 13"/>
          <p:cNvSpPr txBox="1">
            <a:spLocks noChangeArrowheads="1"/>
          </p:cNvSpPr>
          <p:nvPr userDrawn="1"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2" name="Textfeld 14"/>
          <p:cNvSpPr txBox="1">
            <a:spLocks noChangeArrowheads="1"/>
          </p:cNvSpPr>
          <p:nvPr userDrawn="1"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85" tIns="35985" rIns="35985" bIns="35985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6105928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7004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03826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4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5" name="Gerade Verbindung 14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Grafik 11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grpSp>
        <p:nvGrpSpPr>
          <p:cNvPr id="6" name="Gruppieren 5"/>
          <p:cNvGrpSpPr/>
          <p:nvPr/>
        </p:nvGrpSpPr>
        <p:grpSpPr>
          <a:xfrm>
            <a:off x="-2188873" y="0"/>
            <a:ext cx="2103150" cy="2448000"/>
            <a:chOff x="-2188874" y="0"/>
            <a:chExt cx="2103150" cy="2448000"/>
          </a:xfrm>
        </p:grpSpPr>
        <p:sp>
          <p:nvSpPr>
            <p:cNvPr id="13" name="Textfeld 12"/>
            <p:cNvSpPr txBox="1">
              <a:spLocks noChangeArrowheads="1"/>
            </p:cNvSpPr>
            <p:nvPr userDrawn="1"/>
          </p:nvSpPr>
          <p:spPr bwMode="auto">
            <a:xfrm>
              <a:off x="-2188874" y="0"/>
              <a:ext cx="2103150" cy="2448000"/>
            </a:xfrm>
            <a:prstGeom prst="rect">
              <a:avLst/>
            </a:prstGeom>
            <a:solidFill>
              <a:srgbClr val="DD0C29"/>
            </a:solidFill>
            <a:ln>
              <a:noFill/>
            </a:ln>
          </p:spPr>
          <p:txBody>
            <a:bodyPr wrap="square" lIns="36000" tIns="36000" rIns="36000" bIns="36000">
              <a:no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de-DE" sz="1000" b="1" dirty="0">
                  <a:solidFill>
                    <a:srgbClr val="FFFFFF"/>
                  </a:solidFill>
                  <a:cs typeface="Tahoma" charset="0"/>
                </a:rPr>
                <a:t>Bearbeitungshinweis: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rgbClr val="FFFFFF"/>
                  </a:solidFill>
                  <a:cs typeface="Tahoma" charset="0"/>
                </a:rPr>
                <a:t>Um das Hintergrundbild auszutauschen, klicken Sie mit der rechten Maustaste auf die Folie und anschließend auf „Hintergrund formatieren“. Wählen Sie dann das gewünschte Bild über „Einfügen aus: Datei“ ein.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de-DE" sz="800" b="1" dirty="0">
                  <a:solidFill>
                    <a:srgbClr val="FFFFFF"/>
                  </a:solidFill>
                  <a:cs typeface="Tahoma" charset="0"/>
                </a:rPr>
                <a:t>WICHTIG:</a:t>
              </a:r>
              <a:r>
                <a:rPr lang="de-DE" sz="800" dirty="0">
                  <a:solidFill>
                    <a:srgbClr val="FFFFFF"/>
                  </a:solidFill>
                  <a:cs typeface="Tahoma" charset="0"/>
                </a:rPr>
                <a:t> Wenn Sie diese Folie dann in eine andere Präsentation einfügen, müssen Sie die ursprüngliche Formatierung beibehalten, da ansonsten der Hintergrund wieder zurückgesetzt wird.  </a:t>
              </a:r>
            </a:p>
          </p:txBody>
        </p:sp>
        <p:pic>
          <p:nvPicPr>
            <p:cNvPr id="5" name="Grafik 4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000481" y="1576454"/>
              <a:ext cx="1723293" cy="828155"/>
            </a:xfrm>
            <a:prstGeom prst="rect">
              <a:avLst/>
            </a:prstGeom>
          </p:spPr>
        </p:pic>
      </p:grpSp>
      <p:grpSp>
        <p:nvGrpSpPr>
          <p:cNvPr id="17" name="Gruppieren 16"/>
          <p:cNvGrpSpPr/>
          <p:nvPr/>
        </p:nvGrpSpPr>
        <p:grpSpPr>
          <a:xfrm>
            <a:off x="-2188873" y="2557009"/>
            <a:ext cx="2103150" cy="2124000"/>
            <a:chOff x="-2188874" y="0"/>
            <a:chExt cx="2103150" cy="2124000"/>
          </a:xfrm>
        </p:grpSpPr>
        <p:sp>
          <p:nvSpPr>
            <p:cNvPr id="20" name="Textfeld 19"/>
            <p:cNvSpPr txBox="1">
              <a:spLocks noChangeArrowheads="1"/>
            </p:cNvSpPr>
            <p:nvPr userDrawn="1"/>
          </p:nvSpPr>
          <p:spPr bwMode="auto">
            <a:xfrm>
              <a:off x="-2188874" y="0"/>
              <a:ext cx="2103150" cy="2124000"/>
            </a:xfrm>
            <a:prstGeom prst="rect">
              <a:avLst/>
            </a:prstGeom>
            <a:solidFill>
              <a:srgbClr val="DD0C29"/>
            </a:solidFill>
            <a:ln>
              <a:noFill/>
            </a:ln>
          </p:spPr>
          <p:txBody>
            <a:bodyPr wrap="square" lIns="36000" tIns="36000" rIns="36000" bIns="36000">
              <a:no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de-DE" sz="1000" b="1" dirty="0">
                  <a:solidFill>
                    <a:srgbClr val="FFFFFF"/>
                  </a:solidFill>
                  <a:cs typeface="Tahoma" charset="0"/>
                </a:rPr>
                <a:t>Handling </a:t>
              </a:r>
              <a:r>
                <a:rPr lang="de-DE" sz="1000" b="1" dirty="0" err="1">
                  <a:solidFill>
                    <a:srgbClr val="FFFFFF"/>
                  </a:solidFill>
                  <a:cs typeface="Tahoma" charset="0"/>
                </a:rPr>
                <a:t>instructions</a:t>
              </a:r>
              <a:r>
                <a:rPr lang="de-DE" sz="1000" b="1" dirty="0">
                  <a:solidFill>
                    <a:srgbClr val="FFFFFF"/>
                  </a:solidFill>
                  <a:cs typeface="Tahoma" charset="0"/>
                </a:rPr>
                <a:t>: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FFFFFF"/>
                  </a:solidFill>
                  <a:cs typeface="Tahoma" charset="0"/>
                </a:rPr>
                <a:t>To change the background, right-click on the slide and select “Format Background”. Choose the requested image “Insert from: File”. 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>
                  <a:solidFill>
                    <a:srgbClr val="FFFFFF"/>
                  </a:solidFill>
                  <a:cs typeface="Tahoma" charset="0"/>
                </a:rPr>
                <a:t>IMPORTANT:</a:t>
              </a:r>
              <a:r>
                <a:rPr lang="en-US" sz="800" dirty="0">
                  <a:solidFill>
                    <a:srgbClr val="FFFFFF"/>
                  </a:solidFill>
                  <a:cs typeface="Tahoma" charset="0"/>
                </a:rPr>
                <a:t> If you want to insert this slide into another presentation, you have to keep the original formatting. Otherwise the background will be reset.</a:t>
              </a: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000481" y="1231414"/>
              <a:ext cx="1723293" cy="828155"/>
            </a:xfrm>
            <a:prstGeom prst="rect">
              <a:avLst/>
            </a:prstGeom>
          </p:spPr>
        </p:pic>
      </p:grpSp>
      <p:sp>
        <p:nvSpPr>
          <p:cNvPr id="2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24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360002" y="324642"/>
            <a:ext cx="1279615" cy="1057982"/>
          </a:xfrm>
        </p:spPr>
        <p:txBody>
          <a:bodyPr wrap="none" lIns="0" tIns="0" rIns="0" bIns="0">
            <a:noAutofit/>
          </a:bodyPr>
          <a:lstStyle>
            <a:lvl1pPr>
              <a:defRPr lang="de-DE" sz="7198" b="1" kern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59999" y="1338593"/>
            <a:ext cx="8424000" cy="461665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2999" b="1" kern="120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Mastertextformat bearbeiten</a:t>
            </a:r>
          </a:p>
        </p:txBody>
      </p:sp>
      <p:sp>
        <p:nvSpPr>
          <p:cNvPr id="4" name="novaPathPPTBox">
            <a:extLst>
              <a:ext uri="{FF2B5EF4-FFF2-40B4-BE49-F238E27FC236}">
                <a16:creationId xmlns:a16="http://schemas.microsoft.com/office/drawing/2014/main" id="{6DD94C87-4013-43D7-B5A8-78AE41263D16}"/>
              </a:ext>
            </a:extLst>
          </p:cNvPr>
          <p:cNvSpPr/>
          <p:nvPr userDrawn="1"/>
        </p:nvSpPr>
        <p:spPr>
          <a:xfrm>
            <a:off x="6438900" y="4964167"/>
            <a:ext cx="292100" cy="888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D5F3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126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Tahoma" pitchFamily="34" charset="0"/>
              </a:rPr>
              <a:t>Internal</a:t>
            </a:r>
            <a:endParaRPr kumimoji="0" lang="de-DE" sz="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5201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nd 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60001" y="438150"/>
            <a:ext cx="6706589" cy="105798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 dirty="0">
              <a:solidFill>
                <a:srgbClr val="FFFFFF"/>
              </a:solidFill>
            </a:endParaRP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7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20" name="Gerade Verbindung 19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3" name="novaPathPPTBox">
            <a:extLst>
              <a:ext uri="{FF2B5EF4-FFF2-40B4-BE49-F238E27FC236}">
                <a16:creationId xmlns:a16="http://schemas.microsoft.com/office/drawing/2014/main" id="{96135F7E-C56F-497C-82B0-B8A1452ADA3E}"/>
              </a:ext>
            </a:extLst>
          </p:cNvPr>
          <p:cNvSpPr/>
          <p:nvPr userDrawn="1"/>
        </p:nvSpPr>
        <p:spPr>
          <a:xfrm>
            <a:off x="6438900" y="4964167"/>
            <a:ext cx="292100" cy="888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D5F3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126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Tahoma" pitchFamily="34" charset="0"/>
              </a:rPr>
              <a:t>Internal</a:t>
            </a:r>
            <a:endParaRPr kumimoji="0" lang="de-DE" sz="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0938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9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0" name="Gerade Verbindung 9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2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54672" y="-15354"/>
            <a:ext cx="2772000" cy="19434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de-DE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3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43772" y="2131175"/>
            <a:ext cx="2772000" cy="1727467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  <p:sp>
        <p:nvSpPr>
          <p:cNvPr id="14" name="novaPathPPTBox">
            <a:extLst>
              <a:ext uri="{FF2B5EF4-FFF2-40B4-BE49-F238E27FC236}">
                <a16:creationId xmlns:a16="http://schemas.microsoft.com/office/drawing/2014/main" id="{86C26ECA-5545-4692-9754-EF21E2C46336}"/>
              </a:ext>
            </a:extLst>
          </p:cNvPr>
          <p:cNvSpPr/>
          <p:nvPr userDrawn="1"/>
        </p:nvSpPr>
        <p:spPr>
          <a:xfrm>
            <a:off x="6438900" y="4964167"/>
            <a:ext cx="292100" cy="888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D5F3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126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Tahoma" pitchFamily="34" charset="0"/>
              </a:rPr>
              <a:t>Internal</a:t>
            </a:r>
            <a:endParaRPr kumimoji="0" lang="de-DE" sz="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59566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8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9" name="Gerade Verbindung 8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3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54672" y="-15354"/>
            <a:ext cx="2772000" cy="19434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de-DE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4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43772" y="2131175"/>
            <a:ext cx="2772000" cy="1727467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  <p:sp>
        <p:nvSpPr>
          <p:cNvPr id="11" name="novaPathPPTBox">
            <a:extLst>
              <a:ext uri="{FF2B5EF4-FFF2-40B4-BE49-F238E27FC236}">
                <a16:creationId xmlns:a16="http://schemas.microsoft.com/office/drawing/2014/main" id="{0C7E260A-5BE4-4356-9F13-CC658DCC6B1B}"/>
              </a:ext>
            </a:extLst>
          </p:cNvPr>
          <p:cNvSpPr/>
          <p:nvPr userDrawn="1"/>
        </p:nvSpPr>
        <p:spPr>
          <a:xfrm>
            <a:off x="6438900" y="4964167"/>
            <a:ext cx="292100" cy="888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D5F3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126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Tahoma" pitchFamily="34" charset="0"/>
              </a:rPr>
              <a:t>Internal</a:t>
            </a:r>
            <a:endParaRPr kumimoji="0" lang="de-DE" sz="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7378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7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8" name="Gerade Verbindung 7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2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54672" y="-15354"/>
            <a:ext cx="2772000" cy="19434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de-DE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3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843772" y="2131175"/>
            <a:ext cx="2772000" cy="1727467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89972" tIns="89972" rIns="89972" bIns="89972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  <p:sp>
        <p:nvSpPr>
          <p:cNvPr id="10" name="novaPathPPTBox">
            <a:extLst>
              <a:ext uri="{FF2B5EF4-FFF2-40B4-BE49-F238E27FC236}">
                <a16:creationId xmlns:a16="http://schemas.microsoft.com/office/drawing/2014/main" id="{7C23331E-7ABB-4358-B897-4BDAA348638D}"/>
              </a:ext>
            </a:extLst>
          </p:cNvPr>
          <p:cNvSpPr/>
          <p:nvPr userDrawn="1"/>
        </p:nvSpPr>
        <p:spPr>
          <a:xfrm>
            <a:off x="6438900" y="4964167"/>
            <a:ext cx="292100" cy="888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D5F3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126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Tahoma" pitchFamily="34" charset="0"/>
              </a:rPr>
              <a:t>Internal</a:t>
            </a:r>
            <a:endParaRPr kumimoji="0" lang="de-DE" sz="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47706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ecial_Slide - Do_not_use!!!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/>
              <a:t>August 2017 | Department Abbreviation | Summary Presentation Tit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 dirty="0"/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0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293"/>
              <a:ext cx="900000" cy="927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lnSpc>
                  <a:spcPts val="800"/>
                </a:lnSpc>
              </a:pPr>
              <a:r>
                <a:rPr lang="de-DE" sz="600" dirty="0">
                  <a:solidFill>
                    <a:schemeClr val="bg1"/>
                  </a:solidFill>
                  <a:latin typeface="Tahoma" panose="020B0604030504040204" pitchFamily="34" charset="0"/>
                </a:rPr>
                <a:t>© ZF Friedrichshafen AG</a:t>
              </a:r>
            </a:p>
          </p:txBody>
        </p:sp>
        <p:cxnSp>
          <p:nvCxnSpPr>
            <p:cNvPr id="11" name="Gerade Verbindung 10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Grafik 12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5" name="novaPathPPTBox">
            <a:extLst>
              <a:ext uri="{FF2B5EF4-FFF2-40B4-BE49-F238E27FC236}">
                <a16:creationId xmlns:a16="http://schemas.microsoft.com/office/drawing/2014/main" id="{A33693A3-1EBE-47EB-9713-8AA5CE199624}"/>
              </a:ext>
            </a:extLst>
          </p:cNvPr>
          <p:cNvSpPr/>
          <p:nvPr userDrawn="1"/>
        </p:nvSpPr>
        <p:spPr>
          <a:xfrm>
            <a:off x="6438900" y="4964167"/>
            <a:ext cx="292100" cy="888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D5F3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126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Tahoma" pitchFamily="34" charset="0"/>
              </a:rPr>
              <a:t>Internal</a:t>
            </a:r>
            <a:endParaRPr kumimoji="0" lang="de-DE" sz="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264183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zwei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340818" y="4707947"/>
            <a:ext cx="4610366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91" tIns="89991" rIns="89991" bIns="89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699"/>
              </a:lnSpc>
              <a:spcBef>
                <a:spcPts val="840"/>
              </a:spcBef>
              <a:spcAft>
                <a:spcPct val="0"/>
              </a:spcAft>
            </a:pPr>
            <a:endParaRPr lang="de-DE" sz="120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43999"/>
            <a:ext cx="4122000" cy="100839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3563234" cy="108000"/>
          </a:xfrm>
        </p:spPr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403999"/>
            <a:ext cx="4122737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6" name="Bildplatzhalter 1"/>
          <p:cNvSpPr>
            <a:spLocks noGrp="1"/>
          </p:cNvSpPr>
          <p:nvPr>
            <p:ph type="pic" sz="quarter" idx="12"/>
          </p:nvPr>
        </p:nvSpPr>
        <p:spPr>
          <a:xfrm>
            <a:off x="4661096" y="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3"/>
          </p:nvPr>
        </p:nvSpPr>
        <p:spPr>
          <a:xfrm>
            <a:off x="4661096" y="2574002"/>
            <a:ext cx="4482904" cy="2574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360003" y="4722301"/>
            <a:ext cx="4122737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0"/>
          <p:cNvSpPr txBox="1">
            <a:spLocks noChangeArrowheads="1"/>
          </p:cNvSpPr>
          <p:nvPr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6" name="Textfeld 11"/>
          <p:cNvSpPr txBox="1">
            <a:spLocks noChangeArrowheads="1"/>
          </p:cNvSpPr>
          <p:nvPr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9703035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9" descr="SO_11 (0-00-12-44)_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0" r="18782"/>
          <a:stretch/>
        </p:blipFill>
        <p:spPr>
          <a:xfrm>
            <a:off x="0" y="1"/>
            <a:ext cx="9144000" cy="5149362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000000"/>
                </a:solidFill>
              </a:rPr>
              <a:t>August 2017 | VCMA | PowerPoint Toolbox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fld id="{D985BC7C-F6A2-4FED-9217-735A5E10A319}" type="slidenum">
              <a:rPr lang="en-US" smtClean="0">
                <a:solidFill>
                  <a:srgbClr val="1179B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en-US">
              <a:solidFill>
                <a:srgbClr val="1179BF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2" y="4800653"/>
            <a:ext cx="288000" cy="288000"/>
          </a:xfrm>
          <a:prstGeom prst="rect">
            <a:avLst/>
          </a:prstGeom>
        </p:spPr>
      </p:pic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52452"/>
            <a:ext cx="9144000" cy="461665"/>
          </a:xfrm>
          <a:noFill/>
        </p:spPr>
        <p:txBody>
          <a:bodyPr wrap="square" lIns="0" tIns="0" rIns="0" bIns="0" rtlCol="0" anchor="ctr">
            <a:spAutoFit/>
          </a:bodyPr>
          <a:lstStyle>
            <a:lvl1pPr algn="ctr">
              <a:defRPr lang="en-US" sz="2998" kern="1200" dirty="0">
                <a:solidFill>
                  <a:schemeClr val="bg1"/>
                </a:solidFill>
                <a:latin typeface="ZF Prometo Medium" panose="020B0704030203060203" pitchFamily="34" charset="0"/>
                <a:cs typeface="Prometo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extplatzhalter</a:t>
            </a:r>
            <a:endParaRPr lang="en-US" dirty="0"/>
          </a:p>
        </p:txBody>
      </p:sp>
      <p:sp>
        <p:nvSpPr>
          <p:cNvPr id="7" name="Text Box 10"/>
          <p:cNvSpPr txBox="1">
            <a:spLocks noChangeArrowheads="1"/>
          </p:cNvSpPr>
          <p:nvPr userDrawn="1"/>
        </p:nvSpPr>
        <p:spPr bwMode="black">
          <a:xfrm>
            <a:off x="7607033" y="4896723"/>
            <a:ext cx="900000" cy="95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>
              <a:lnSpc>
                <a:spcPts val="800"/>
              </a:lnSpc>
            </a:pPr>
            <a:r>
              <a:rPr lang="de-DE" sz="600" dirty="0">
                <a:solidFill>
                  <a:srgbClr val="FFFFFF"/>
                </a:solidFill>
                <a:latin typeface="Tahoma" panose="020B0604030504040204" pitchFamily="34" charset="0"/>
              </a:rPr>
              <a:t>© ZF Friedrichshafen AG</a:t>
            </a:r>
          </a:p>
        </p:txBody>
      </p:sp>
    </p:spTree>
    <p:extLst>
      <p:ext uri="{BB962C8B-B14F-4D97-AF65-F5344CB8AC3E}">
        <p14:creationId xmlns:p14="http://schemas.microsoft.com/office/powerpoint/2010/main" val="2307724509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- und Ab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9144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60001" y="438150"/>
            <a:ext cx="6706589" cy="105798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99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cs-CZ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cs-CZ" dirty="0">
              <a:solidFill>
                <a:srgbClr val="FFFFFF"/>
              </a:solidFill>
            </a:endParaRP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360002" y="4722301"/>
            <a:ext cx="8424000" cy="366353"/>
            <a:chOff x="360001" y="4722299"/>
            <a:chExt cx="8424000" cy="366353"/>
          </a:xfrm>
        </p:grpSpPr>
        <p:sp>
          <p:nvSpPr>
            <p:cNvPr id="17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98308"/>
              <a:ext cx="900000" cy="92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20" name="Gerade Verbindung 19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300781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drei Blöck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60001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222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084002" y="1181760"/>
            <a:ext cx="2700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8" name="Bildplatzhalter 1"/>
          <p:cNvSpPr>
            <a:spLocks noGrp="1"/>
          </p:cNvSpPr>
          <p:nvPr>
            <p:ph type="pic" sz="quarter" idx="15"/>
          </p:nvPr>
        </p:nvSpPr>
        <p:spPr>
          <a:xfrm>
            <a:off x="360001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222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6084002" y="1544879"/>
            <a:ext cx="2700000" cy="1800000"/>
          </a:xfrm>
          <a:solidFill>
            <a:schemeClr val="bg2"/>
          </a:solidFill>
        </p:spPr>
        <p:txBody>
          <a:bodyPr/>
          <a:lstStyle/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11" name="Inhaltsplatzhalter 1"/>
          <p:cNvSpPr>
            <a:spLocks noGrp="1"/>
          </p:cNvSpPr>
          <p:nvPr>
            <p:ph sz="quarter" idx="18"/>
          </p:nvPr>
        </p:nvSpPr>
        <p:spPr>
          <a:xfrm>
            <a:off x="360001" y="3492000"/>
            <a:ext cx="2700000" cy="1152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9"/>
          </p:nvPr>
        </p:nvSpPr>
        <p:spPr>
          <a:xfrm>
            <a:off x="3222002" y="3492000"/>
            <a:ext cx="2700000" cy="1152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13" name="Inhaltsplatzhalter 3"/>
          <p:cNvSpPr>
            <a:spLocks noGrp="1"/>
          </p:cNvSpPr>
          <p:nvPr>
            <p:ph sz="quarter" idx="20"/>
          </p:nvPr>
        </p:nvSpPr>
        <p:spPr>
          <a:xfrm>
            <a:off x="6084002" y="3492000"/>
            <a:ext cx="2700000" cy="11520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/>
          </a:p>
        </p:txBody>
      </p:sp>
      <p:sp>
        <p:nvSpPr>
          <p:cNvPr id="16" name="Textfeld 13"/>
          <p:cNvSpPr txBox="1">
            <a:spLocks noChangeArrowheads="1"/>
          </p:cNvSpPr>
          <p:nvPr/>
        </p:nvSpPr>
        <p:spPr bwMode="auto">
          <a:xfrm>
            <a:off x="-2188873" y="0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7" name="Textfeld 14"/>
          <p:cNvSpPr txBox="1">
            <a:spLocks noChangeArrowheads="1"/>
          </p:cNvSpPr>
          <p:nvPr/>
        </p:nvSpPr>
        <p:spPr bwMode="auto">
          <a:xfrm>
            <a:off x="-2188873" y="2403945"/>
            <a:ext cx="2103150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6928521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5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D4F7EE3-2126-4AAF-9FD5-D5EA174F6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565378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25" imgH="424" progId="TCLayout.ActiveDocument.1">
                  <p:embed/>
                </p:oleObj>
              </mc:Choice>
              <mc:Fallback>
                <p:oleObj name="think-cell Slide" r:id="rId46" imgW="425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D4F7EE3-2126-4AAF-9FD5-D5EA174F6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0364" y="143956"/>
            <a:ext cx="8424001" cy="5938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0002" y="864002"/>
            <a:ext cx="8424000" cy="37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29391" y="4890653"/>
            <a:ext cx="522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04001" y="4890653"/>
            <a:ext cx="1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>
                <a:solidFill>
                  <a:schemeClr val="accent4"/>
                </a:solidFill>
              </a:defRPr>
            </a:lvl1pPr>
          </a:lstStyle>
          <a:p>
            <a:pPr algn="r">
              <a:lnSpc>
                <a:spcPts val="800"/>
              </a:lnSpc>
            </a:pPr>
            <a:fld id="{D985BC7C-F6A2-4FED-9217-735A5E10A319}" type="slidenum">
              <a:rPr lang="de-DE" smtClean="0"/>
              <a:pPr algn="r"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black">
          <a:xfrm>
            <a:off x="7607032" y="4893356"/>
            <a:ext cx="900000" cy="102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 fontAlgn="base">
              <a:lnSpc>
                <a:spcPts val="8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600">
                <a:solidFill>
                  <a:srgbClr val="000000"/>
                </a:solidFill>
              </a:rPr>
              <a:t>© ZF Friedrichshafen AG</a:t>
            </a:r>
          </a:p>
        </p:txBody>
      </p:sp>
      <p:cxnSp>
        <p:nvCxnSpPr>
          <p:cNvPr id="8" name="Gerade Verbindung 7"/>
          <p:cNvCxnSpPr/>
          <p:nvPr/>
        </p:nvCxnSpPr>
        <p:spPr>
          <a:xfrm>
            <a:off x="360002" y="4722301"/>
            <a:ext cx="8424000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1" y="4800652"/>
            <a:ext cx="288000" cy="288000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E3A4802E-F192-604C-9829-B402EACBD696}"/>
              </a:ext>
            </a:extLst>
          </p:cNvPr>
          <p:cNvPicPr>
            <a:picLocks noChangeAspect="1"/>
          </p:cNvPicPr>
          <p:nvPr userDrawn="1"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3538" y="104097"/>
            <a:ext cx="746369" cy="634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026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45" r:id="rId21"/>
    <p:sldLayoutId id="2147483740" r:id="rId22"/>
    <p:sldLayoutId id="2147483743" r:id="rId23"/>
    <p:sldLayoutId id="2147483741" r:id="rId24"/>
    <p:sldLayoutId id="2147483742" r:id="rId25"/>
    <p:sldLayoutId id="2147483747" r:id="rId26"/>
    <p:sldLayoutId id="2147483744" r:id="rId27"/>
    <p:sldLayoutId id="2147483746" r:id="rId28"/>
    <p:sldLayoutId id="2147483761" r:id="rId29"/>
    <p:sldLayoutId id="2147483762" r:id="rId30"/>
    <p:sldLayoutId id="2147483780" r:id="rId31"/>
    <p:sldLayoutId id="2147483782" r:id="rId32"/>
    <p:sldLayoutId id="2147483783" r:id="rId33"/>
    <p:sldLayoutId id="2147483784" r:id="rId34"/>
    <p:sldLayoutId id="2147483785" r:id="rId35"/>
    <p:sldLayoutId id="2147483786" r:id="rId36"/>
    <p:sldLayoutId id="2147483787" r:id="rId37"/>
    <p:sldLayoutId id="2147483788" r:id="rId38"/>
    <p:sldLayoutId id="2147483789" r:id="rId39"/>
    <p:sldLayoutId id="2147483790" r:id="rId40"/>
    <p:sldLayoutId id="2147483791" r:id="rId41"/>
    <p:sldLayoutId id="2147483792" r:id="rId42"/>
    <p:sldLayoutId id="2147483793" r:id="rId4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FA8AD72-5466-4DDA-AE19-E381891C2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57090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4" progId="TCLayout.ActiveDocument.1">
                  <p:embed/>
                </p:oleObj>
              </mc:Choice>
              <mc:Fallback>
                <p:oleObj name="think-cell Slide" r:id="rId21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FA8AD72-5466-4DDA-AE19-E381891C2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0364" y="143956"/>
            <a:ext cx="8424001" cy="5938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0002" y="864002"/>
            <a:ext cx="8424000" cy="37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29391" y="4890653"/>
            <a:ext cx="522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/>
              <a:t>2021-05-04 l DIT l ZF Engineering Plzeň presentation, v2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04001" y="4890653"/>
            <a:ext cx="1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>
                <a:solidFill>
                  <a:schemeClr val="accent4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Box 10"/>
          <p:cNvSpPr txBox="1">
            <a:spLocks noChangeArrowheads="1"/>
          </p:cNvSpPr>
          <p:nvPr userDrawn="1"/>
        </p:nvSpPr>
        <p:spPr bwMode="black">
          <a:xfrm>
            <a:off x="7607032" y="4898308"/>
            <a:ext cx="900000" cy="926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 fontAlgn="base">
              <a:lnSpc>
                <a:spcPts val="8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600">
                <a:solidFill>
                  <a:srgbClr val="000000"/>
                </a:solidFill>
              </a:rPr>
              <a:t>© ZF Friedrichshafen AG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360002" y="4722301"/>
            <a:ext cx="8424000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 descr="NovaPathClassification"/>
          <p:cNvSpPr txBox="1"/>
          <p:nvPr userDrawn="1"/>
        </p:nvSpPr>
        <p:spPr>
          <a:xfrm>
            <a:off x="6269275" y="4887949"/>
            <a:ext cx="126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r>
              <a:rPr lang="en-US" sz="600" noProof="0"/>
              <a:t>Interna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C0EC9A7-0F78-4BCD-A456-48B3D296E354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1" y="4800652"/>
            <a:ext cx="288000" cy="287911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047AC2D9-9234-3A42-876C-D6529090E6B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800100" cy="153888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F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24036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  <p:sldLayoutId id="2147484012" r:id="rId16"/>
    <p:sldLayoutId id="2147484013" r:id="rId17"/>
    <p:sldLayoutId id="2147484048" r:id="rId18"/>
  </p:sldLayoutIdLst>
  <p:hf sldNum="0" hdr="0" dt="0"/>
  <p:txStyles>
    <p:titleStyle>
      <a:lvl1pPr algn="l" defTabSz="914126" rtl="0" eaLnBrk="1" latinLnBrk="0" hangingPunct="1">
        <a:spcBef>
          <a:spcPct val="0"/>
        </a:spcBef>
        <a:buNone/>
        <a:defRPr sz="199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spcBef>
          <a:spcPts val="0"/>
        </a:spcBef>
        <a:spcAft>
          <a:spcPts val="300"/>
        </a:spcAft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15935" indent="-215935" algn="l" defTabSz="914126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70" indent="-215935" algn="l" defTabSz="914126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7806" indent="-215935" algn="l" defTabSz="914126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3741" indent="-215935" algn="l" defTabSz="914126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126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F071E44-5D71-43B1-8332-BC7E32096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266035351"/>
              </p:ext>
            </p:ext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5" imgH="424" progId="TCLayout.ActiveDocument.1">
                  <p:embed/>
                </p:oleObj>
              </mc:Choice>
              <mc:Fallback>
                <p:oleObj name="think-cell Slide" r:id="rId23" imgW="425" imgH="42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F071E44-5D71-43B1-8332-BC7E32096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0364" y="143956"/>
            <a:ext cx="8424001" cy="5938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0002" y="864002"/>
            <a:ext cx="8424000" cy="37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29391" y="4890653"/>
            <a:ext cx="522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04001" y="4890653"/>
            <a:ext cx="1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>
                <a:solidFill>
                  <a:schemeClr val="accent4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Box 10"/>
          <p:cNvSpPr txBox="1">
            <a:spLocks noChangeArrowheads="1"/>
          </p:cNvSpPr>
          <p:nvPr userDrawn="1"/>
        </p:nvSpPr>
        <p:spPr bwMode="black">
          <a:xfrm>
            <a:off x="7607032" y="4898308"/>
            <a:ext cx="900000" cy="926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 fontAlgn="base">
              <a:lnSpc>
                <a:spcPts val="8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0000"/>
                </a:solidFill>
              </a:rPr>
              <a:t>© ZF Friedrichshafen AG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360002" y="4722301"/>
            <a:ext cx="8424000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4800652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129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4046" r:id="rId19"/>
    <p:sldLayoutId id="2147484047" r:id="rId20"/>
  </p:sldLayoutIdLst>
  <p:hf hdr="0" dt="0"/>
  <p:txStyles>
    <p:titleStyle>
      <a:lvl1pPr algn="l" defTabSz="914126" rtl="0" eaLnBrk="1" latinLnBrk="0" hangingPunct="1">
        <a:spcBef>
          <a:spcPct val="0"/>
        </a:spcBef>
        <a:buNone/>
        <a:defRPr sz="199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spcBef>
          <a:spcPts val="0"/>
        </a:spcBef>
        <a:spcAft>
          <a:spcPts val="300"/>
        </a:spcAft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15935" indent="-215935" algn="l" defTabSz="914126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70" indent="-215935" algn="l" defTabSz="914126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7806" indent="-215935" algn="l" defTabSz="914126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3741" indent="-215935" algn="l" defTabSz="914126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126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27.png"/><Relationship Id="rId2" Type="http://schemas.openxmlformats.org/officeDocument/2006/relationships/image" Target="../media/image55.jfif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9.jpeg"/><Relationship Id="rId5" Type="http://schemas.openxmlformats.org/officeDocument/2006/relationships/image" Target="../media/image58.jpg"/><Relationship Id="rId4" Type="http://schemas.openxmlformats.org/officeDocument/2006/relationships/image" Target="../media/image5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17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8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youtu.be/XQTIiFcjHh8" TargetMode="External"/><Relationship Id="rId3" Type="http://schemas.openxmlformats.org/officeDocument/2006/relationships/hyperlink" Target="https://youtu.be/WG5alw_AR7U" TargetMode="External"/><Relationship Id="rId7" Type="http://schemas.openxmlformats.org/officeDocument/2006/relationships/hyperlink" Target="https://youtu.be/IWnKAoVedv0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youtu.be/rZS9N0BAH-0" TargetMode="External"/><Relationship Id="rId11" Type="http://schemas.openxmlformats.org/officeDocument/2006/relationships/hyperlink" Target="https://youtu.be/pCKPFO-wJNo" TargetMode="External"/><Relationship Id="rId5" Type="http://schemas.openxmlformats.org/officeDocument/2006/relationships/hyperlink" Target="https://www.zf.com/mobile/en/company/strategy/heritage_zf/heritage.html" TargetMode="External"/><Relationship Id="rId10" Type="http://schemas.openxmlformats.org/officeDocument/2006/relationships/hyperlink" Target="https://youtu.be/isUQDkQ9D1k" TargetMode="External"/><Relationship Id="rId4" Type="http://schemas.openxmlformats.org/officeDocument/2006/relationships/hyperlink" Target="https://youtu.be/pu7MucFowSg" TargetMode="External"/><Relationship Id="rId9" Type="http://schemas.openxmlformats.org/officeDocument/2006/relationships/hyperlink" Target="https://youtu.be/EI3AvddLQqY?list=RDCMUCKFB9w8mLD5DcSqnYY7bVzg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jpe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2.jpeg"/><Relationship Id="rId12" Type="http://schemas.openxmlformats.org/officeDocument/2006/relationships/image" Target="../media/image27.png"/><Relationship Id="rId2" Type="http://schemas.openxmlformats.org/officeDocument/2006/relationships/slideLayout" Target="../slideLayouts/slideLayout77.xml"/><Relationship Id="rId16" Type="http://schemas.openxmlformats.org/officeDocument/2006/relationships/image" Target="../media/image31.png"/><Relationship Id="rId1" Type="http://schemas.openxmlformats.org/officeDocument/2006/relationships/tags" Target="../tags/tag10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5" Type="http://schemas.openxmlformats.org/officeDocument/2006/relationships/image" Target="../media/image30.png"/><Relationship Id="rId10" Type="http://schemas.openxmlformats.org/officeDocument/2006/relationships/image" Target="../media/image25.jpeg"/><Relationship Id="rId4" Type="http://schemas.openxmlformats.org/officeDocument/2006/relationships/image" Target="../media/image1.emf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microsoft.com/office/2007/relationships/hdphoto" Target="../media/hdphoto1.wdp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13.xml"/><Relationship Id="rId7" Type="http://schemas.openxmlformats.org/officeDocument/2006/relationships/image" Target="../media/image44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3.png"/><Relationship Id="rId5" Type="http://schemas.openxmlformats.org/officeDocument/2006/relationships/slideLayout" Target="../slideLayouts/slideLayout78.xml"/><Relationship Id="rId10" Type="http://schemas.openxmlformats.org/officeDocument/2006/relationships/image" Target="../media/image47.png"/><Relationship Id="rId4" Type="http://schemas.openxmlformats.org/officeDocument/2006/relationships/tags" Target="../tags/tag14.xml"/><Relationship Id="rId9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0.jpeg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6.xml"/><Relationship Id="rId6" Type="http://schemas.openxmlformats.org/officeDocument/2006/relationships/image" Target="../media/image4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54.jpeg"/><Relationship Id="rId4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71E9A56-ED95-437B-9D70-7FFC24526D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690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71E9A56-ED95-437B-9D70-7FFC24526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box">
            <a:extLst>
              <a:ext uri="{FF2B5EF4-FFF2-40B4-BE49-F238E27FC236}">
                <a16:creationId xmlns:a16="http://schemas.microsoft.com/office/drawing/2014/main" id="{AEB263C1-E042-4E60-8185-80D37EC8EE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ZF Engineering</a:t>
            </a:r>
            <a:br>
              <a:rPr lang="cs-CZ" dirty="0"/>
            </a:br>
            <a:r>
              <a:rPr lang="cs-CZ" dirty="0"/>
              <a:t>Company </a:t>
            </a:r>
            <a:r>
              <a:rPr lang="cs-CZ" dirty="0" err="1"/>
              <a:t>presentation</a:t>
            </a:r>
            <a:endParaRPr lang="de-DE" dirty="0"/>
          </a:p>
        </p:txBody>
      </p:sp>
      <p:sp>
        <p:nvSpPr>
          <p:cNvPr id="12" name="Podnadpis 11">
            <a:extLst>
              <a:ext uri="{FF2B5EF4-FFF2-40B4-BE49-F238E27FC236}">
                <a16:creationId xmlns:a16="http://schemas.microsoft.com/office/drawing/2014/main" id="{548A6A14-BC2D-417F-B7C5-34F49D4033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95BAB676-1679-4BF8-8258-FC16EC8E0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r>
              <a:rPr lang="cs-CZ" dirty="0"/>
              <a:t>25-09-2024 l EDEDC l ZF Engineering</a:t>
            </a:r>
            <a:endParaRPr lang="de-DE" dirty="0"/>
          </a:p>
        </p:txBody>
      </p:sp>
      <p:pic>
        <p:nvPicPr>
          <p:cNvPr id="6" name="Grafik 6">
            <a:extLst>
              <a:ext uri="{FF2B5EF4-FFF2-40B4-BE49-F238E27FC236}">
                <a16:creationId xmlns:a16="http://schemas.microsoft.com/office/drawing/2014/main" id="{92EC25ED-24CA-4F6D-A37A-816F52A1A58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386"/>
          <a:stretch/>
        </p:blipFill>
        <p:spPr>
          <a:xfrm>
            <a:off x="187953" y="3106183"/>
            <a:ext cx="8781070" cy="21646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568139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C1E973-2D49-3FC1-77FC-9656606AC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mpany culture</a:t>
            </a:r>
          </a:p>
        </p:txBody>
      </p:sp>
      <p:graphicFrame>
        <p:nvGraphicFramePr>
          <p:cNvPr id="8" name="Tabulka 8">
            <a:extLst>
              <a:ext uri="{FF2B5EF4-FFF2-40B4-BE49-F238E27FC236}">
                <a16:creationId xmlns:a16="http://schemas.microsoft.com/office/drawing/2014/main" id="{01175129-DF0A-902A-5FB3-22BEB3A7875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37915395"/>
              </p:ext>
            </p:extLst>
          </p:nvPr>
        </p:nvGraphicFramePr>
        <p:xfrm>
          <a:off x="365580" y="869126"/>
          <a:ext cx="2605054" cy="109676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605054">
                  <a:extLst>
                    <a:ext uri="{9D8B030D-6E8A-4147-A177-3AD203B41FA5}">
                      <a16:colId xmlns:a16="http://schemas.microsoft.com/office/drawing/2014/main" val="774850203"/>
                    </a:ext>
                  </a:extLst>
                </a:gridCol>
              </a:tblGrid>
              <a:tr h="281045">
                <a:tc>
                  <a:txBody>
                    <a:bodyPr/>
                    <a:lstStyle/>
                    <a:p>
                      <a:r>
                        <a:rPr lang="cs-CZ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eambuildings, X-mas part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51297"/>
                  </a:ext>
                </a:extLst>
              </a:tr>
              <a:tr h="269911">
                <a:tc>
                  <a:txBody>
                    <a:bodyPr/>
                    <a:lstStyle/>
                    <a:p>
                      <a:r>
                        <a:rPr lang="cs-CZ" sz="1100" dirty="0" err="1">
                          <a:solidFill>
                            <a:schemeClr val="bg1"/>
                          </a:solidFill>
                        </a:rPr>
                        <a:t>Anniversary</a:t>
                      </a:r>
                      <a:r>
                        <a:rPr lang="cs-CZ" sz="11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cs-CZ" sz="1100" dirty="0" err="1">
                          <a:solidFill>
                            <a:schemeClr val="bg1"/>
                          </a:solidFill>
                        </a:rPr>
                        <a:t>celebrations</a:t>
                      </a:r>
                      <a:endParaRPr lang="cs-CZ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5348209"/>
                  </a:ext>
                </a:extLst>
              </a:tr>
              <a:tr h="271935">
                <a:tc>
                  <a:txBody>
                    <a:bodyPr/>
                    <a:lstStyle/>
                    <a:p>
                      <a:r>
                        <a:rPr lang="cs-CZ" sz="11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ub </a:t>
                      </a:r>
                      <a:r>
                        <a:rPr lang="cs-CZ" sz="110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quizes</a:t>
                      </a:r>
                      <a:endParaRPr lang="cs-CZ" sz="11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5701495"/>
                  </a:ext>
                </a:extLst>
              </a:tr>
              <a:tr h="273877">
                <a:tc>
                  <a:txBody>
                    <a:bodyPr/>
                    <a:lstStyle/>
                    <a:p>
                      <a:pPr marL="0" algn="l" defTabSz="914126" rtl="0" eaLnBrk="1" latinLnBrk="0" hangingPunct="1"/>
                      <a:r>
                        <a:rPr lang="cs-CZ" sz="110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arathon</a:t>
                      </a:r>
                      <a:r>
                        <a:rPr lang="cs-CZ" sz="11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10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uns</a:t>
                      </a:r>
                      <a:r>
                        <a:rPr lang="cs-CZ" sz="11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…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934552"/>
                  </a:ext>
                </a:extLst>
              </a:tr>
            </a:tbl>
          </a:graphicData>
        </a:graphic>
      </p:graphicFrame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2A80721-93FC-51C2-30BE-DF4136EB75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2</a:t>
            </a:r>
            <a:r>
              <a:rPr lang="cs-CZ" dirty="0"/>
              <a:t>3</a:t>
            </a:r>
            <a:r>
              <a:rPr lang="de-DE" dirty="0"/>
              <a:t>-0</a:t>
            </a:r>
            <a:r>
              <a:rPr lang="cs-CZ" dirty="0"/>
              <a:t>3</a:t>
            </a:r>
            <a:r>
              <a:rPr lang="de-DE" dirty="0"/>
              <a:t>-</a:t>
            </a:r>
            <a:r>
              <a:rPr lang="cs-CZ" dirty="0"/>
              <a:t>17</a:t>
            </a:r>
            <a:r>
              <a:rPr lang="de-DE" dirty="0"/>
              <a:t> l DI</a:t>
            </a:r>
            <a:r>
              <a:rPr lang="cs-CZ" dirty="0"/>
              <a:t>W</a:t>
            </a:r>
            <a:r>
              <a:rPr lang="de-DE" dirty="0"/>
              <a:t>T</a:t>
            </a:r>
            <a:r>
              <a:rPr lang="cs-CZ" dirty="0"/>
              <a:t>S</a:t>
            </a:r>
            <a:r>
              <a:rPr lang="de-DE" dirty="0"/>
              <a:t> l ZF Engineering Plzeň </a:t>
            </a:r>
            <a:r>
              <a:rPr lang="de-DE" dirty="0" err="1"/>
              <a:t>presentation</a:t>
            </a:r>
            <a:endParaRPr lang="de-DE" dirty="0"/>
          </a:p>
        </p:txBody>
      </p:sp>
      <p:pic>
        <p:nvPicPr>
          <p:cNvPr id="11" name="Obrázek 10" descr="Obsah obrázku osoba, lidé, skupina, dav&#10;&#10;Popis byl vytvořen automaticky">
            <a:extLst>
              <a:ext uri="{FF2B5EF4-FFF2-40B4-BE49-F238E27FC236}">
                <a16:creationId xmlns:a16="http://schemas.microsoft.com/office/drawing/2014/main" id="{62BD6697-3AD2-17BB-3409-C84892122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055" y="818651"/>
            <a:ext cx="2582847" cy="3867803"/>
          </a:xfrm>
          <a:prstGeom prst="rect">
            <a:avLst/>
          </a:prstGeom>
        </p:spPr>
      </p:pic>
      <p:pic>
        <p:nvPicPr>
          <p:cNvPr id="1028" name="Picture 4" descr="Chytrý Kvíz | Brno">
            <a:extLst>
              <a:ext uri="{FF2B5EF4-FFF2-40B4-BE49-F238E27FC236}">
                <a16:creationId xmlns:a16="http://schemas.microsoft.com/office/drawing/2014/main" id="{E8D04069-3914-885F-A60C-10C6D61B4C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440" y="3353629"/>
            <a:ext cx="1258680" cy="1258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Škoda FIT půlmaraton posedmé rozběhá Plzeň: Startuje v neděli 18. září - PR  Deník">
            <a:extLst>
              <a:ext uri="{FF2B5EF4-FFF2-40B4-BE49-F238E27FC236}">
                <a16:creationId xmlns:a16="http://schemas.microsoft.com/office/drawing/2014/main" id="{B5FB2218-25FC-789A-868E-B5DC65BA1E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83" r="17730"/>
          <a:stretch/>
        </p:blipFill>
        <p:spPr bwMode="auto">
          <a:xfrm>
            <a:off x="4264468" y="1937715"/>
            <a:ext cx="1238874" cy="1294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 descr="Obsah obrázku venku, přeprava, letadlo, hora&#10;&#10;Popis byl vytvořen automaticky">
            <a:extLst>
              <a:ext uri="{FF2B5EF4-FFF2-40B4-BE49-F238E27FC236}">
                <a16:creationId xmlns:a16="http://schemas.microsoft.com/office/drawing/2014/main" id="{C01C03DD-7B01-5FA9-2AF4-5848E8D400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929" y="2357560"/>
            <a:ext cx="3807648" cy="214142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93D6DFFC-E43A-B049-0480-477C4D8B1C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905" y="645114"/>
            <a:ext cx="1198892" cy="109676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">
            <a:extLst>
              <a:ext uri="{FF2B5EF4-FFF2-40B4-BE49-F238E27FC236}">
                <a16:creationId xmlns:a16="http://schemas.microsoft.com/office/drawing/2014/main" id="{2955D360-4DDE-263F-1E30-A44CB3F705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59099" y="95962"/>
            <a:ext cx="689803" cy="689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452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AF3E88-AF3F-43B1-AE7B-05A239C78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/>
              <a:t>2020-05-25 | DIT | ZF Engineering Plzeň Company Presentation 2020 v2</a:t>
            </a:r>
            <a:endParaRPr lang="de-DE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30F4A2E7-D77A-4207-BC33-9DD5549FDB0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2963" y="144706"/>
            <a:ext cx="8418804" cy="5936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defTabSz="914126">
              <a:spcBef>
                <a:spcPct val="0"/>
              </a:spcBef>
              <a:buNone/>
              <a:defRPr sz="199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2000" kern="0" dirty="0">
                <a:solidFill>
                  <a:schemeClr val="bg1"/>
                </a:solidFill>
              </a:rPr>
              <a:t>P</a:t>
            </a:r>
            <a:r>
              <a:rPr lang="cs-CZ" sz="2000" kern="0" dirty="0" err="1">
                <a:solidFill>
                  <a:schemeClr val="bg1"/>
                </a:solidFill>
              </a:rPr>
              <a:t>artnership</a:t>
            </a:r>
            <a:endParaRPr lang="cs-CZ" sz="2000" kern="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E97AD4-A3C6-4989-A5FD-DDAF964A928F}"/>
              </a:ext>
            </a:extLst>
          </p:cNvPr>
          <p:cNvSpPr txBox="1"/>
          <p:nvPr/>
        </p:nvSpPr>
        <p:spPr>
          <a:xfrm>
            <a:off x="362963" y="813512"/>
            <a:ext cx="5340413" cy="30469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Partnership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and c</a:t>
            </a:r>
            <a:r>
              <a:rPr lang="en-US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ooperation</a:t>
            </a:r>
            <a:r>
              <a:rPr lang="en-US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with students racing car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</a:t>
            </a: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teams</a:t>
            </a:r>
            <a:endParaRPr lang="cs-CZ" sz="1800" kern="0" dirty="0">
              <a:solidFill>
                <a:schemeClr val="bg1"/>
              </a:solidFill>
              <a:latin typeface="Tahoma"/>
              <a:ea typeface="Tahoma"/>
              <a:cs typeface="Tahoma"/>
            </a:endParaRPr>
          </a:p>
          <a:p>
            <a:endParaRPr lang="cs-CZ" sz="1800" kern="0" dirty="0">
              <a:solidFill>
                <a:schemeClr val="bg1"/>
              </a:solidFill>
              <a:latin typeface="Tahoma"/>
              <a:ea typeface="Tahoma"/>
              <a:cs typeface="Tahoma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Partner </a:t>
            </a: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of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UTB Robo-</a:t>
            </a: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games</a:t>
            </a:r>
            <a:endParaRPr lang="cs-CZ" sz="1800" kern="0" dirty="0">
              <a:solidFill>
                <a:schemeClr val="bg1"/>
              </a:solidFill>
              <a:latin typeface="Tahoma"/>
              <a:ea typeface="Tahoma"/>
              <a:cs typeface="Tahoma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cs-CZ" sz="1800" kern="0" dirty="0">
              <a:solidFill>
                <a:schemeClr val="bg1"/>
              </a:solidFill>
              <a:latin typeface="Tahoma"/>
              <a:ea typeface="Tahoma"/>
              <a:cs typeface="Tahoma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Partner </a:t>
            </a: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of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„Soutěž Studentské tvůrčí a odborné činnosti (STOČ)“</a:t>
            </a:r>
          </a:p>
          <a:p>
            <a:endParaRPr lang="cs-CZ" sz="1800" kern="0" dirty="0">
              <a:solidFill>
                <a:schemeClr val="bg1"/>
              </a:solidFill>
              <a:latin typeface="Tahoma"/>
              <a:ea typeface="Tahoma"/>
              <a:cs typeface="Tahoma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Diploma &amp; bachelor thesis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- </a:t>
            </a: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Actually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2 UTB </a:t>
            </a: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students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are </a:t>
            </a: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working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on </a:t>
            </a:r>
            <a:r>
              <a:rPr lang="en-US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bachelor thesis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in </a:t>
            </a: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cooperation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</a:t>
            </a:r>
            <a:r>
              <a:rPr lang="cs-CZ" sz="1800" kern="0" dirty="0" err="1">
                <a:solidFill>
                  <a:schemeClr val="bg1"/>
                </a:solidFill>
                <a:latin typeface="Tahoma"/>
                <a:ea typeface="Tahoma"/>
                <a:cs typeface="Tahoma"/>
              </a:rPr>
              <a:t>with</a:t>
            </a:r>
            <a:r>
              <a:rPr lang="cs-CZ" sz="1800" kern="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 ZF</a:t>
            </a:r>
          </a:p>
        </p:txBody>
      </p:sp>
      <p:pic>
        <p:nvPicPr>
          <p:cNvPr id="4" name="Picture Placeholder 11" descr="A group of people standing around a race car&#10;&#10;Description automatically generated with medium confidence">
            <a:extLst>
              <a:ext uri="{FF2B5EF4-FFF2-40B4-BE49-F238E27FC236}">
                <a16:creationId xmlns:a16="http://schemas.microsoft.com/office/drawing/2014/main" id="{6C6B2475-0A1E-4237-C520-D5F26BF4842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49391" y="441523"/>
            <a:ext cx="2650142" cy="15221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67D2D8D-DD7C-62A6-9182-437C65383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9391" y="2205100"/>
            <a:ext cx="2650142" cy="1949492"/>
          </a:xfrm>
          <a:prstGeom prst="rect">
            <a:avLst/>
          </a:prstGeom>
        </p:spPr>
      </p:pic>
      <p:pic>
        <p:nvPicPr>
          <p:cNvPr id="7" name="Picture 2" descr="Tvorba webů a aplikací - Jakub Josef Forman">
            <a:extLst>
              <a:ext uri="{FF2B5EF4-FFF2-40B4-BE49-F238E27FC236}">
                <a16:creationId xmlns:a16="http://schemas.microsoft.com/office/drawing/2014/main" id="{DA4F143D-FE54-BFF4-79AF-EAD427A231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3116" y="2044104"/>
            <a:ext cx="640717" cy="64071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78997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ECDFE1-A978-AE8C-B4FC-09C67B7B27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ECDFE1-A978-AE8C-B4FC-09C67B7B2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0C1E973-2D49-3FC1-77FC-9656606AC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 err="1"/>
              <a:t>Bachelor</a:t>
            </a:r>
            <a:r>
              <a:rPr lang="cs-CZ" dirty="0"/>
              <a:t> </a:t>
            </a:r>
            <a:r>
              <a:rPr lang="en-GB" dirty="0"/>
              <a:t>&amp;</a:t>
            </a:r>
            <a:r>
              <a:rPr lang="cs-CZ" dirty="0"/>
              <a:t> </a:t>
            </a:r>
            <a:r>
              <a:rPr lang="cs-CZ" dirty="0" err="1"/>
              <a:t>diploma</a:t>
            </a:r>
            <a:r>
              <a:rPr lang="cs-CZ" dirty="0"/>
              <a:t> thesis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2A80721-93FC-51C2-30BE-DF4136EB75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2</a:t>
            </a:r>
            <a:r>
              <a:rPr lang="cs-CZ" dirty="0"/>
              <a:t>3</a:t>
            </a:r>
            <a:r>
              <a:rPr lang="de-DE" dirty="0"/>
              <a:t>-0</a:t>
            </a:r>
            <a:r>
              <a:rPr lang="cs-CZ" dirty="0"/>
              <a:t>3</a:t>
            </a:r>
            <a:r>
              <a:rPr lang="de-DE" dirty="0"/>
              <a:t>-</a:t>
            </a:r>
            <a:r>
              <a:rPr lang="cs-CZ" dirty="0"/>
              <a:t>17</a:t>
            </a:r>
            <a:r>
              <a:rPr lang="de-DE" dirty="0"/>
              <a:t> l DI</a:t>
            </a:r>
            <a:r>
              <a:rPr lang="cs-CZ" dirty="0"/>
              <a:t>W</a:t>
            </a:r>
            <a:r>
              <a:rPr lang="de-DE" dirty="0"/>
              <a:t>T</a:t>
            </a:r>
            <a:r>
              <a:rPr lang="cs-CZ" dirty="0"/>
              <a:t>S</a:t>
            </a:r>
            <a:r>
              <a:rPr lang="de-DE" dirty="0"/>
              <a:t> l ZF Engineering Plzeň </a:t>
            </a:r>
            <a:r>
              <a:rPr lang="de-DE" dirty="0" err="1"/>
              <a:t>presentation</a:t>
            </a:r>
            <a:endParaRPr lang="de-DE" dirty="0"/>
          </a:p>
        </p:txBody>
      </p:sp>
      <p:pic>
        <p:nvPicPr>
          <p:cNvPr id="14" name="Picture 9">
            <a:extLst>
              <a:ext uri="{FF2B5EF4-FFF2-40B4-BE49-F238E27FC236}">
                <a16:creationId xmlns:a16="http://schemas.microsoft.com/office/drawing/2014/main" id="{2955D360-4DDE-263F-1E30-A44CB3F705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9099" y="95962"/>
            <a:ext cx="689803" cy="689803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DCF8065-551A-EF1C-B9E6-EBD571242D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2" y="737773"/>
            <a:ext cx="8424000" cy="3906229"/>
          </a:xfrm>
        </p:spPr>
        <p:txBody>
          <a:bodyPr/>
          <a:lstStyle/>
          <a:p>
            <a:pPr rtl="0"/>
            <a:r>
              <a:rPr lang="cs-CZ" b="1" u="sng" dirty="0" err="1"/>
              <a:t>Bachelor</a:t>
            </a:r>
            <a:r>
              <a:rPr lang="cs-CZ" b="1" u="sng" dirty="0"/>
              <a:t> thesis</a:t>
            </a:r>
          </a:p>
          <a:p>
            <a:pPr rtl="0"/>
            <a:endParaRPr lang="cs-CZ" b="1" dirty="0">
              <a:solidFill>
                <a:srgbClr val="FFFFF4"/>
              </a:solidFill>
              <a:effectLst/>
            </a:endParaRPr>
          </a:p>
          <a:p>
            <a:pPr marL="171450" indent="-171450" rtl="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rgbClr val="FFFFF4"/>
                </a:solidFill>
                <a:effectLst/>
              </a:rPr>
              <a:t>Kvantová výpočetní síla v AI: VQE jako nástroj pro optimalizaci generativních </a:t>
            </a:r>
            <a:r>
              <a:rPr lang="cs-CZ" b="1" dirty="0" err="1">
                <a:solidFill>
                  <a:srgbClr val="FFFFF4"/>
                </a:solidFill>
                <a:effectLst/>
              </a:rPr>
              <a:t>adversariálních</a:t>
            </a:r>
            <a:r>
              <a:rPr lang="cs-CZ" b="1" dirty="0">
                <a:solidFill>
                  <a:srgbClr val="FFFFF4"/>
                </a:solidFill>
                <a:effectLst/>
              </a:rPr>
              <a:t> sítí</a:t>
            </a:r>
            <a:endParaRPr lang="cs-CZ" dirty="0">
              <a:solidFill>
                <a:srgbClr val="FFFFF4"/>
              </a:solidFill>
              <a:effectLst/>
            </a:endParaRPr>
          </a:p>
          <a:p>
            <a:pPr marL="171450" indent="-171450" rtl="0">
              <a:buFont typeface="Wingdings" panose="05000000000000000000" pitchFamily="2" charset="2"/>
              <a:buChar char="Ø"/>
            </a:pPr>
            <a:endParaRPr lang="cs-CZ" dirty="0">
              <a:effectLst/>
            </a:endParaRPr>
          </a:p>
          <a:p>
            <a:pPr marL="171450" indent="-171450" rtl="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rgbClr val="FFFFF4"/>
                </a:solidFill>
                <a:effectLst/>
              </a:rPr>
              <a:t>Analýza rizik a hodnocení hrozeb v automobilovém průmyslu</a:t>
            </a:r>
            <a:endParaRPr lang="cs-CZ" dirty="0">
              <a:solidFill>
                <a:srgbClr val="FFFFF4"/>
              </a:solidFill>
              <a:effectLst/>
            </a:endParaRPr>
          </a:p>
          <a:p>
            <a:pPr rtl="0"/>
            <a:endParaRPr lang="cs-CZ" dirty="0">
              <a:effectLst/>
            </a:endParaRPr>
          </a:p>
          <a:p>
            <a:pPr rtl="0"/>
            <a:endParaRPr lang="cs-CZ" dirty="0">
              <a:effectLst/>
            </a:endParaRPr>
          </a:p>
          <a:p>
            <a:pPr rtl="0"/>
            <a:r>
              <a:rPr lang="cs-CZ" b="1" u="sng" dirty="0" err="1"/>
              <a:t>Diploma</a:t>
            </a:r>
            <a:r>
              <a:rPr lang="cs-CZ" b="1" u="sng" dirty="0"/>
              <a:t> thesis</a:t>
            </a:r>
          </a:p>
          <a:p>
            <a:endParaRPr lang="cs-CZ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rgbClr val="FFFFF4"/>
                </a:solidFill>
                <a:effectLst/>
              </a:rPr>
              <a:t>Aplikace pro správu paměťových bloků v řídících jednotkách elektrického pohonu</a:t>
            </a:r>
            <a:endParaRPr lang="cs-CZ" dirty="0">
              <a:solidFill>
                <a:srgbClr val="FFFFF4"/>
              </a:solidFill>
              <a:effectLst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cs-CZ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rgbClr val="FFFFF4"/>
                </a:solidFill>
                <a:effectLst/>
              </a:rPr>
              <a:t>Aplikace pro návrh a řešení elektrických obvodů</a:t>
            </a:r>
            <a:endParaRPr lang="cs-CZ" dirty="0">
              <a:solidFill>
                <a:srgbClr val="FFFFF4"/>
              </a:solidFill>
              <a:effectLst/>
            </a:endParaRPr>
          </a:p>
          <a:p>
            <a:endParaRPr lang="cs-CZ" dirty="0"/>
          </a:p>
          <a:p>
            <a:endParaRPr lang="cs-CZ" b="1" dirty="0">
              <a:solidFill>
                <a:srgbClr val="FF0000"/>
              </a:solidFill>
            </a:endParaRPr>
          </a:p>
          <a:p>
            <a:r>
              <a:rPr lang="cs-CZ" b="1" dirty="0">
                <a:solidFill>
                  <a:srgbClr val="FF0000"/>
                </a:solidFill>
              </a:rPr>
              <a:t>… in case </a:t>
            </a:r>
            <a:r>
              <a:rPr lang="cs-CZ" b="1" dirty="0" err="1">
                <a:solidFill>
                  <a:srgbClr val="FF0000"/>
                </a:solidFill>
              </a:rPr>
              <a:t>of</a:t>
            </a:r>
            <a:r>
              <a:rPr lang="cs-CZ" b="1" dirty="0">
                <a:solidFill>
                  <a:srgbClr val="FF0000"/>
                </a:solidFill>
              </a:rPr>
              <a:t> any </a:t>
            </a:r>
            <a:r>
              <a:rPr lang="cs-CZ" b="1" dirty="0" err="1">
                <a:solidFill>
                  <a:srgbClr val="FF0000"/>
                </a:solidFill>
              </a:rPr>
              <a:t>interest</a:t>
            </a:r>
            <a:r>
              <a:rPr lang="cs-CZ" b="1" dirty="0">
                <a:solidFill>
                  <a:srgbClr val="FF0000"/>
                </a:solidFill>
              </a:rPr>
              <a:t>, ZF </a:t>
            </a:r>
            <a:r>
              <a:rPr lang="cs-CZ" b="1" dirty="0" err="1">
                <a:solidFill>
                  <a:srgbClr val="FF0000"/>
                </a:solidFill>
              </a:rPr>
              <a:t>is</a:t>
            </a:r>
            <a:r>
              <a:rPr lang="cs-CZ" b="1" dirty="0">
                <a:solidFill>
                  <a:srgbClr val="FF0000"/>
                </a:solidFill>
              </a:rPr>
              <a:t> open to support </a:t>
            </a:r>
            <a:r>
              <a:rPr lang="cs-CZ" b="1" dirty="0" err="1">
                <a:solidFill>
                  <a:srgbClr val="FF0000"/>
                </a:solidFill>
              </a:rPr>
              <a:t>students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cs-CZ" b="1" dirty="0" err="1">
                <a:solidFill>
                  <a:srgbClr val="FF0000"/>
                </a:solidFill>
              </a:rPr>
              <a:t>with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cs-CZ" b="1" dirty="0" err="1">
                <a:solidFill>
                  <a:srgbClr val="FF0000"/>
                </a:solidFill>
              </a:rPr>
              <a:t>other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cs-CZ" b="1" dirty="0" err="1">
                <a:solidFill>
                  <a:srgbClr val="FF0000"/>
                </a:solidFill>
              </a:rPr>
              <a:t>topics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cs-CZ" b="1" dirty="0" err="1">
                <a:solidFill>
                  <a:srgbClr val="FF0000"/>
                </a:solidFill>
              </a:rPr>
              <a:t>for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cs-CZ" b="1" dirty="0" err="1">
                <a:solidFill>
                  <a:srgbClr val="FF0000"/>
                </a:solidFill>
              </a:rPr>
              <a:t>bachelor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en-GB" b="1" dirty="0">
                <a:solidFill>
                  <a:srgbClr val="FF0000"/>
                </a:solidFill>
              </a:rPr>
              <a:t>&amp;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cs-CZ" b="1" dirty="0" err="1">
                <a:solidFill>
                  <a:srgbClr val="FF0000"/>
                </a:solidFill>
              </a:rPr>
              <a:t>diploma</a:t>
            </a:r>
            <a:r>
              <a:rPr lang="cs-CZ" b="1" dirty="0">
                <a:solidFill>
                  <a:srgbClr val="FF0000"/>
                </a:solidFill>
              </a:rPr>
              <a:t> thesis …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415200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1483627" y="1177871"/>
            <a:ext cx="6706589" cy="1813847"/>
          </a:xfrm>
        </p:spPr>
        <p:txBody>
          <a:bodyPr/>
          <a:lstStyle/>
          <a:p>
            <a:pPr algn="ctr"/>
            <a:r>
              <a:rPr lang="cs-CZ" dirty="0"/>
              <a:t>Q</a:t>
            </a:r>
            <a:r>
              <a:rPr lang="en-GB" dirty="0"/>
              <a:t>&amp;</a:t>
            </a:r>
            <a:r>
              <a:rPr lang="cs-CZ" dirty="0"/>
              <a:t>A</a:t>
            </a:r>
          </a:p>
          <a:p>
            <a:pPr algn="ctr"/>
            <a:endParaRPr lang="cs-CZ" dirty="0"/>
          </a:p>
          <a:p>
            <a:pPr algn="ctr"/>
            <a:r>
              <a:rPr lang="cs-CZ" dirty="0"/>
              <a:t>T</a:t>
            </a:r>
            <a:r>
              <a:rPr lang="en-US" dirty="0"/>
              <a:t>hanks for your attentio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 dirty="0"/>
              <a:t>ZF Engineering</a:t>
            </a:r>
          </a:p>
        </p:txBody>
      </p:sp>
    </p:spTree>
    <p:extLst>
      <p:ext uri="{BB962C8B-B14F-4D97-AF65-F5344CB8AC3E}">
        <p14:creationId xmlns:p14="http://schemas.microsoft.com/office/powerpoint/2010/main" val="5057583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 dirty="0"/>
              <a:t>ZF Engineer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74D896-6B88-4DF5-B407-79844EE8DE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1200" y="198848"/>
            <a:ext cx="6706589" cy="1057982"/>
          </a:xfrm>
        </p:spPr>
        <p:txBody>
          <a:bodyPr/>
          <a:lstStyle/>
          <a:p>
            <a:r>
              <a:rPr lang="cs-CZ" sz="1999" dirty="0" err="1">
                <a:latin typeface="+mj-lt"/>
                <a:ea typeface="+mj-ea"/>
                <a:cs typeface="+mj-cs"/>
              </a:rPr>
              <a:t>Appendix</a:t>
            </a:r>
            <a:r>
              <a:rPr lang="cs-CZ" sz="1999" dirty="0">
                <a:latin typeface="+mj-lt"/>
                <a:ea typeface="+mj-ea"/>
                <a:cs typeface="+mj-cs"/>
              </a:rPr>
              <a:t> – </a:t>
            </a:r>
            <a:r>
              <a:rPr lang="cs-CZ" sz="1999" dirty="0" err="1">
                <a:latin typeface="+mj-lt"/>
                <a:ea typeface="+mj-ea"/>
                <a:cs typeface="+mj-cs"/>
              </a:rPr>
              <a:t>links</a:t>
            </a:r>
            <a:r>
              <a:rPr lang="cs-CZ" sz="1999" dirty="0">
                <a:latin typeface="+mj-lt"/>
                <a:ea typeface="+mj-ea"/>
                <a:cs typeface="+mj-cs"/>
              </a:rPr>
              <a:t> to promo </a:t>
            </a:r>
            <a:r>
              <a:rPr lang="cs-CZ" sz="1999" dirty="0" err="1">
                <a:latin typeface="+mj-lt"/>
                <a:ea typeface="+mj-ea"/>
                <a:cs typeface="+mj-cs"/>
              </a:rPr>
              <a:t>videos</a:t>
            </a:r>
            <a:endParaRPr lang="de-DE" sz="1999" dirty="0">
              <a:latin typeface="+mj-lt"/>
              <a:ea typeface="+mj-ea"/>
              <a:cs typeface="+mj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6FC0E4-5BAC-408F-991F-20DD8A8D75DC}"/>
              </a:ext>
            </a:extLst>
          </p:cNvPr>
          <p:cNvSpPr txBox="1"/>
          <p:nvPr/>
        </p:nvSpPr>
        <p:spPr>
          <a:xfrm>
            <a:off x="331200" y="795756"/>
            <a:ext cx="4626266" cy="43550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 err="1">
                <a:solidFill>
                  <a:schemeClr val="bg1"/>
                </a:solidFill>
              </a:rPr>
              <a:t>We</a:t>
            </a:r>
            <a:r>
              <a:rPr lang="cs-CZ" sz="1100" kern="0" dirty="0">
                <a:solidFill>
                  <a:schemeClr val="bg1"/>
                </a:solidFill>
              </a:rPr>
              <a:t> are ZF (mobility balance)</a:t>
            </a: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>
                <a:solidFill>
                  <a:schemeClr val="bg1"/>
                </a:solidFill>
                <a:hlinkClick r:id="rId3"/>
              </a:rPr>
              <a:t>https://youtu.be/WG5alw_AR7U</a:t>
            </a: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 err="1">
                <a:solidFill>
                  <a:schemeClr val="bg1"/>
                </a:solidFill>
              </a:rPr>
              <a:t>History</a:t>
            </a:r>
            <a:r>
              <a:rPr lang="cs-CZ" sz="1100" kern="0" dirty="0">
                <a:solidFill>
                  <a:schemeClr val="bg1"/>
                </a:solidFill>
              </a:rPr>
              <a:t> of ZF (EN)</a:t>
            </a: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>
                <a:solidFill>
                  <a:schemeClr val="bg1"/>
                </a:solidFill>
                <a:hlinkClick r:id="rId4"/>
              </a:rPr>
              <a:t>https://youtu.be/pu7MucFowSg</a:t>
            </a: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800" dirty="0" err="1">
                <a:hlinkClick r:id="rId5"/>
              </a:rPr>
              <a:t>The</a:t>
            </a:r>
            <a:r>
              <a:rPr lang="cs-CZ" sz="800" dirty="0">
                <a:hlinkClick r:id="rId5"/>
              </a:rPr>
              <a:t> ZF </a:t>
            </a:r>
            <a:r>
              <a:rPr lang="cs-CZ" sz="800" dirty="0" err="1">
                <a:hlinkClick r:id="rId5"/>
              </a:rPr>
              <a:t>History</a:t>
            </a:r>
            <a:r>
              <a:rPr lang="cs-CZ" sz="800" dirty="0">
                <a:hlinkClick r:id="rId5"/>
              </a:rPr>
              <a:t> - ZF</a:t>
            </a: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>
                <a:solidFill>
                  <a:schemeClr val="bg1"/>
                </a:solidFill>
              </a:rPr>
              <a:t>ZF e-mobility</a:t>
            </a: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>
                <a:solidFill>
                  <a:schemeClr val="bg1"/>
                </a:solidFill>
                <a:hlinkClick r:id="rId6"/>
              </a:rPr>
              <a:t>https://youtu.be/rZS9N0BAH-0</a:t>
            </a: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>
                <a:solidFill>
                  <a:schemeClr val="bg1"/>
                </a:solidFill>
                <a:hlinkClick r:id="rId7"/>
              </a:rPr>
              <a:t>https://youtu.be/IWnKAoVedv0</a:t>
            </a: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>
                <a:solidFill>
                  <a:schemeClr val="bg1"/>
                </a:solidFill>
              </a:rPr>
              <a:t>		</a:t>
            </a: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>
                <a:solidFill>
                  <a:schemeClr val="bg1"/>
                </a:solidFill>
              </a:rPr>
              <a:t>ZF </a:t>
            </a:r>
            <a:r>
              <a:rPr lang="cs-CZ" sz="1100" kern="0" dirty="0" err="1">
                <a:solidFill>
                  <a:schemeClr val="bg1"/>
                </a:solidFill>
              </a:rPr>
              <a:t>race</a:t>
            </a:r>
            <a:r>
              <a:rPr lang="cs-CZ" sz="1100" kern="0" dirty="0">
                <a:solidFill>
                  <a:schemeClr val="bg1"/>
                </a:solidFill>
              </a:rPr>
              <a:t> (DE)</a:t>
            </a:r>
          </a:p>
          <a:p>
            <a:pPr>
              <a:spcBef>
                <a:spcPts val="0"/>
              </a:spcBef>
            </a:pPr>
            <a:r>
              <a:rPr lang="cs-CZ" sz="1100" kern="0" dirty="0">
                <a:solidFill>
                  <a:schemeClr val="bg1"/>
                </a:solidFill>
                <a:hlinkClick r:id="rId8"/>
              </a:rPr>
              <a:t>https://youtu.be/XQTIiFcjHh8</a:t>
            </a:r>
            <a:endParaRPr lang="cs-CZ" sz="1100" kern="0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1100" kern="0" dirty="0">
                <a:solidFill>
                  <a:schemeClr val="bg1"/>
                </a:solidFill>
              </a:rPr>
              <a:t>ZF Czech </a:t>
            </a:r>
            <a:r>
              <a:rPr lang="cs-CZ" sz="1100" kern="0" dirty="0" err="1">
                <a:solidFill>
                  <a:schemeClr val="bg1"/>
                </a:solidFill>
              </a:rPr>
              <a:t>republic</a:t>
            </a:r>
            <a:r>
              <a:rPr lang="cs-CZ" sz="1100" kern="0" dirty="0">
                <a:solidFill>
                  <a:schemeClr val="bg1"/>
                </a:solidFill>
              </a:rPr>
              <a:t> (CZ)</a:t>
            </a:r>
          </a:p>
          <a:p>
            <a:pPr>
              <a:spcBef>
                <a:spcPts val="0"/>
              </a:spcBef>
            </a:pPr>
            <a:r>
              <a:rPr lang="cs-CZ" sz="1100" kern="0" dirty="0">
                <a:solidFill>
                  <a:schemeClr val="bg1"/>
                </a:solidFill>
                <a:hlinkClick r:id="rId9"/>
              </a:rPr>
              <a:t>https://youtu.be/EI3AvddLQqY?list=RDCMUCKFB9w8mLD5DcSqnYY7bVzg</a:t>
            </a:r>
            <a:endParaRPr lang="cs-CZ" sz="1100" kern="0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endParaRPr lang="cs-CZ" sz="1100" kern="0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cs-CZ" sz="1100" kern="0" dirty="0">
                <a:solidFill>
                  <a:schemeClr val="bg1"/>
                </a:solidFill>
              </a:rPr>
              <a:t>ZF </a:t>
            </a:r>
            <a:r>
              <a:rPr lang="cs-CZ" sz="1100" kern="0" dirty="0" err="1">
                <a:solidFill>
                  <a:schemeClr val="bg1"/>
                </a:solidFill>
              </a:rPr>
              <a:t>Pilsen</a:t>
            </a:r>
            <a:r>
              <a:rPr lang="cs-CZ" sz="1100" kern="0" dirty="0">
                <a:solidFill>
                  <a:schemeClr val="bg1"/>
                </a:solidFill>
              </a:rPr>
              <a:t> </a:t>
            </a:r>
            <a:r>
              <a:rPr lang="en-GB" sz="1100" kern="0" dirty="0">
                <a:solidFill>
                  <a:schemeClr val="bg1"/>
                </a:solidFill>
              </a:rPr>
              <a:t>&amp;</a:t>
            </a:r>
            <a:r>
              <a:rPr lang="cs-CZ" sz="1100" kern="0" dirty="0">
                <a:solidFill>
                  <a:schemeClr val="bg1"/>
                </a:solidFill>
              </a:rPr>
              <a:t> Zlin</a:t>
            </a:r>
          </a:p>
          <a:p>
            <a:pPr>
              <a:spcBef>
                <a:spcPts val="0"/>
              </a:spcBef>
            </a:pPr>
            <a:r>
              <a:rPr lang="cs-CZ" sz="1100" kern="0" dirty="0">
                <a:solidFill>
                  <a:schemeClr val="bg1"/>
                </a:solidFill>
                <a:hlinkClick r:id="rId10"/>
              </a:rPr>
              <a:t>https://youtu.be/isUQDkQ9D1k</a:t>
            </a:r>
            <a:endParaRPr lang="cs-CZ" sz="1100" kern="0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cs-CZ" sz="1100" kern="0" dirty="0">
                <a:solidFill>
                  <a:schemeClr val="bg1"/>
                </a:solidFill>
                <a:hlinkClick r:id="rId11"/>
              </a:rPr>
              <a:t>https://youtu.be/pCKPFO-wJNo</a:t>
            </a:r>
            <a:endParaRPr lang="cs-CZ" sz="1100" kern="0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endParaRPr lang="cs-CZ" sz="1100" kern="0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endParaRPr lang="cs-CZ" sz="1100" kern="0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endParaRPr lang="cs-CZ" sz="1100" kern="0" dirty="0">
              <a:solidFill>
                <a:schemeClr val="bg1"/>
              </a:solidFill>
            </a:endParaRPr>
          </a:p>
          <a:p>
            <a:pPr marL="0" marR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11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687382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7E1FE5C-6F51-818F-BA41-01E536B5E5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325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62963" y="144706"/>
            <a:ext cx="8418804" cy="5936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defTabSz="914126">
              <a:spcBef>
                <a:spcPct val="0"/>
              </a:spcBef>
              <a:buNone/>
              <a:defRPr sz="199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578"/>
            <a:r>
              <a:rPr lang="cs-CZ" sz="1997" dirty="0">
                <a:solidFill>
                  <a:srgbClr val="FFFFFF"/>
                </a:solidFill>
                <a:latin typeface="Tahoma"/>
              </a:rPr>
              <a:t>Agenda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19F5E2B1-6391-4663-B447-E750E628ED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 dirty="0"/>
              <a:t> ZF Engineer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4717C3-084F-48A0-A907-51743E349A87}"/>
              </a:ext>
            </a:extLst>
          </p:cNvPr>
          <p:cNvSpPr txBox="1"/>
          <p:nvPr/>
        </p:nvSpPr>
        <p:spPr>
          <a:xfrm>
            <a:off x="362962" y="875504"/>
            <a:ext cx="7169213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cs-CZ" sz="1800" kern="0" dirty="0">
                <a:solidFill>
                  <a:schemeClr val="bg1"/>
                </a:solidFill>
              </a:rPr>
              <a:t> ZF company</a:t>
            </a: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lang="cs-CZ" sz="1800" kern="0" dirty="0">
              <a:solidFill>
                <a:schemeClr val="bg1"/>
              </a:solidFill>
            </a:endParaRP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cs-CZ" sz="1800" kern="0" dirty="0">
                <a:solidFill>
                  <a:schemeClr val="bg1"/>
                </a:solidFill>
              </a:rPr>
              <a:t> ZF Engineering Plzeň s.r.o.</a:t>
            </a: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lang="cs-CZ" sz="1800" kern="0" dirty="0">
              <a:solidFill>
                <a:schemeClr val="bg1"/>
              </a:solidFill>
            </a:endParaRPr>
          </a:p>
          <a:p>
            <a:pPr marL="171450" indent="-1714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cs-CZ" sz="1800" kern="0" dirty="0">
                <a:solidFill>
                  <a:schemeClr val="bg1"/>
                </a:solidFill>
              </a:rPr>
              <a:t> ZF Engineering Plzeň s.r.o. – branch in Zlin</a:t>
            </a: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lang="cs-CZ" sz="1800" kern="0" dirty="0">
              <a:solidFill>
                <a:schemeClr val="bg1"/>
              </a:solidFill>
            </a:endParaRP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cs-CZ" sz="1800" kern="0" dirty="0">
                <a:solidFill>
                  <a:schemeClr val="bg1"/>
                </a:solidFill>
              </a:rPr>
              <a:t> Projects and cooperation</a:t>
            </a: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lang="cs-CZ" sz="1800" kern="0" dirty="0">
              <a:solidFill>
                <a:schemeClr val="bg1"/>
              </a:solidFill>
            </a:endParaRP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cs-CZ" sz="1800" kern="0" dirty="0">
                <a:solidFill>
                  <a:schemeClr val="bg1"/>
                </a:solidFill>
              </a:rPr>
              <a:t> </a:t>
            </a:r>
            <a:r>
              <a:rPr lang="cs-CZ" sz="1800" kern="0" dirty="0" err="1">
                <a:solidFill>
                  <a:schemeClr val="bg1"/>
                </a:solidFill>
              </a:rPr>
              <a:t>Company</a:t>
            </a:r>
            <a:r>
              <a:rPr lang="cs-CZ" sz="1800" kern="0" dirty="0">
                <a:solidFill>
                  <a:schemeClr val="bg1"/>
                </a:solidFill>
              </a:rPr>
              <a:t> </a:t>
            </a:r>
            <a:r>
              <a:rPr lang="cs-CZ" sz="1800" kern="0" dirty="0" err="1">
                <a:solidFill>
                  <a:schemeClr val="bg1"/>
                </a:solidFill>
              </a:rPr>
              <a:t>culture</a:t>
            </a:r>
            <a:endParaRPr lang="cs-CZ" sz="1800" kern="0" dirty="0">
              <a:solidFill>
                <a:schemeClr val="bg1"/>
              </a:solidFill>
            </a:endParaRP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lang="cs-CZ" sz="1800" kern="0" dirty="0">
              <a:solidFill>
                <a:schemeClr val="bg1"/>
              </a:solidFill>
            </a:endParaRP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cs-CZ" sz="1800" kern="0" dirty="0">
                <a:solidFill>
                  <a:schemeClr val="bg1"/>
                </a:solidFill>
              </a:rPr>
              <a:t> </a:t>
            </a:r>
            <a:r>
              <a:rPr lang="cs-CZ" sz="1800" kern="0" dirty="0" err="1">
                <a:solidFill>
                  <a:schemeClr val="bg1"/>
                </a:solidFill>
              </a:rPr>
              <a:t>Future</a:t>
            </a:r>
            <a:r>
              <a:rPr lang="cs-CZ" sz="1800" kern="0" dirty="0">
                <a:solidFill>
                  <a:schemeClr val="bg1"/>
                </a:solidFill>
              </a:rPr>
              <a:t> </a:t>
            </a:r>
            <a:r>
              <a:rPr lang="cs-CZ" sz="1800" kern="0" dirty="0" err="1">
                <a:solidFill>
                  <a:schemeClr val="bg1"/>
                </a:solidFill>
              </a:rPr>
              <a:t>cooperation</a:t>
            </a:r>
            <a:endParaRPr lang="cs-CZ" sz="1800" kern="0" dirty="0">
              <a:solidFill>
                <a:schemeClr val="bg1"/>
              </a:solidFill>
            </a:endParaRP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lang="cs-CZ" sz="1800" kern="0" dirty="0">
              <a:solidFill>
                <a:schemeClr val="bg1"/>
              </a:solidFill>
            </a:endParaRPr>
          </a:p>
          <a:p>
            <a:pPr marL="171450" marR="0" indent="-1714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cs-CZ" sz="1800" kern="0" dirty="0">
                <a:solidFill>
                  <a:schemeClr val="bg1"/>
                </a:solidFill>
              </a:rPr>
              <a:t> </a:t>
            </a:r>
            <a:r>
              <a:rPr lang="cs-CZ" sz="1800" kern="0" dirty="0" err="1">
                <a:solidFill>
                  <a:schemeClr val="bg1"/>
                </a:solidFill>
              </a:rPr>
              <a:t>Questions</a:t>
            </a:r>
            <a:endParaRPr lang="cs-CZ" sz="1800" kern="0" dirty="0">
              <a:solidFill>
                <a:schemeClr val="bg1"/>
              </a:solidFill>
            </a:endParaRPr>
          </a:p>
          <a:p>
            <a:pPr marR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tabLst/>
            </a:pPr>
            <a:endParaRPr lang="cs-CZ" sz="1800" kern="0" dirty="0">
              <a:solidFill>
                <a:schemeClr val="bg1"/>
              </a:solidFill>
            </a:endParaRPr>
          </a:p>
        </p:txBody>
      </p:sp>
      <p:sp>
        <p:nvSpPr>
          <p:cNvPr id="4" name="AutoShape 2" descr="2022 BMW M4 Convertible Competition M xDrive - Front, #1 of 98">
            <a:extLst>
              <a:ext uri="{FF2B5EF4-FFF2-40B4-BE49-F238E27FC236}">
                <a16:creationId xmlns:a16="http://schemas.microsoft.com/office/drawing/2014/main" id="{67D595FE-7193-9267-00A4-BF448BF938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D4D0B782-BF96-329F-706D-81FFFCC336B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2013" b="8769"/>
          <a:stretch/>
        </p:blipFill>
        <p:spPr>
          <a:xfrm>
            <a:off x="5939357" y="2314506"/>
            <a:ext cx="2781469" cy="169624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F418B5-3E20-41CB-9DB7-F41408D038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39357" y="441523"/>
            <a:ext cx="2781469" cy="15761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20946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" name="Object 4095" hidden="1">
            <a:extLst>
              <a:ext uri="{FF2B5EF4-FFF2-40B4-BE49-F238E27FC236}">
                <a16:creationId xmlns:a16="http://schemas.microsoft.com/office/drawing/2014/main" id="{5F44729C-AB9B-B689-B9E3-B9A7C1EFD9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62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AEF10EF-A6FE-2C99-9C2A-B54D7CEF1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ZF </a:t>
            </a:r>
            <a:r>
              <a:rPr lang="cs-CZ" dirty="0" err="1"/>
              <a:t>Milestones</a:t>
            </a:r>
            <a:endParaRPr lang="cs-CZ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482F884-3986-53A6-B092-5A6436AB1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1DC18AC-0BAC-4EC2-3B2C-C1AC89D07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pPr/>
              <a:t>3</a:t>
            </a:fld>
            <a:endParaRPr lang="de-DE"/>
          </a:p>
        </p:txBody>
      </p:sp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20E89B6A-374B-212A-4D52-CAFDE5BD907C}"/>
              </a:ext>
            </a:extLst>
          </p:cNvPr>
          <p:cNvCxnSpPr/>
          <p:nvPr/>
        </p:nvCxnSpPr>
        <p:spPr>
          <a:xfrm>
            <a:off x="233881" y="2600842"/>
            <a:ext cx="8676237" cy="0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BC8601-A496-BFB6-3359-29065F770DD3}"/>
              </a:ext>
            </a:extLst>
          </p:cNvPr>
          <p:cNvSpPr txBox="1"/>
          <p:nvPr/>
        </p:nvSpPr>
        <p:spPr>
          <a:xfrm>
            <a:off x="-314336" y="2600842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1915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B7696ED-6245-F723-9B22-95480D788377}"/>
              </a:ext>
            </a:extLst>
          </p:cNvPr>
          <p:cNvSpPr txBox="1"/>
          <p:nvPr/>
        </p:nvSpPr>
        <p:spPr>
          <a:xfrm>
            <a:off x="360364" y="2178629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19</a:t>
            </a: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25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6C423176-6F50-379B-ABCE-6D745BF2BDA5}"/>
              </a:ext>
            </a:extLst>
          </p:cNvPr>
          <p:cNvSpPr txBox="1"/>
          <p:nvPr/>
        </p:nvSpPr>
        <p:spPr>
          <a:xfrm>
            <a:off x="1187459" y="2602031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1961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D9438A2-F359-DB1A-63D7-1975C4C9D39B}"/>
              </a:ext>
            </a:extLst>
          </p:cNvPr>
          <p:cNvSpPr txBox="1"/>
          <p:nvPr/>
        </p:nvSpPr>
        <p:spPr>
          <a:xfrm>
            <a:off x="2058270" y="2163142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1969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0F28E154-DD6F-C0EF-2255-068EA4E7F763}"/>
              </a:ext>
            </a:extLst>
          </p:cNvPr>
          <p:cNvSpPr txBox="1"/>
          <p:nvPr/>
        </p:nvSpPr>
        <p:spPr>
          <a:xfrm>
            <a:off x="2903755" y="2602031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1991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2E6E659-14EC-E702-0DD8-F97D8784D05B}"/>
              </a:ext>
            </a:extLst>
          </p:cNvPr>
          <p:cNvSpPr txBox="1"/>
          <p:nvPr/>
        </p:nvSpPr>
        <p:spPr>
          <a:xfrm>
            <a:off x="3625945" y="2167119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1999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EE050319-620A-6B75-7D24-D14D416E735B}"/>
              </a:ext>
            </a:extLst>
          </p:cNvPr>
          <p:cNvSpPr txBox="1"/>
          <p:nvPr/>
        </p:nvSpPr>
        <p:spPr>
          <a:xfrm>
            <a:off x="4380224" y="2600842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2001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342633DC-FA15-FE99-099A-77D0A18B7A52}"/>
              </a:ext>
            </a:extLst>
          </p:cNvPr>
          <p:cNvSpPr txBox="1"/>
          <p:nvPr/>
        </p:nvSpPr>
        <p:spPr>
          <a:xfrm>
            <a:off x="5174255" y="2192300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2006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6821BFA8-E833-F36B-B7B1-D0785D576E50}"/>
              </a:ext>
            </a:extLst>
          </p:cNvPr>
          <p:cNvSpPr txBox="1"/>
          <p:nvPr/>
        </p:nvSpPr>
        <p:spPr>
          <a:xfrm>
            <a:off x="5868392" y="2622128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2007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0E80879F-EE8B-200F-236C-46D4159B20B3}"/>
              </a:ext>
            </a:extLst>
          </p:cNvPr>
          <p:cNvSpPr txBox="1"/>
          <p:nvPr/>
        </p:nvSpPr>
        <p:spPr>
          <a:xfrm>
            <a:off x="6677092" y="2165957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2018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7FA5D6A8-CC92-514D-5310-F59922D6E48F}"/>
              </a:ext>
            </a:extLst>
          </p:cNvPr>
          <p:cNvSpPr txBox="1"/>
          <p:nvPr/>
        </p:nvSpPr>
        <p:spPr>
          <a:xfrm>
            <a:off x="7572989" y="2608364"/>
            <a:ext cx="17416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4367C5"/>
              </a:buClr>
              <a:buSzTx/>
              <a:buFont typeface="Wingdings" pitchFamily="2" charset="2"/>
              <a:buNone/>
              <a:tabLst/>
            </a:pPr>
            <a:r>
              <a:rPr kumimoji="0" lang="cs-CZ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anose="020B0604030504040204" pitchFamily="34" charset="0"/>
              </a:rPr>
              <a:t>2019</a:t>
            </a: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anose="020B0604030504040204" pitchFamily="34" charset="0"/>
            </a:endParaRPr>
          </a:p>
        </p:txBody>
      </p:sp>
      <p:pic>
        <p:nvPicPr>
          <p:cNvPr id="4098" name="Picture 2" descr="ZF: Born From Zeppelin's Air Ships">
            <a:extLst>
              <a:ext uri="{FF2B5EF4-FFF2-40B4-BE49-F238E27FC236}">
                <a16:creationId xmlns:a16="http://schemas.microsoft.com/office/drawing/2014/main" id="{5641310A-59DD-E856-ABAD-9204A4E19F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55" t="13277" r="7807" b="5040"/>
          <a:stretch/>
        </p:blipFill>
        <p:spPr bwMode="auto">
          <a:xfrm>
            <a:off x="119238" y="3035776"/>
            <a:ext cx="860612" cy="78509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ZF in Plzen - ZF">
            <a:extLst>
              <a:ext uri="{FF2B5EF4-FFF2-40B4-BE49-F238E27FC236}">
                <a16:creationId xmlns:a16="http://schemas.microsoft.com/office/drawing/2014/main" id="{5F00E562-705F-2AB9-52E0-F9BFFD3704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3979" y="3012745"/>
            <a:ext cx="830447" cy="8172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Vědeckotechnický park UTB - SUBTECH">
            <a:extLst>
              <a:ext uri="{FF2B5EF4-FFF2-40B4-BE49-F238E27FC236}">
                <a16:creationId xmlns:a16="http://schemas.microsoft.com/office/drawing/2014/main" id="{03DBC3C2-75F7-1268-CB7C-8E5E0CA428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3226" y="1275682"/>
            <a:ext cx="829354" cy="8172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Obrázek 23">
            <a:extLst>
              <a:ext uri="{FF2B5EF4-FFF2-40B4-BE49-F238E27FC236}">
                <a16:creationId xmlns:a16="http://schemas.microsoft.com/office/drawing/2014/main" id="{19597AB3-824D-EDEC-CAD8-6982B993672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4115" t="62109" r="43439" b="11991"/>
          <a:stretch/>
        </p:blipFill>
        <p:spPr>
          <a:xfrm>
            <a:off x="3371541" y="3022997"/>
            <a:ext cx="856701" cy="817200"/>
          </a:xfrm>
          <a:prstGeom prst="ellipse">
            <a:avLst/>
          </a:prstGeom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5D79D649-6084-2315-4DEE-D4045EAAD37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6870" t="62466" r="37541" b="8381"/>
          <a:stretch/>
        </p:blipFill>
        <p:spPr>
          <a:xfrm>
            <a:off x="4053383" y="1285096"/>
            <a:ext cx="886745" cy="817200"/>
          </a:xfrm>
          <a:prstGeom prst="ellipse">
            <a:avLst/>
          </a:prstGeom>
        </p:spPr>
      </p:pic>
      <p:pic>
        <p:nvPicPr>
          <p:cNvPr id="4108" name="Picture 12" descr="Commercial Vehicle Solutions - ZF">
            <a:extLst>
              <a:ext uri="{FF2B5EF4-FFF2-40B4-BE49-F238E27FC236}">
                <a16:creationId xmlns:a16="http://schemas.microsoft.com/office/drawing/2014/main" id="{8D217141-EE9B-CFA7-7985-23D698B6FF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24" t="14296" r="37179" b="265"/>
          <a:stretch/>
        </p:blipFill>
        <p:spPr bwMode="auto">
          <a:xfrm>
            <a:off x="4823227" y="2987230"/>
            <a:ext cx="867315" cy="8172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 descr="7,944 10 Million Images, Stock Photos &amp; Vectors | Shutterstock">
            <a:extLst>
              <a:ext uri="{FF2B5EF4-FFF2-40B4-BE49-F238E27FC236}">
                <a16:creationId xmlns:a16="http://schemas.microsoft.com/office/drawing/2014/main" id="{25B77A5D-6394-F0F8-9B6B-10090E26DE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04" t="21098" r="26909" b="26716"/>
          <a:stretch/>
        </p:blipFill>
        <p:spPr bwMode="auto">
          <a:xfrm>
            <a:off x="5597704" y="1306179"/>
            <a:ext cx="877945" cy="8172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9">
            <a:extLst>
              <a:ext uri="{FF2B5EF4-FFF2-40B4-BE49-F238E27FC236}">
                <a16:creationId xmlns:a16="http://schemas.microsoft.com/office/drawing/2014/main" id="{C73891DA-3B98-06AA-480A-021AE005B9E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59099" y="95962"/>
            <a:ext cx="689803" cy="689803"/>
          </a:xfrm>
          <a:prstGeom prst="rect">
            <a:avLst/>
          </a:prstGeom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C5220404-F2D2-0FEF-7D9E-6F3C7CD7E4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01" t="1466" r="5087"/>
          <a:stretch/>
        </p:blipFill>
        <p:spPr bwMode="auto">
          <a:xfrm>
            <a:off x="8069979" y="3038692"/>
            <a:ext cx="856445" cy="8172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D8CDBB2-A7CA-00FA-8052-6B69D46AB3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53947" y="1259118"/>
            <a:ext cx="969930" cy="869155"/>
          </a:xfrm>
          <a:prstGeom prst="ellipse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579A78E-8148-F404-E8C2-23AB8BB35FB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574835" y="2988233"/>
            <a:ext cx="1084621" cy="816197"/>
          </a:xfrm>
          <a:prstGeom prst="ellipse">
            <a:avLst/>
          </a:prstGeom>
        </p:spPr>
      </p:pic>
      <p:pic>
        <p:nvPicPr>
          <p:cNvPr id="4100" name="Picture 4099">
            <a:extLst>
              <a:ext uri="{FF2B5EF4-FFF2-40B4-BE49-F238E27FC236}">
                <a16:creationId xmlns:a16="http://schemas.microsoft.com/office/drawing/2014/main" id="{A463E1DE-330B-E4A9-4FCB-916C14DA91D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49855" y="1266828"/>
            <a:ext cx="1046515" cy="85295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0500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2BB4887-7400-4ABF-AFE0-E9BD67B3D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F </a:t>
            </a:r>
            <a:r>
              <a:rPr lang="cs-CZ" dirty="0" err="1"/>
              <a:t>products</a:t>
            </a:r>
            <a:r>
              <a:rPr lang="cs-CZ" dirty="0"/>
              <a:t> </a:t>
            </a:r>
            <a:r>
              <a:rPr lang="cs-CZ" dirty="0" err="1"/>
              <a:t>we</a:t>
            </a:r>
            <a:r>
              <a:rPr lang="cs-CZ" dirty="0"/>
              <a:t> are </a:t>
            </a:r>
            <a:r>
              <a:rPr lang="cs-CZ" dirty="0" err="1"/>
              <a:t>contributing</a:t>
            </a:r>
            <a:r>
              <a:rPr lang="cs-CZ" dirty="0"/>
              <a:t> to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engineering</a:t>
            </a:r>
            <a:r>
              <a:rPr lang="de-DE" dirty="0"/>
              <a:t> </a:t>
            </a:r>
            <a:r>
              <a:rPr lang="de-DE" dirty="0" err="1"/>
              <a:t>work</a:t>
            </a:r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675D2E56-1C3F-43DB-A7AC-91AC5B7E6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 dirty="0"/>
              <a:t>ZF Engineering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53924E8-DAE2-4254-9626-E26E61875AB5}"/>
              </a:ext>
            </a:extLst>
          </p:cNvPr>
          <p:cNvGrpSpPr/>
          <p:nvPr/>
        </p:nvGrpSpPr>
        <p:grpSpPr>
          <a:xfrm>
            <a:off x="361662" y="644798"/>
            <a:ext cx="8421402" cy="1966497"/>
            <a:chOff x="360362" y="644997"/>
            <a:chExt cx="8424001" cy="1967104"/>
          </a:xfrm>
        </p:grpSpPr>
        <p:grpSp>
          <p:nvGrpSpPr>
            <p:cNvPr id="49" name="Skupina 48">
              <a:extLst>
                <a:ext uri="{FF2B5EF4-FFF2-40B4-BE49-F238E27FC236}">
                  <a16:creationId xmlns:a16="http://schemas.microsoft.com/office/drawing/2014/main" id="{0E76B320-A3F8-4696-9526-8B163205D34B}"/>
                </a:ext>
              </a:extLst>
            </p:cNvPr>
            <p:cNvGrpSpPr/>
            <p:nvPr/>
          </p:nvGrpSpPr>
          <p:grpSpPr>
            <a:xfrm>
              <a:off x="360362" y="789370"/>
              <a:ext cx="8424001" cy="1822731"/>
              <a:chOff x="360362" y="789370"/>
              <a:chExt cx="8424001" cy="1822731"/>
            </a:xfrm>
          </p:grpSpPr>
          <p:sp>
            <p:nvSpPr>
              <p:cNvPr id="16" name="TextovéPole 15">
                <a:extLst>
                  <a:ext uri="{FF2B5EF4-FFF2-40B4-BE49-F238E27FC236}">
                    <a16:creationId xmlns:a16="http://schemas.microsoft.com/office/drawing/2014/main" id="{50AA2D73-2F3A-4AE2-9064-6AFEB848B1A7}"/>
                  </a:ext>
                </a:extLst>
              </p:cNvPr>
              <p:cNvSpPr txBox="1"/>
              <p:nvPr/>
            </p:nvSpPr>
            <p:spPr>
              <a:xfrm>
                <a:off x="360364" y="789370"/>
                <a:ext cx="3945822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defTabSz="914126">
                  <a:spcBef>
                    <a:spcPts val="0"/>
                  </a:spcBef>
                  <a:defRPr/>
                </a:pPr>
                <a:r>
                  <a:rPr lang="cs-CZ" sz="1200" b="1" kern="0" err="1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Passenger</a:t>
                </a:r>
                <a:r>
                  <a:rPr lang="cs-CZ" sz="1200" b="1" kern="0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 </a:t>
                </a:r>
                <a:r>
                  <a:rPr lang="cs-CZ" sz="1200" b="1" kern="0" err="1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cars</a:t>
                </a:r>
                <a:r>
                  <a:rPr lang="cs-CZ" sz="1200" b="1" kern="0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:</a:t>
                </a:r>
              </a:p>
            </p:txBody>
          </p:sp>
          <p:sp>
            <p:nvSpPr>
              <p:cNvPr id="45" name="Obdélník 44">
                <a:extLst>
                  <a:ext uri="{FF2B5EF4-FFF2-40B4-BE49-F238E27FC236}">
                    <a16:creationId xmlns:a16="http://schemas.microsoft.com/office/drawing/2014/main" id="{DCFA21AB-1410-4554-9277-083B33474389}"/>
                  </a:ext>
                </a:extLst>
              </p:cNvPr>
              <p:cNvSpPr/>
              <p:nvPr/>
            </p:nvSpPr>
            <p:spPr>
              <a:xfrm>
                <a:off x="360362" y="2181419"/>
                <a:ext cx="8424001" cy="430682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26">
                  <a:spcBef>
                    <a:spcPts val="0"/>
                  </a:spcBef>
                  <a:defRPr/>
                </a:pPr>
                <a:r>
                  <a:rPr lang="cs-CZ" sz="900" kern="0" dirty="0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8HP </a:t>
                </a:r>
                <a:r>
                  <a:rPr lang="cs-CZ" sz="900" kern="0" dirty="0" err="1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transmission</a:t>
                </a:r>
                <a:r>
                  <a:rPr lang="cs-CZ" sz="900" kern="0" dirty="0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                      </a:t>
                </a:r>
                <a:r>
                  <a:rPr lang="cs-CZ" sz="900" b="1" kern="0" dirty="0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EVD </a:t>
                </a:r>
                <a:r>
                  <a:rPr lang="cs-CZ" sz="900" b="1" kern="0" dirty="0" err="1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electric</a:t>
                </a:r>
                <a:r>
                  <a:rPr lang="cs-CZ" sz="900" b="1" kern="0" dirty="0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 drive      </a:t>
                </a:r>
                <a:r>
                  <a:rPr lang="cs-CZ" sz="900" kern="0" dirty="0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CDC damping </a:t>
                </a:r>
                <a:r>
                  <a:rPr lang="cs-CZ" sz="900" kern="0" dirty="0" err="1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control</a:t>
                </a:r>
                <a:r>
                  <a:rPr lang="cs-CZ" sz="900" kern="0" dirty="0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       </a:t>
                </a:r>
                <a:r>
                  <a:rPr lang="cs-CZ" sz="900" kern="0" dirty="0">
                    <a:solidFill>
                      <a:srgbClr val="FFFFFF"/>
                    </a:solidFill>
                  </a:rPr>
                  <a:t>8P4G Hybrid </a:t>
                </a:r>
                <a:r>
                  <a:rPr lang="cs-CZ" sz="900" kern="0" dirty="0" err="1">
                    <a:solidFill>
                      <a:srgbClr val="FFFFFF"/>
                    </a:solidFill>
                  </a:rPr>
                  <a:t>transmission</a:t>
                </a:r>
                <a:r>
                  <a:rPr lang="cs-CZ" sz="900" kern="0" dirty="0">
                    <a:solidFill>
                      <a:srgbClr val="FFFFFF"/>
                    </a:solidFill>
                  </a:rPr>
                  <a:t>           9HP </a:t>
                </a:r>
                <a:r>
                  <a:rPr lang="cs-CZ" sz="900" kern="0" dirty="0" err="1">
                    <a:solidFill>
                      <a:srgbClr val="FFFFFF"/>
                    </a:solidFill>
                  </a:rPr>
                  <a:t>transmission</a:t>
                </a:r>
                <a:r>
                  <a:rPr lang="cs-CZ" sz="900" kern="0" dirty="0">
                    <a:solidFill>
                      <a:srgbClr val="FFFFFF"/>
                    </a:solidFill>
                  </a:rPr>
                  <a:t>             </a:t>
                </a:r>
                <a:r>
                  <a:rPr lang="cs-CZ" sz="900" kern="0" dirty="0" err="1">
                    <a:solidFill>
                      <a:srgbClr val="FFFFFF"/>
                    </a:solidFill>
                  </a:rPr>
                  <a:t>Dual</a:t>
                </a:r>
                <a:r>
                  <a:rPr lang="cs-CZ" sz="900" kern="0" dirty="0">
                    <a:solidFill>
                      <a:srgbClr val="FFFFFF"/>
                    </a:solidFill>
                  </a:rPr>
                  <a:t> </a:t>
                </a:r>
                <a:r>
                  <a:rPr lang="cs-CZ" sz="900" kern="0" dirty="0" err="1">
                    <a:solidFill>
                      <a:srgbClr val="FFFFFF"/>
                    </a:solidFill>
                  </a:rPr>
                  <a:t>mass</a:t>
                </a:r>
                <a:r>
                  <a:rPr lang="cs-CZ" sz="900" kern="0" dirty="0">
                    <a:solidFill>
                      <a:srgbClr val="FFFFFF"/>
                    </a:solidFill>
                  </a:rPr>
                  <a:t> </a:t>
                </a:r>
                <a:r>
                  <a:rPr lang="cs-CZ" sz="900" kern="0" dirty="0" err="1">
                    <a:solidFill>
                      <a:srgbClr val="FFFFFF"/>
                    </a:solidFill>
                  </a:rPr>
                  <a:t>flywheel</a:t>
                </a:r>
                <a:endParaRPr lang="cs-CZ" sz="1000" kern="0" dirty="0">
                  <a:solidFill>
                    <a:srgbClr val="FFFFFF"/>
                  </a:solidFill>
                </a:endParaRPr>
              </a:p>
              <a:p>
                <a:pPr defTabSz="914126">
                  <a:spcBef>
                    <a:spcPts val="0"/>
                  </a:spcBef>
                </a:pPr>
                <a:r>
                  <a:rPr lang="cs-CZ" sz="1200" kern="0" dirty="0">
                    <a:solidFill>
                      <a:srgbClr val="FFFFFF"/>
                    </a:solidFill>
                    <a:latin typeface="Tahoma"/>
                    <a:cs typeface="Tahoma" pitchFamily="34" charset="0"/>
                  </a:rPr>
                  <a:t>		</a:t>
                </a:r>
              </a:p>
            </p:txBody>
          </p:sp>
        </p:grpSp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29D26AEF-F123-431F-AB3C-C4123666D9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96272" y="644997"/>
              <a:ext cx="2390300" cy="1754479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8" name="Skupina 7">
            <a:extLst>
              <a:ext uri="{FF2B5EF4-FFF2-40B4-BE49-F238E27FC236}">
                <a16:creationId xmlns:a16="http://schemas.microsoft.com/office/drawing/2014/main" id="{B9FE0B26-2827-47F2-A38C-E23EAAD99668}"/>
              </a:ext>
            </a:extLst>
          </p:cNvPr>
          <p:cNvGrpSpPr/>
          <p:nvPr/>
        </p:nvGrpSpPr>
        <p:grpSpPr>
          <a:xfrm>
            <a:off x="358540" y="2840317"/>
            <a:ext cx="8092452" cy="1846351"/>
            <a:chOff x="357239" y="2841193"/>
            <a:chExt cx="8094950" cy="1846921"/>
          </a:xfrm>
        </p:grpSpPr>
        <p:grpSp>
          <p:nvGrpSpPr>
            <p:cNvPr id="5" name="Skupina 4">
              <a:extLst>
                <a:ext uri="{FF2B5EF4-FFF2-40B4-BE49-F238E27FC236}">
                  <a16:creationId xmlns:a16="http://schemas.microsoft.com/office/drawing/2014/main" id="{B9D5744E-B27F-454D-9870-1A9338D91A01}"/>
                </a:ext>
              </a:extLst>
            </p:cNvPr>
            <p:cNvGrpSpPr/>
            <p:nvPr/>
          </p:nvGrpSpPr>
          <p:grpSpPr>
            <a:xfrm>
              <a:off x="357239" y="2841193"/>
              <a:ext cx="8094950" cy="1846921"/>
              <a:chOff x="357239" y="2841193"/>
              <a:chExt cx="8094950" cy="1846921"/>
            </a:xfrm>
          </p:grpSpPr>
          <p:sp>
            <p:nvSpPr>
              <p:cNvPr id="17" name="TextovéPole 16">
                <a:extLst>
                  <a:ext uri="{FF2B5EF4-FFF2-40B4-BE49-F238E27FC236}">
                    <a16:creationId xmlns:a16="http://schemas.microsoft.com/office/drawing/2014/main" id="{59370C37-61A9-4FC9-9448-9988B894913F}"/>
                  </a:ext>
                </a:extLst>
              </p:cNvPr>
              <p:cNvSpPr txBox="1"/>
              <p:nvPr/>
            </p:nvSpPr>
            <p:spPr>
              <a:xfrm>
                <a:off x="364551" y="2841193"/>
                <a:ext cx="3945822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defTabSz="914126">
                  <a:spcBef>
                    <a:spcPts val="0"/>
                  </a:spcBef>
                  <a:defRPr/>
                </a:pPr>
                <a:r>
                  <a:rPr lang="cs-CZ" sz="1200" b="1" kern="0" dirty="0" err="1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Trucks</a:t>
                </a:r>
                <a:r>
                  <a:rPr lang="cs-CZ" sz="1200" b="1" kern="0" dirty="0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, </a:t>
                </a:r>
                <a:r>
                  <a:rPr lang="cs-CZ" sz="1200" b="1" kern="0" dirty="0" err="1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buses</a:t>
                </a:r>
                <a:r>
                  <a:rPr lang="cs-CZ" sz="1200" b="1" kern="0" dirty="0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, </a:t>
                </a:r>
                <a:r>
                  <a:rPr lang="cs-CZ" sz="1200" b="1" kern="0" dirty="0" err="1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boats</a:t>
                </a:r>
                <a:r>
                  <a:rPr lang="cs-CZ" sz="1200" b="1" kern="0" dirty="0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, </a:t>
                </a:r>
                <a:r>
                  <a:rPr lang="cs-CZ" sz="1200" b="1" kern="0" dirty="0" err="1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industry</a:t>
                </a:r>
                <a:r>
                  <a:rPr lang="cs-CZ" sz="1200" b="1" kern="0" dirty="0">
                    <a:solidFill>
                      <a:srgbClr val="FFFFFF"/>
                    </a:solidFill>
                    <a:latin typeface="Tahoma"/>
                    <a:ea typeface="Tahoma"/>
                    <a:cs typeface="Tahoma"/>
                  </a:rPr>
                  <a:t>:</a:t>
                </a:r>
              </a:p>
            </p:txBody>
          </p:sp>
          <p:sp>
            <p:nvSpPr>
              <p:cNvPr id="29" name="Obdélník 28">
                <a:extLst>
                  <a:ext uri="{FF2B5EF4-FFF2-40B4-BE49-F238E27FC236}">
                    <a16:creationId xmlns:a16="http://schemas.microsoft.com/office/drawing/2014/main" id="{CD448A91-B8D1-4101-995D-EFFF366D00C5}"/>
                  </a:ext>
                </a:extLst>
              </p:cNvPr>
              <p:cNvSpPr/>
              <p:nvPr/>
            </p:nvSpPr>
            <p:spPr>
              <a:xfrm>
                <a:off x="357239" y="4257432"/>
                <a:ext cx="8094950" cy="430682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26">
                  <a:spcBef>
                    <a:spcPts val="0"/>
                  </a:spcBef>
                  <a:defRPr/>
                </a:pP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Traxon</a:t>
                </a:r>
                <a:r>
                  <a:rPr lang="cs-CZ" sz="900" kern="0">
                    <a:solidFill>
                      <a:srgbClr val="FFFFFF"/>
                    </a:solidFill>
                    <a:latin typeface="Tahoma"/>
                    <a:cs typeface="Tahoma"/>
                  </a:rPr>
                  <a:t> </a:t>
                </a: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transmission</a:t>
                </a:r>
                <a:r>
                  <a:rPr lang="cs-CZ" sz="900" kern="0">
                    <a:solidFill>
                      <a:srgbClr val="FFFFFF"/>
                    </a:solidFill>
                    <a:latin typeface="Tahoma"/>
                    <a:cs typeface="Tahoma"/>
                  </a:rPr>
                  <a:t>                         Truck </a:t>
                </a: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clutch</a:t>
                </a:r>
                <a:r>
                  <a:rPr lang="cs-CZ" sz="900" kern="0">
                    <a:solidFill>
                      <a:srgbClr val="FFFFFF"/>
                    </a:solidFill>
                    <a:latin typeface="Tahoma"/>
                    <a:cs typeface="Tahoma"/>
                  </a:rPr>
                  <a:t>               AVE130 </a:t>
                </a: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electric</a:t>
                </a:r>
                <a:r>
                  <a:rPr lang="cs-CZ" sz="900" kern="0">
                    <a:solidFill>
                      <a:srgbClr val="FFFFFF"/>
                    </a:solidFill>
                    <a:latin typeface="Tahoma"/>
                    <a:cs typeface="Tahoma"/>
                  </a:rPr>
                  <a:t> drive </a:t>
                </a: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for</a:t>
                </a:r>
                <a:r>
                  <a:rPr lang="cs-CZ" sz="900" kern="0">
                    <a:solidFill>
                      <a:srgbClr val="FFFFFF"/>
                    </a:solidFill>
                    <a:latin typeface="Tahoma"/>
                    <a:cs typeface="Tahoma"/>
                  </a:rPr>
                  <a:t> city bus      Ergo </a:t>
                </a: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power</a:t>
                </a:r>
                <a:r>
                  <a:rPr lang="cs-CZ" sz="900" kern="0">
                    <a:solidFill>
                      <a:srgbClr val="FFFFFF"/>
                    </a:solidFill>
                    <a:latin typeface="Tahoma"/>
                    <a:cs typeface="Tahoma"/>
                  </a:rPr>
                  <a:t> </a:t>
                </a: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transmission</a:t>
                </a:r>
                <a:r>
                  <a:rPr lang="cs-CZ" sz="900" kern="0">
                    <a:solidFill>
                      <a:srgbClr val="FFFFFF"/>
                    </a:solidFill>
                    <a:latin typeface="Tahoma"/>
                    <a:cs typeface="Tahoma"/>
                  </a:rPr>
                  <a:t>           </a:t>
                </a: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Wind</a:t>
                </a:r>
                <a:r>
                  <a:rPr lang="cs-CZ" sz="900" kern="0">
                    <a:solidFill>
                      <a:srgbClr val="FFFFFF"/>
                    </a:solidFill>
                    <a:latin typeface="Tahoma"/>
                    <a:cs typeface="Tahoma"/>
                  </a:rPr>
                  <a:t> </a:t>
                </a: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power</a:t>
                </a:r>
                <a:r>
                  <a:rPr lang="cs-CZ" sz="900" kern="0">
                    <a:solidFill>
                      <a:srgbClr val="FFFFFF"/>
                    </a:solidFill>
                    <a:latin typeface="Tahoma"/>
                    <a:cs typeface="Tahoma"/>
                  </a:rPr>
                  <a:t> </a:t>
                </a:r>
                <a:r>
                  <a:rPr lang="cs-CZ" sz="900" kern="0" err="1">
                    <a:solidFill>
                      <a:srgbClr val="FFFFFF"/>
                    </a:solidFill>
                    <a:latin typeface="Tahoma"/>
                    <a:cs typeface="Tahoma"/>
                  </a:rPr>
                  <a:t>transmission</a:t>
                </a:r>
                <a:endParaRPr lang="cs-CZ" sz="1000" kern="0">
                  <a:solidFill>
                    <a:srgbClr val="FFFFFF"/>
                  </a:solidFill>
                  <a:cs typeface="Tahoma"/>
                </a:endParaRPr>
              </a:p>
              <a:p>
                <a:pPr defTabSz="914126">
                  <a:spcBef>
                    <a:spcPts val="0"/>
                  </a:spcBef>
                </a:pPr>
                <a:r>
                  <a:rPr lang="cs-CZ" sz="1200" kern="0">
                    <a:solidFill>
                      <a:srgbClr val="000000"/>
                    </a:solidFill>
                    <a:latin typeface="Tahoma"/>
                    <a:cs typeface="Tahoma" pitchFamily="34" charset="0"/>
                  </a:rPr>
                  <a:t>		</a:t>
                </a:r>
              </a:p>
            </p:txBody>
          </p:sp>
        </p:grpSp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15480C56-CB5E-4592-B5AB-26A69B3D3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8802" y="3083956"/>
              <a:ext cx="1532000" cy="1149000"/>
            </a:xfrm>
            <a:prstGeom prst="rect">
              <a:avLst/>
            </a:prstGeom>
          </p:spPr>
        </p:pic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C633977C-5C8B-4D5A-AE39-DF34EB3D9E3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25" y="991584"/>
            <a:ext cx="2481929" cy="1769616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17F2557F-C440-4AE2-B81E-1002B14859E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4415" y="698877"/>
            <a:ext cx="2481929" cy="1861446"/>
          </a:xfrm>
          <a:prstGeom prst="rect">
            <a:avLst/>
          </a:prstGeom>
        </p:spPr>
      </p:pic>
      <p:pic>
        <p:nvPicPr>
          <p:cNvPr id="27" name="Obrázek 26">
            <a:extLst>
              <a:ext uri="{FF2B5EF4-FFF2-40B4-BE49-F238E27FC236}">
                <a16:creationId xmlns:a16="http://schemas.microsoft.com/office/drawing/2014/main" id="{9C93ED41-CF17-46B8-9F06-E22E73992F4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5907" y="687176"/>
            <a:ext cx="1335915" cy="1889554"/>
          </a:xfrm>
          <a:prstGeom prst="rect">
            <a:avLst/>
          </a:prstGeom>
        </p:spPr>
      </p:pic>
      <p:pic>
        <p:nvPicPr>
          <p:cNvPr id="31" name="Obrázek 30">
            <a:extLst>
              <a:ext uri="{FF2B5EF4-FFF2-40B4-BE49-F238E27FC236}">
                <a16:creationId xmlns:a16="http://schemas.microsoft.com/office/drawing/2014/main" id="{66B668D6-3626-4380-9C36-06D4DE17CE2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7497" y="933235"/>
            <a:ext cx="2138826" cy="1510546"/>
          </a:xfrm>
          <a:prstGeom prst="rect">
            <a:avLst/>
          </a:prstGeom>
        </p:spPr>
      </p:pic>
      <p:pic>
        <p:nvPicPr>
          <p:cNvPr id="33" name="Obrázek 32">
            <a:extLst>
              <a:ext uri="{FF2B5EF4-FFF2-40B4-BE49-F238E27FC236}">
                <a16:creationId xmlns:a16="http://schemas.microsoft.com/office/drawing/2014/main" id="{91EC4A8A-8477-44EC-AE35-6B3A175F1BB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401" y="2891110"/>
            <a:ext cx="2424925" cy="1818694"/>
          </a:xfrm>
          <a:prstGeom prst="rect">
            <a:avLst/>
          </a:prstGeom>
        </p:spPr>
      </p:pic>
      <p:pic>
        <p:nvPicPr>
          <p:cNvPr id="35" name="Obrázek 34">
            <a:extLst>
              <a:ext uri="{FF2B5EF4-FFF2-40B4-BE49-F238E27FC236}">
                <a16:creationId xmlns:a16="http://schemas.microsoft.com/office/drawing/2014/main" id="{AF9E0E77-2607-4F6D-9319-7D83FAC9AD2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3548" y="2958148"/>
            <a:ext cx="2506316" cy="2089014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B6EF0214-B78C-44D3-8EF2-7C67B5F526F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5035" y="644799"/>
            <a:ext cx="1475805" cy="2087418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DEBA2DD7-D545-45EF-983E-FBA2A8C41EA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5952" y="2926158"/>
            <a:ext cx="2572408" cy="1818693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F9FE45DC-9C3E-453D-AC88-036746E65365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1626" y="2891110"/>
            <a:ext cx="2065664" cy="1549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390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Tahoma"/>
              </a:rPr>
              <a:t>2022-05-11 | Employer Branding &amp; Talent Attraction | Company Pre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</a:pPr>
            <a:fld id="{AE839375-43AA-4A5D-B991-4343C4570BCB}" type="slidenum">
              <a:rPr lang="en-US" dirty="0">
                <a:solidFill>
                  <a:srgbClr val="FFFFFF"/>
                </a:solidFill>
                <a:latin typeface="Tahoma"/>
              </a:rPr>
              <a:pPr defTabSz="914126" fontAlgn="auto">
                <a:spcBef>
                  <a:spcPts val="0"/>
                </a:spcBef>
                <a:spcAft>
                  <a:spcPts val="0"/>
                </a:spcAft>
              </a:pPr>
              <a:t>5</a:t>
            </a:fld>
            <a:endParaRPr lang="en-US" dirty="0">
              <a:solidFill>
                <a:srgbClr val="FFFFFF"/>
              </a:solidFill>
              <a:latin typeface="Tahoma"/>
            </a:endParaRPr>
          </a:p>
        </p:txBody>
      </p:sp>
      <p:sp>
        <p:nvSpPr>
          <p:cNvPr id="7" name="Titel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2964" y="143956"/>
            <a:ext cx="8418804" cy="5938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defTabSz="914126">
              <a:spcBef>
                <a:spcPct val="0"/>
              </a:spcBef>
              <a:buNone/>
              <a:defRPr sz="199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852" fontAlgn="auto">
              <a:spcAft>
                <a:spcPts val="0"/>
              </a:spcAft>
            </a:pPr>
            <a:r>
              <a:rPr lang="en-US" sz="1997" dirty="0">
                <a:solidFill>
                  <a:srgbClr val="FFFFFF"/>
                </a:solidFill>
                <a:latin typeface="Tahoma"/>
              </a:rPr>
              <a:t>ZF Systems Expertise</a:t>
            </a:r>
          </a:p>
        </p:txBody>
      </p:sp>
      <p:grpSp>
        <p:nvGrpSpPr>
          <p:cNvPr id="2" name="Gruppieren 1"/>
          <p:cNvGrpSpPr/>
          <p:nvPr>
            <p:custDataLst>
              <p:tags r:id="rId3"/>
            </p:custDataLst>
          </p:nvPr>
        </p:nvGrpSpPr>
        <p:grpSpPr>
          <a:xfrm>
            <a:off x="263786" y="402471"/>
            <a:ext cx="8482399" cy="4060728"/>
            <a:chOff x="337372" y="475007"/>
            <a:chExt cx="8487636" cy="4061980"/>
          </a:xfrm>
        </p:grpSpPr>
        <p:pic>
          <p:nvPicPr>
            <p:cNvPr id="81" name="Picture 2" descr="C:\Users\z176746\Desktop\ZF_REN_Sportlimousine-mSTARS_20180412.png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3819" y="475007"/>
              <a:ext cx="5213410" cy="39100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Textfeld 81"/>
            <p:cNvSpPr txBox="1"/>
            <p:nvPr/>
          </p:nvSpPr>
          <p:spPr>
            <a:xfrm>
              <a:off x="1210004" y="1243867"/>
              <a:ext cx="134441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11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dvanced Driver </a:t>
              </a:r>
            </a:p>
            <a:p>
              <a:pPr defTabSz="68511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ssistance Systems</a:t>
              </a:r>
            </a:p>
          </p:txBody>
        </p:sp>
        <p:sp>
          <p:nvSpPr>
            <p:cNvPr id="83" name="Textfeld 82"/>
            <p:cNvSpPr txBox="1"/>
            <p:nvPr/>
          </p:nvSpPr>
          <p:spPr>
            <a:xfrm>
              <a:off x="707559" y="2186475"/>
              <a:ext cx="876843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lectric Drives</a:t>
              </a:r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771621" y="1746408"/>
              <a:ext cx="1322478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hassis Components </a:t>
              </a:r>
            </a:p>
          </p:txBody>
        </p:sp>
        <p:sp>
          <p:nvSpPr>
            <p:cNvPr id="85" name="Textfeld 84"/>
            <p:cNvSpPr txBox="1"/>
            <p:nvPr/>
          </p:nvSpPr>
          <p:spPr>
            <a:xfrm>
              <a:off x="933466" y="2710144"/>
              <a:ext cx="1070806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eering Systems</a:t>
              </a:r>
            </a:p>
          </p:txBody>
        </p:sp>
        <p:sp>
          <p:nvSpPr>
            <p:cNvPr id="86" name="Textfeld 85"/>
            <p:cNvSpPr txBox="1"/>
            <p:nvPr/>
          </p:nvSpPr>
          <p:spPr>
            <a:xfrm>
              <a:off x="739077" y="3187332"/>
              <a:ext cx="1114088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mping Systems</a:t>
              </a:r>
            </a:p>
          </p:txBody>
        </p:sp>
        <p:sp>
          <p:nvSpPr>
            <p:cNvPr id="87" name="Textfeld 86"/>
            <p:cNvSpPr txBox="1"/>
            <p:nvPr/>
          </p:nvSpPr>
          <p:spPr>
            <a:xfrm>
              <a:off x="1059626" y="3683746"/>
              <a:ext cx="1096454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afety Electronics</a:t>
              </a:r>
            </a:p>
          </p:txBody>
        </p:sp>
        <p:sp>
          <p:nvSpPr>
            <p:cNvPr id="88" name="Textfeld 87"/>
            <p:cNvSpPr txBox="1"/>
            <p:nvPr/>
          </p:nvSpPr>
          <p:spPr>
            <a:xfrm>
              <a:off x="6732363" y="898771"/>
              <a:ext cx="143308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ctive Chassis Systems</a:t>
              </a:r>
            </a:p>
          </p:txBody>
        </p:sp>
        <p:sp>
          <p:nvSpPr>
            <p:cNvPr id="89" name="Textfeld 88"/>
            <p:cNvSpPr txBox="1"/>
            <p:nvPr/>
          </p:nvSpPr>
          <p:spPr>
            <a:xfrm>
              <a:off x="7171585" y="1340880"/>
              <a:ext cx="1183016" cy="338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xle Drives / </a:t>
              </a:r>
            </a:p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lectric Axle Drives</a:t>
              </a:r>
            </a:p>
          </p:txBody>
        </p:sp>
        <p:sp>
          <p:nvSpPr>
            <p:cNvPr id="90" name="Textfeld 89"/>
            <p:cNvSpPr txBox="1"/>
            <p:nvPr/>
          </p:nvSpPr>
          <p:spPr>
            <a:xfrm>
              <a:off x="7808656" y="1937596"/>
              <a:ext cx="81913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xle Systems</a:t>
              </a:r>
            </a:p>
          </p:txBody>
        </p:sp>
        <p:sp>
          <p:nvSpPr>
            <p:cNvPr id="91" name="Textfeld 90"/>
            <p:cNvSpPr txBox="1"/>
            <p:nvPr/>
          </p:nvSpPr>
          <p:spPr>
            <a:xfrm>
              <a:off x="7037927" y="2427865"/>
              <a:ext cx="1070806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raking Systems </a:t>
              </a:r>
            </a:p>
          </p:txBody>
        </p:sp>
        <p:sp>
          <p:nvSpPr>
            <p:cNvPr id="92" name="Textfeld 91"/>
            <p:cNvSpPr txBox="1"/>
            <p:nvPr/>
          </p:nvSpPr>
          <p:spPr>
            <a:xfrm>
              <a:off x="6872163" y="3018055"/>
              <a:ext cx="136896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ransmission Systems</a:t>
              </a:r>
            </a:p>
          </p:txBody>
        </p:sp>
        <p:sp>
          <p:nvSpPr>
            <p:cNvPr id="93" name="Textfeld 92"/>
            <p:cNvSpPr txBox="1"/>
            <p:nvPr/>
          </p:nvSpPr>
          <p:spPr>
            <a:xfrm>
              <a:off x="6643839" y="3581813"/>
              <a:ext cx="115897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marL="0" marR="0" lvl="0" indent="0" defTabSz="6855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>
                  <a:solidFill>
                    <a:schemeClr val="bg1"/>
                  </a:solidFill>
                  <a:latin typeface="ZF Prometo Light" panose="020B0404030203060203" pitchFamily="34" charset="0"/>
                  <a:ea typeface="Tahoma" charset="0"/>
                  <a:cs typeface="Tahoma" charset="0"/>
                </a:defRPr>
              </a:lvl1pPr>
            </a:lstStyle>
            <a:p>
              <a:pPr defTabSz="685341">
                <a:defRPr/>
              </a:pPr>
              <a:r>
                <a:rPr lang="en-US" kern="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lectronic Systems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1280189" y="863600"/>
              <a:ext cx="1588054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68511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ccupant Safety Systems</a:t>
              </a:r>
            </a:p>
          </p:txBody>
        </p:sp>
        <p:cxnSp>
          <p:nvCxnSpPr>
            <p:cNvPr id="95" name="Gerade Verbindung 31"/>
            <p:cNvCxnSpPr/>
            <p:nvPr/>
          </p:nvCxnSpPr>
          <p:spPr>
            <a:xfrm>
              <a:off x="2376488" y="1332616"/>
              <a:ext cx="1522561" cy="1122443"/>
            </a:xfrm>
            <a:prstGeom prst="bentConnector3">
              <a:avLst>
                <a:gd name="adj1" fmla="val 50000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96" name="Gerade Verbindung 14"/>
            <p:cNvCxnSpPr/>
            <p:nvPr/>
          </p:nvCxnSpPr>
          <p:spPr>
            <a:xfrm>
              <a:off x="2946400" y="948238"/>
              <a:ext cx="1536700" cy="791687"/>
            </a:xfrm>
            <a:prstGeom prst="bentConnector3">
              <a:avLst>
                <a:gd name="adj1" fmla="val 43182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97" name="Gerade Verbindung 31"/>
            <p:cNvCxnSpPr/>
            <p:nvPr/>
          </p:nvCxnSpPr>
          <p:spPr>
            <a:xfrm>
              <a:off x="1704975" y="2283813"/>
              <a:ext cx="2204184" cy="429934"/>
            </a:xfrm>
            <a:prstGeom prst="bentConnector3">
              <a:avLst>
                <a:gd name="adj1" fmla="val 34875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98" name="Gerade Verbindung 31"/>
            <p:cNvCxnSpPr/>
            <p:nvPr/>
          </p:nvCxnSpPr>
          <p:spPr>
            <a:xfrm>
              <a:off x="2133600" y="1836407"/>
              <a:ext cx="1177982" cy="745687"/>
            </a:xfrm>
            <a:prstGeom prst="bentConnector3">
              <a:avLst>
                <a:gd name="adj1" fmla="val 50000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99" name="Gerade Verbindung 31"/>
            <p:cNvCxnSpPr/>
            <p:nvPr/>
          </p:nvCxnSpPr>
          <p:spPr>
            <a:xfrm>
              <a:off x="2094099" y="2794781"/>
              <a:ext cx="1155425" cy="175506"/>
            </a:xfrm>
            <a:prstGeom prst="bentConnector3">
              <a:avLst>
                <a:gd name="adj1" fmla="val 14002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100" name="Gerade Verbindung 71"/>
            <p:cNvCxnSpPr/>
            <p:nvPr/>
          </p:nvCxnSpPr>
          <p:spPr>
            <a:xfrm flipV="1">
              <a:off x="1917700" y="3076693"/>
              <a:ext cx="1754531" cy="215782"/>
            </a:xfrm>
            <a:prstGeom prst="bentConnector3">
              <a:avLst>
                <a:gd name="adj1" fmla="val 19599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101" name="Gerade Verbindung 71"/>
            <p:cNvCxnSpPr/>
            <p:nvPr/>
          </p:nvCxnSpPr>
          <p:spPr>
            <a:xfrm flipV="1">
              <a:off x="2219325" y="3666450"/>
              <a:ext cx="884362" cy="101934"/>
            </a:xfrm>
            <a:prstGeom prst="bentConnector3">
              <a:avLst>
                <a:gd name="adj1" fmla="val 25228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102" name="Gerade Verbindung 88"/>
            <p:cNvCxnSpPr/>
            <p:nvPr/>
          </p:nvCxnSpPr>
          <p:spPr>
            <a:xfrm rot="5400000">
              <a:off x="5842046" y="1056393"/>
              <a:ext cx="847638" cy="701671"/>
            </a:xfrm>
            <a:prstGeom prst="bentConnector3">
              <a:avLst>
                <a:gd name="adj1" fmla="val 931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103" name="Gerade Verbindung 88"/>
            <p:cNvCxnSpPr/>
            <p:nvPr/>
          </p:nvCxnSpPr>
          <p:spPr>
            <a:xfrm rot="10800000" flipV="1">
              <a:off x="5670648" y="1421693"/>
              <a:ext cx="1423967" cy="534952"/>
            </a:xfrm>
            <a:prstGeom prst="bentConnector3">
              <a:avLst>
                <a:gd name="adj1" fmla="val 9866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104" name="Gerade Verbindung 88"/>
            <p:cNvCxnSpPr/>
            <p:nvPr/>
          </p:nvCxnSpPr>
          <p:spPr>
            <a:xfrm rot="10800000" flipV="1">
              <a:off x="5915029" y="2033079"/>
              <a:ext cx="1828797" cy="236545"/>
            </a:xfrm>
            <a:prstGeom prst="bentConnector3">
              <a:avLst>
                <a:gd name="adj1" fmla="val 15799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105" name="Gerade Verbindung 88"/>
            <p:cNvCxnSpPr/>
            <p:nvPr/>
          </p:nvCxnSpPr>
          <p:spPr>
            <a:xfrm flipH="1" flipV="1">
              <a:off x="6107122" y="2528984"/>
              <a:ext cx="825907" cy="0"/>
            </a:xfrm>
            <a:prstGeom prst="straightConnector1">
              <a:avLst/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106" name="Gerade Verbindung 88"/>
            <p:cNvCxnSpPr/>
            <p:nvPr/>
          </p:nvCxnSpPr>
          <p:spPr>
            <a:xfrm rot="10800000">
              <a:off x="4094540" y="2533749"/>
              <a:ext cx="2684541" cy="563670"/>
            </a:xfrm>
            <a:prstGeom prst="bentConnector3">
              <a:avLst>
                <a:gd name="adj1" fmla="val 39711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107" name="Gerade Verbindung 88"/>
            <p:cNvCxnSpPr/>
            <p:nvPr/>
          </p:nvCxnSpPr>
          <p:spPr>
            <a:xfrm rot="10800000">
              <a:off x="4163658" y="2713747"/>
              <a:ext cx="2383193" cy="952704"/>
            </a:xfrm>
            <a:prstGeom prst="bentConnector3">
              <a:avLst>
                <a:gd name="adj1" fmla="val 50000"/>
              </a:avLst>
            </a:prstGeom>
            <a:noFill/>
            <a:ln w="25400" cap="rnd" cmpd="sng" algn="ctr">
              <a:solidFill>
                <a:schemeClr val="bg1"/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108" name="Gerade Verbindung 107"/>
            <p:cNvCxnSpPr/>
            <p:nvPr/>
          </p:nvCxnSpPr>
          <p:spPr>
            <a:xfrm>
              <a:off x="964380" y="4279941"/>
              <a:ext cx="7200000" cy="0"/>
            </a:xfrm>
            <a:prstGeom prst="line">
              <a:avLst/>
            </a:prstGeom>
            <a:ln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9" name="Picture 2" descr="C:\Users\PatrickE\Desktop\icons\CONDUCTOR_PLATE_1024px_WHIT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9178" y="4356987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0" name="Textfeld 109"/>
            <p:cNvSpPr txBox="1"/>
            <p:nvPr/>
          </p:nvSpPr>
          <p:spPr>
            <a:xfrm>
              <a:off x="962437" y="4370043"/>
              <a:ext cx="12439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FFFFFF"/>
                  </a:solidFill>
                  <a:latin typeface="Tahoma"/>
                </a:rPr>
                <a:t>Electrified Powertrain:</a:t>
              </a:r>
              <a:endParaRPr lang="en-US" sz="1000" dirty="0">
                <a:solidFill>
                  <a:srgbClr val="000000"/>
                </a:solidFill>
                <a:latin typeface="Tahoma"/>
              </a:endParaRPr>
            </a:p>
          </p:txBody>
        </p:sp>
        <p:grpSp>
          <p:nvGrpSpPr>
            <p:cNvPr id="111" name="Gruppieren 110"/>
            <p:cNvGrpSpPr/>
            <p:nvPr/>
          </p:nvGrpSpPr>
          <p:grpSpPr>
            <a:xfrm>
              <a:off x="2989586" y="4356987"/>
              <a:ext cx="1504650" cy="180000"/>
              <a:chOff x="3149337" y="4375905"/>
              <a:chExt cx="1504650" cy="180000"/>
            </a:xfrm>
          </p:grpSpPr>
          <p:pic>
            <p:nvPicPr>
              <p:cNvPr id="112" name="Picture 4" descr="C:\Users\PatrickE\Desktop\icons\STEERING_WHEEL_1024px_WHITE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73987" y="4375905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3" name="Textfeld 112"/>
              <p:cNvSpPr txBox="1"/>
              <p:nvPr/>
            </p:nvSpPr>
            <p:spPr>
              <a:xfrm>
                <a:off x="3149337" y="4388961"/>
                <a:ext cx="1334548" cy="15581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12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latin typeface="Tahoma"/>
                  </a:rPr>
                  <a:t>Vehicle Motion Control:</a:t>
                </a:r>
              </a:p>
            </p:txBody>
          </p:sp>
        </p:grpSp>
        <p:grpSp>
          <p:nvGrpSpPr>
            <p:cNvPr id="114" name="Gruppieren 113"/>
            <p:cNvGrpSpPr/>
            <p:nvPr/>
          </p:nvGrpSpPr>
          <p:grpSpPr>
            <a:xfrm>
              <a:off x="5064644" y="4356987"/>
              <a:ext cx="1305499" cy="180000"/>
              <a:chOff x="5053386" y="4375905"/>
              <a:chExt cx="1305499" cy="180000"/>
            </a:xfrm>
          </p:grpSpPr>
          <p:pic>
            <p:nvPicPr>
              <p:cNvPr id="115" name="Picture 5" descr="C:\Users\PatrickE\Desktop\icons\CAR_NEW_MOBILITY_1024px_WHITE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78885" y="4375905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6" name="Textfeld 115"/>
              <p:cNvSpPr txBox="1"/>
              <p:nvPr/>
            </p:nvSpPr>
            <p:spPr>
              <a:xfrm>
                <a:off x="5053386" y="4388961"/>
                <a:ext cx="1103667" cy="15581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12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latin typeface="Tahoma"/>
                  </a:rPr>
                  <a:t>Automated Driving:</a:t>
                </a:r>
              </a:p>
            </p:txBody>
          </p:sp>
        </p:grpSp>
        <p:grpSp>
          <p:nvGrpSpPr>
            <p:cNvPr id="117" name="Gruppieren 116"/>
            <p:cNvGrpSpPr/>
            <p:nvPr/>
          </p:nvGrpSpPr>
          <p:grpSpPr>
            <a:xfrm>
              <a:off x="6940550" y="4356987"/>
              <a:ext cx="1240823" cy="180000"/>
              <a:chOff x="6741988" y="4375905"/>
              <a:chExt cx="1240823" cy="180000"/>
            </a:xfrm>
          </p:grpSpPr>
          <p:pic>
            <p:nvPicPr>
              <p:cNvPr id="118" name="Picture 3" descr="C:\Users\PatrickE\Desktop\icons\SAFETY_1024px_WHITE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02811" y="4375905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9" name="Textfeld 118"/>
              <p:cNvSpPr txBox="1"/>
              <p:nvPr/>
            </p:nvSpPr>
            <p:spPr>
              <a:xfrm>
                <a:off x="6741988" y="4388961"/>
                <a:ext cx="1035540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12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latin typeface="Tahoma"/>
                  </a:rPr>
                  <a:t>Integrated Safety:</a:t>
                </a:r>
              </a:p>
            </p:txBody>
          </p:sp>
        </p:grpSp>
        <p:pic>
          <p:nvPicPr>
            <p:cNvPr id="120" name="Picture 3" descr="C:\Users\PatrickE\Desktop\icons\SAFETY_1024px_WHITE.png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0728" y="863599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1" name="Picture 2" descr="C:\Users\PatrickE\Desktop\icons\CONDUCTOR_PLATE_1024px_WHIT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9907" y="2192868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" name="Picture 4" descr="C:\Users\PatrickE\Desktop\icons\STEERING_WHEEL_1024px_WHITE.png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259" y="1746407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3" name="Gruppieren 122"/>
            <p:cNvGrpSpPr/>
            <p:nvPr/>
          </p:nvGrpSpPr>
          <p:grpSpPr>
            <a:xfrm>
              <a:off x="337372" y="2704781"/>
              <a:ext cx="524249" cy="180000"/>
              <a:chOff x="9433639" y="3594415"/>
              <a:chExt cx="524249" cy="180000"/>
            </a:xfrm>
          </p:grpSpPr>
          <p:pic>
            <p:nvPicPr>
              <p:cNvPr id="124" name="Picture 4" descr="C:\Users\PatrickE\Desktop\icons\STEERING_WHEEL_1024px_WHITE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33639" y="3594415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5" name="Picture 5" descr="C:\Users\PatrickE\Desktop\icons\CAR_NEW_MOBILITY_1024px_WHITE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05763" y="3594415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6" name="Picture 3" descr="C:\Users\PatrickE\Desktop\icons\SAFETY_1024px_WHITE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77888" y="3594415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27" name="Picture 4" descr="C:\Users\PatrickE\Desktop\icons\STEERING_WHEEL_1024px_WHITE.png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7372" y="3201706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" name="Picture 3" descr="C:\Users\PatrickE\Desktop\icons\SAFETY_1024px_WHITE.png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496" y="3199631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9" name="Picture 2" descr="C:\Users\PatrickE\Desktop\icons\CONDUCTOR_PLATE_1024px_WHIT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34350" y="3573752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0" name="Gruppieren 129"/>
            <p:cNvGrpSpPr/>
            <p:nvPr/>
          </p:nvGrpSpPr>
          <p:grpSpPr>
            <a:xfrm>
              <a:off x="8014351" y="3576450"/>
              <a:ext cx="538879" cy="180000"/>
              <a:chOff x="8262000" y="3576450"/>
              <a:chExt cx="538879" cy="180000"/>
            </a:xfrm>
          </p:grpSpPr>
          <p:pic>
            <p:nvPicPr>
              <p:cNvPr id="131" name="Picture 4" descr="C:\Users\PatrickE\Desktop\icons\STEERING_WHEEL_1024px_WHITE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62000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2" name="Picture 5" descr="C:\Users\PatrickE\Desktop\icons\CAR_NEW_MOBILITY_1024px_WHITE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34124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3" name="Picture 3" descr="C:\Users\PatrickE\Desktop\icons\SAFETY_1024px_WHITE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20879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4" name="Gruppieren 133"/>
            <p:cNvGrpSpPr/>
            <p:nvPr/>
          </p:nvGrpSpPr>
          <p:grpSpPr>
            <a:xfrm>
              <a:off x="624303" y="1242615"/>
              <a:ext cx="538879" cy="180000"/>
              <a:chOff x="8262000" y="3576450"/>
              <a:chExt cx="538879" cy="180000"/>
            </a:xfrm>
          </p:grpSpPr>
          <p:pic>
            <p:nvPicPr>
              <p:cNvPr id="135" name="Picture 4" descr="C:\Users\PatrickE\Desktop\icons\STEERING_WHEEL_1024px_WHITE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62000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6" name="Picture 5" descr="C:\Users\PatrickE\Desktop\icons\CAR_NEW_MOBILITY_1024px_WHITE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34124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7" name="Picture 3" descr="C:\Users\PatrickE\Desktop\icons\SAFETY_1024px_WHITE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20879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8" name="Gruppieren 137"/>
            <p:cNvGrpSpPr/>
            <p:nvPr/>
          </p:nvGrpSpPr>
          <p:grpSpPr>
            <a:xfrm>
              <a:off x="466033" y="3678383"/>
              <a:ext cx="538879" cy="180000"/>
              <a:chOff x="8262000" y="3576450"/>
              <a:chExt cx="538879" cy="180000"/>
            </a:xfrm>
          </p:grpSpPr>
          <p:pic>
            <p:nvPicPr>
              <p:cNvPr id="139" name="Picture 4" descr="C:\Users\PatrickE\Desktop\icons\STEERING_WHEEL_1024px_WHITE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62000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0" name="Picture 5" descr="C:\Users\PatrickE\Desktop\icons\CAR_NEW_MOBILITY_1024px_WHITE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34124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1" name="Picture 3" descr="C:\Users\PatrickE\Desktop\icons\SAFETY_1024px_WHITE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20879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42" name="Picture 2" descr="C:\Users\PatrickE\Desktop\icons\CONDUCTOR_PLATE_1024px_WHIT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0874" y="3018054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3" name="Picture 4" descr="C:\Users\PatrickE\Desktop\icons\STEERING_WHEEL_1024px_WHITE.png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45008" y="1937595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4" name="Picture 2" descr="C:\Users\PatrickE\Desktop\icons\CONDUCTOR_PLATE_1024px_WHIT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3597" y="1514175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5" name="Picture 4" descr="C:\Users\PatrickE\Desktop\icons\STEERING_WHEEL_1024px_WHITE.png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3597" y="1510157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46" name="Gruppieren 145"/>
            <p:cNvGrpSpPr/>
            <p:nvPr/>
          </p:nvGrpSpPr>
          <p:grpSpPr>
            <a:xfrm>
              <a:off x="8184239" y="898770"/>
              <a:ext cx="538879" cy="180000"/>
              <a:chOff x="8262000" y="3576450"/>
              <a:chExt cx="538879" cy="180000"/>
            </a:xfrm>
          </p:grpSpPr>
          <p:pic>
            <p:nvPicPr>
              <p:cNvPr id="147" name="Picture 4" descr="C:\Users\PatrickE\Desktop\icons\STEERING_WHEEL_1024px_WHITE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62000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8" name="Picture 5" descr="C:\Users\PatrickE\Desktop\icons\CAR_NEW_MOBILITY_1024px_WHITE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34124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9" name="Picture 3" descr="C:\Users\PatrickE\Desktop\icons\SAFETY_1024px_WHITE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20879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50" name="Picture 2" descr="C:\Users\PatrickE\Desktop\icons\CONDUCTOR_PLATE_1024px_WHIT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8134" y="2422800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51" name="Gruppieren 150"/>
            <p:cNvGrpSpPr/>
            <p:nvPr/>
          </p:nvGrpSpPr>
          <p:grpSpPr>
            <a:xfrm>
              <a:off x="8268135" y="2425498"/>
              <a:ext cx="538879" cy="180000"/>
              <a:chOff x="8262000" y="3576450"/>
              <a:chExt cx="538879" cy="180000"/>
            </a:xfrm>
          </p:grpSpPr>
          <p:pic>
            <p:nvPicPr>
              <p:cNvPr id="152" name="Picture 4" descr="C:\Users\PatrickE\Desktop\icons\STEERING_WHEEL_1024px_WHITE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62000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3" name="Picture 5" descr="C:\Users\PatrickE\Desktop\icons\CAR_NEW_MOBILITY_1024px_WHITE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34124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4" name="Picture 3" descr="C:\Users\PatrickE\Desktop\icons\SAFETY_1024px_WHITE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20879" y="3576450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711330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Zástupný obsah 17">
            <a:extLst>
              <a:ext uri="{FF2B5EF4-FFF2-40B4-BE49-F238E27FC236}">
                <a16:creationId xmlns:a16="http://schemas.microsoft.com/office/drawing/2014/main" id="{27FDBEA9-B56B-4790-8049-DF219E5BF9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122" y="865195"/>
            <a:ext cx="6235333" cy="3780258"/>
          </a:xfrm>
          <a:noFill/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0ACC2F1-2662-41C0-AFF7-FC8B3CB48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F </a:t>
            </a:r>
            <a:r>
              <a:rPr lang="cs-CZ" dirty="0" err="1"/>
              <a:t>locations</a:t>
            </a:r>
            <a:r>
              <a:rPr lang="cs-CZ" dirty="0"/>
              <a:t> in </a:t>
            </a:r>
            <a:r>
              <a:rPr lang="cs-CZ" dirty="0" err="1"/>
              <a:t>the</a:t>
            </a:r>
            <a:r>
              <a:rPr lang="cs-CZ" dirty="0"/>
              <a:t> Czech Republic in 2021: 3614</a:t>
            </a:r>
            <a:r>
              <a:rPr lang="cs-CZ" dirty="0">
                <a:solidFill>
                  <a:srgbClr val="FF0000"/>
                </a:solidFill>
              </a:rPr>
              <a:t> </a:t>
            </a:r>
            <a:r>
              <a:rPr lang="cs-CZ" dirty="0" err="1"/>
              <a:t>employees</a:t>
            </a:r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0E37047-FC36-49EF-882C-909A8759E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2022-03-18 l DIWT l ZF Engineering </a:t>
            </a:r>
            <a:r>
              <a:rPr lang="nl-NL" dirty="0" err="1"/>
              <a:t>Plzeň</a:t>
            </a:r>
            <a:endParaRPr lang="de-DE" dirty="0" err="1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2C51F74E-FC22-47DE-8A3C-11F80482B795}"/>
              </a:ext>
            </a:extLst>
          </p:cNvPr>
          <p:cNvSpPr txBox="1"/>
          <p:nvPr/>
        </p:nvSpPr>
        <p:spPr>
          <a:xfrm>
            <a:off x="3125627" y="2341772"/>
            <a:ext cx="628532" cy="1538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</a:pPr>
            <a:r>
              <a:rPr lang="cs-CZ" sz="1000" kern="0" dirty="0">
                <a:solidFill>
                  <a:schemeClr val="bg1"/>
                </a:solidFill>
              </a:rPr>
              <a:t>Praha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322C081C-AA08-4928-9F47-8BF189C1C5E1}"/>
              </a:ext>
            </a:extLst>
          </p:cNvPr>
          <p:cNvSpPr txBox="1"/>
          <p:nvPr/>
        </p:nvSpPr>
        <p:spPr>
          <a:xfrm>
            <a:off x="4899961" y="3657547"/>
            <a:ext cx="628532" cy="1538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</a:pPr>
            <a:r>
              <a:rPr lang="cs-CZ" sz="1000" kern="0" dirty="0">
                <a:solidFill>
                  <a:schemeClr val="bg1"/>
                </a:solidFill>
              </a:rPr>
              <a:t>Brno</a:t>
            </a:r>
          </a:p>
        </p:txBody>
      </p:sp>
      <p:sp>
        <p:nvSpPr>
          <p:cNvPr id="29" name="TextovéPole 27">
            <a:extLst>
              <a:ext uri="{FF2B5EF4-FFF2-40B4-BE49-F238E27FC236}">
                <a16:creationId xmlns:a16="http://schemas.microsoft.com/office/drawing/2014/main" id="{A57983B9-698A-4DB5-87CB-3C967EF038D6}"/>
              </a:ext>
            </a:extLst>
          </p:cNvPr>
          <p:cNvSpPr txBox="1"/>
          <p:nvPr/>
        </p:nvSpPr>
        <p:spPr>
          <a:xfrm>
            <a:off x="837974" y="3871070"/>
            <a:ext cx="732405" cy="1538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</a:pPr>
            <a:r>
              <a:rPr lang="cs-CZ" sz="1000" kern="0" dirty="0">
                <a:solidFill>
                  <a:schemeClr val="bg1"/>
                </a:solidFill>
              </a:rPr>
              <a:t>GERMANY</a:t>
            </a:r>
            <a:endParaRPr lang="de-DE" sz="1000" kern="0" dirty="0">
              <a:solidFill>
                <a:schemeClr val="bg1"/>
              </a:solidFill>
            </a:endParaRPr>
          </a:p>
        </p:txBody>
      </p:sp>
      <p:sp>
        <p:nvSpPr>
          <p:cNvPr id="30" name="TextovéPole 27">
            <a:extLst>
              <a:ext uri="{FF2B5EF4-FFF2-40B4-BE49-F238E27FC236}">
                <a16:creationId xmlns:a16="http://schemas.microsoft.com/office/drawing/2014/main" id="{DF76888F-176B-4860-BEC1-98E49C1F19DA}"/>
              </a:ext>
            </a:extLst>
          </p:cNvPr>
          <p:cNvSpPr txBox="1"/>
          <p:nvPr/>
        </p:nvSpPr>
        <p:spPr>
          <a:xfrm>
            <a:off x="5658882" y="1077808"/>
            <a:ext cx="628532" cy="1538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</a:pPr>
            <a:r>
              <a:rPr lang="cs-CZ" sz="1000" kern="0" dirty="0">
                <a:solidFill>
                  <a:schemeClr val="bg1"/>
                </a:solidFill>
              </a:rPr>
              <a:t>POLAND</a:t>
            </a:r>
            <a:endParaRPr lang="de-DE" sz="1000" kern="0" dirty="0">
              <a:solidFill>
                <a:schemeClr val="bg1"/>
              </a:solidFill>
            </a:endParaRPr>
          </a:p>
        </p:txBody>
      </p:sp>
      <p:sp>
        <p:nvSpPr>
          <p:cNvPr id="31" name="TextovéPole 27">
            <a:extLst>
              <a:ext uri="{FF2B5EF4-FFF2-40B4-BE49-F238E27FC236}">
                <a16:creationId xmlns:a16="http://schemas.microsoft.com/office/drawing/2014/main" id="{0E952A71-393D-454A-89C7-2051BEB66DAE}"/>
              </a:ext>
            </a:extLst>
          </p:cNvPr>
          <p:cNvSpPr txBox="1"/>
          <p:nvPr/>
        </p:nvSpPr>
        <p:spPr>
          <a:xfrm>
            <a:off x="3668212" y="4278305"/>
            <a:ext cx="628532" cy="1538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</a:pPr>
            <a:r>
              <a:rPr lang="cs-CZ" sz="1000" kern="0" dirty="0">
                <a:solidFill>
                  <a:schemeClr val="bg1"/>
                </a:solidFill>
              </a:rPr>
              <a:t>AUSTRIA</a:t>
            </a:r>
            <a:endParaRPr lang="de-DE" sz="1000" kern="0" dirty="0">
              <a:solidFill>
                <a:schemeClr val="bg1"/>
              </a:solidFill>
            </a:endParaRPr>
          </a:p>
        </p:txBody>
      </p:sp>
      <p:sp>
        <p:nvSpPr>
          <p:cNvPr id="32" name="TextovéPole 27">
            <a:extLst>
              <a:ext uri="{FF2B5EF4-FFF2-40B4-BE49-F238E27FC236}">
                <a16:creationId xmlns:a16="http://schemas.microsoft.com/office/drawing/2014/main" id="{EB097572-137C-4506-9B46-7AA0DD468FE8}"/>
              </a:ext>
            </a:extLst>
          </p:cNvPr>
          <p:cNvSpPr txBox="1"/>
          <p:nvPr/>
        </p:nvSpPr>
        <p:spPr>
          <a:xfrm>
            <a:off x="6448458" y="4278305"/>
            <a:ext cx="731996" cy="1538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</a:pPr>
            <a:r>
              <a:rPr lang="cs-CZ" sz="1000" kern="0" dirty="0">
                <a:solidFill>
                  <a:schemeClr val="bg1"/>
                </a:solidFill>
              </a:rPr>
              <a:t>SLOVAKIA</a:t>
            </a:r>
            <a:endParaRPr lang="de-DE" sz="1000" kern="0" dirty="0">
              <a:solidFill>
                <a:schemeClr val="bg1"/>
              </a:solidFill>
            </a:endParaRPr>
          </a:p>
        </p:txBody>
      </p:sp>
      <p:sp>
        <p:nvSpPr>
          <p:cNvPr id="52" name="Rechteck 1343">
            <a:extLst>
              <a:ext uri="{FF2B5EF4-FFF2-40B4-BE49-F238E27FC236}">
                <a16:creationId xmlns:a16="http://schemas.microsoft.com/office/drawing/2014/main" id="{F7CCCB67-2D68-453F-A9B7-2B073BA6F91B}"/>
              </a:ext>
            </a:extLst>
          </p:cNvPr>
          <p:cNvSpPr/>
          <p:nvPr/>
        </p:nvSpPr>
        <p:spPr>
          <a:xfrm>
            <a:off x="97512" y="1605169"/>
            <a:ext cx="1994854" cy="349092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61" name="Textfeld 1345">
            <a:extLst>
              <a:ext uri="{FF2B5EF4-FFF2-40B4-BE49-F238E27FC236}">
                <a16:creationId xmlns:a16="http://schemas.microsoft.com/office/drawing/2014/main" id="{94B862EA-D44C-4540-B96C-7F1A886A32D0}"/>
              </a:ext>
            </a:extLst>
          </p:cNvPr>
          <p:cNvSpPr txBox="1"/>
          <p:nvPr/>
        </p:nvSpPr>
        <p:spPr>
          <a:xfrm>
            <a:off x="43555" y="1624180"/>
            <a:ext cx="1996424" cy="276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base">
              <a:spcAft>
                <a:spcPct val="0"/>
              </a:spcAft>
              <a:defRPr/>
            </a:pPr>
            <a:r>
              <a:rPr lang="cs-CZ" sz="900" b="1" dirty="0">
                <a:solidFill>
                  <a:schemeClr val="bg1"/>
                </a:solidFill>
                <a:latin typeface="+mj-lt"/>
              </a:rPr>
              <a:t>9 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ZF Electronics </a:t>
            </a:r>
            <a:r>
              <a:rPr lang="de-DE" sz="900" b="1" dirty="0" err="1">
                <a:solidFill>
                  <a:schemeClr val="bg1"/>
                </a:solidFill>
                <a:latin typeface="+mj-lt"/>
              </a:rPr>
              <a:t>Klášterec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900" b="1" dirty="0" err="1">
                <a:solidFill>
                  <a:schemeClr val="bg1"/>
                </a:solidFill>
                <a:latin typeface="+mj-lt"/>
              </a:rPr>
              <a:t>s.r.o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.</a:t>
            </a:r>
            <a:r>
              <a:rPr lang="cs-CZ" sz="900" b="1" dirty="0">
                <a:solidFill>
                  <a:schemeClr val="bg1"/>
                </a:solidFill>
                <a:latin typeface="+mj-lt"/>
              </a:rPr>
              <a:t> </a:t>
            </a:r>
            <a:endParaRPr lang="de-DE" sz="900" b="1" dirty="0">
              <a:solidFill>
                <a:schemeClr val="bg1"/>
              </a:solidFill>
              <a:latin typeface="+mj-lt"/>
            </a:endParaRPr>
          </a:p>
          <a:p>
            <a:pPr algn="r"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Klášterec nad Ohří</a:t>
            </a:r>
            <a:r>
              <a:rPr lang="en-US" sz="900" b="1" kern="0" dirty="0">
                <a:solidFill>
                  <a:schemeClr val="tx2"/>
                </a:solidFill>
                <a:latin typeface="+mj-lt"/>
              </a:rPr>
              <a:t> </a:t>
            </a:r>
          </a:p>
        </p:txBody>
      </p:sp>
      <p:sp>
        <p:nvSpPr>
          <p:cNvPr id="89" name="Rechteck 1343">
            <a:extLst>
              <a:ext uri="{FF2B5EF4-FFF2-40B4-BE49-F238E27FC236}">
                <a16:creationId xmlns:a16="http://schemas.microsoft.com/office/drawing/2014/main" id="{1B2D48AB-7C47-47B8-ABF9-C24093DE22B7}"/>
              </a:ext>
            </a:extLst>
          </p:cNvPr>
          <p:cNvSpPr/>
          <p:nvPr/>
        </p:nvSpPr>
        <p:spPr>
          <a:xfrm>
            <a:off x="276730" y="1087325"/>
            <a:ext cx="2101199" cy="348472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91" name="Textfeld 1345">
            <a:extLst>
              <a:ext uri="{FF2B5EF4-FFF2-40B4-BE49-F238E27FC236}">
                <a16:creationId xmlns:a16="http://schemas.microsoft.com/office/drawing/2014/main" id="{B13A9D32-7525-4774-B7FF-E39909E87DE8}"/>
              </a:ext>
            </a:extLst>
          </p:cNvPr>
          <p:cNvSpPr txBox="1"/>
          <p:nvPr/>
        </p:nvSpPr>
        <p:spPr>
          <a:xfrm>
            <a:off x="349140" y="1104186"/>
            <a:ext cx="1956381" cy="276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base">
              <a:spcAft>
                <a:spcPct val="0"/>
              </a:spcAft>
              <a:defRPr/>
            </a:pP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8 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ZF Chassis Systems </a:t>
            </a:r>
            <a:r>
              <a:rPr lang="cs-CZ" sz="900" b="1" dirty="0">
                <a:solidFill>
                  <a:schemeClr val="bg1"/>
                </a:solidFill>
                <a:latin typeface="+mj-lt"/>
              </a:rPr>
              <a:t>Ž</a:t>
            </a:r>
            <a:r>
              <a:rPr lang="de-DE" sz="900" b="1" dirty="0" err="1">
                <a:solidFill>
                  <a:schemeClr val="bg1"/>
                </a:solidFill>
                <a:latin typeface="+mj-lt"/>
              </a:rPr>
              <a:t>atec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900" b="1" dirty="0" err="1">
                <a:solidFill>
                  <a:schemeClr val="bg1"/>
                </a:solidFill>
                <a:latin typeface="+mj-lt"/>
              </a:rPr>
              <a:t>s.r.o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.</a:t>
            </a:r>
            <a:r>
              <a:rPr lang="cs-CZ" sz="900" b="1" dirty="0">
                <a:solidFill>
                  <a:schemeClr val="bg1"/>
                </a:solidFill>
                <a:latin typeface="+mj-lt"/>
              </a:rPr>
              <a:t> </a:t>
            </a:r>
            <a:endParaRPr lang="de-DE" sz="900" b="1">
              <a:solidFill>
                <a:schemeClr val="bg1"/>
              </a:solidFill>
              <a:latin typeface="+mj-lt"/>
            </a:endParaRPr>
          </a:p>
          <a:p>
            <a:pPr algn="r"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Žatec</a:t>
            </a:r>
            <a:r>
              <a:rPr lang="en-US" sz="900" b="1" kern="0" dirty="0">
                <a:solidFill>
                  <a:srgbClr val="FFFFFF"/>
                </a:solidFill>
                <a:latin typeface="+mj-lt"/>
              </a:rPr>
              <a:t> </a:t>
            </a:r>
          </a:p>
        </p:txBody>
      </p:sp>
      <p:sp>
        <p:nvSpPr>
          <p:cNvPr id="45" name="Rechteck 1343">
            <a:extLst>
              <a:ext uri="{FF2B5EF4-FFF2-40B4-BE49-F238E27FC236}">
                <a16:creationId xmlns:a16="http://schemas.microsoft.com/office/drawing/2014/main" id="{943FC9A6-E80A-45EE-ADC1-4B1E90695B11}"/>
              </a:ext>
            </a:extLst>
          </p:cNvPr>
          <p:cNvSpPr/>
          <p:nvPr/>
        </p:nvSpPr>
        <p:spPr>
          <a:xfrm>
            <a:off x="451361" y="2474573"/>
            <a:ext cx="1816843" cy="502406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49" name="Textfeld 1345">
            <a:extLst>
              <a:ext uri="{FF2B5EF4-FFF2-40B4-BE49-F238E27FC236}">
                <a16:creationId xmlns:a16="http://schemas.microsoft.com/office/drawing/2014/main" id="{74E1C9F8-2405-4EF5-BB31-9BAC17BB3A35}"/>
              </a:ext>
            </a:extLst>
          </p:cNvPr>
          <p:cNvSpPr txBox="1"/>
          <p:nvPr/>
        </p:nvSpPr>
        <p:spPr>
          <a:xfrm>
            <a:off x="451360" y="2493584"/>
            <a:ext cx="1764456" cy="553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base">
              <a:spcAft>
                <a:spcPct val="0"/>
              </a:spcAft>
              <a:defRPr/>
            </a:pPr>
            <a:r>
              <a:rPr lang="cs-CZ" sz="900" b="1" dirty="0">
                <a:solidFill>
                  <a:schemeClr val="bg1"/>
                </a:solidFill>
                <a:latin typeface="+mj-lt"/>
              </a:rPr>
              <a:t>1 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ZF E</a:t>
            </a:r>
            <a:r>
              <a:rPr lang="cs-CZ" sz="900" b="1" dirty="0" err="1">
                <a:solidFill>
                  <a:schemeClr val="bg1"/>
                </a:solidFill>
                <a:latin typeface="+mj-lt"/>
              </a:rPr>
              <a:t>ngineering</a:t>
            </a:r>
            <a:r>
              <a:rPr lang="cs-CZ" sz="900" b="1" dirty="0">
                <a:solidFill>
                  <a:schemeClr val="bg1"/>
                </a:solidFill>
                <a:latin typeface="+mj-lt"/>
              </a:rPr>
              <a:t> Plzeň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900" b="1" dirty="0" err="1">
                <a:solidFill>
                  <a:schemeClr val="bg1"/>
                </a:solidFill>
                <a:latin typeface="+mj-lt"/>
              </a:rPr>
              <a:t>s.r.o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.</a:t>
            </a:r>
            <a:endParaRPr lang="cs-CZ" sz="900" b="1">
              <a:solidFill>
                <a:schemeClr val="bg1"/>
              </a:solidFill>
              <a:latin typeface="+mj-lt"/>
            </a:endParaRPr>
          </a:p>
          <a:p>
            <a:pPr algn="r" fontAlgn="base">
              <a:spcAft>
                <a:spcPct val="0"/>
              </a:spcAft>
              <a:defRPr/>
            </a:pP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3 ZF </a:t>
            </a:r>
            <a:r>
              <a:rPr lang="cs-CZ" sz="900" b="1" kern="0" dirty="0" err="1">
                <a:solidFill>
                  <a:schemeClr val="bg1"/>
                </a:solidFill>
                <a:latin typeface="+mj-lt"/>
              </a:rPr>
              <a:t>Openmatics</a:t>
            </a: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 s.r.o.</a:t>
            </a:r>
          </a:p>
          <a:p>
            <a:pPr algn="r" fontAlgn="base">
              <a:spcAft>
                <a:spcPct val="0"/>
              </a:spcAft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Plzeň</a:t>
            </a:r>
            <a:r>
              <a:rPr lang="en-US" sz="900" b="1" kern="0" dirty="0">
                <a:solidFill>
                  <a:schemeClr val="tx2"/>
                </a:solidFill>
                <a:latin typeface="+mj-lt"/>
              </a:rPr>
              <a:t> </a:t>
            </a:r>
          </a:p>
          <a:p>
            <a:pPr algn="r" fontAlgn="base">
              <a:spcAft>
                <a:spcPct val="0"/>
              </a:spcAft>
              <a:defRPr/>
            </a:pPr>
            <a:r>
              <a:rPr lang="cs-CZ" sz="900" b="1">
                <a:solidFill>
                  <a:schemeClr val="bg1"/>
                </a:solidFill>
                <a:latin typeface="+mj-lt"/>
              </a:rPr>
              <a:t> </a:t>
            </a:r>
            <a:r>
              <a:rPr lang="en-US" sz="900" b="1" kern="0">
                <a:solidFill>
                  <a:schemeClr val="tx2"/>
                </a:solidFill>
                <a:latin typeface="+mj-lt"/>
              </a:rPr>
              <a:t> </a:t>
            </a:r>
          </a:p>
        </p:txBody>
      </p:sp>
      <p:sp>
        <p:nvSpPr>
          <p:cNvPr id="50" name="Rechteck 1355">
            <a:extLst>
              <a:ext uri="{FF2B5EF4-FFF2-40B4-BE49-F238E27FC236}">
                <a16:creationId xmlns:a16="http://schemas.microsoft.com/office/drawing/2014/main" id="{DB26194E-E345-4620-B1E0-F88856195C9E}"/>
              </a:ext>
            </a:extLst>
          </p:cNvPr>
          <p:cNvSpPr/>
          <p:nvPr/>
        </p:nvSpPr>
        <p:spPr>
          <a:xfrm>
            <a:off x="5756556" y="3075979"/>
            <a:ext cx="1816841" cy="349092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57" name="Textfeld 1357">
            <a:extLst>
              <a:ext uri="{FF2B5EF4-FFF2-40B4-BE49-F238E27FC236}">
                <a16:creationId xmlns:a16="http://schemas.microsoft.com/office/drawing/2014/main" id="{045AC11D-E57A-4CDD-8DBE-BC9C0568FA69}"/>
              </a:ext>
            </a:extLst>
          </p:cNvPr>
          <p:cNvSpPr txBox="1"/>
          <p:nvPr/>
        </p:nvSpPr>
        <p:spPr>
          <a:xfrm>
            <a:off x="5811379" y="3106864"/>
            <a:ext cx="1664344" cy="276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2 ZF Engineering Plzeň s.r.o.</a:t>
            </a:r>
          </a:p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Zlín</a:t>
            </a:r>
            <a:endParaRPr lang="en-US" sz="900" b="1" kern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6" name="Rechteck 1343">
            <a:extLst>
              <a:ext uri="{FF2B5EF4-FFF2-40B4-BE49-F238E27FC236}">
                <a16:creationId xmlns:a16="http://schemas.microsoft.com/office/drawing/2014/main" id="{8A9895FA-4B3F-45FB-924C-D892D82BE38A}"/>
              </a:ext>
            </a:extLst>
          </p:cNvPr>
          <p:cNvSpPr/>
          <p:nvPr/>
        </p:nvSpPr>
        <p:spPr>
          <a:xfrm>
            <a:off x="649853" y="3113715"/>
            <a:ext cx="1236251" cy="349600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78" name="Textfeld 1345">
            <a:extLst>
              <a:ext uri="{FF2B5EF4-FFF2-40B4-BE49-F238E27FC236}">
                <a16:creationId xmlns:a16="http://schemas.microsoft.com/office/drawing/2014/main" id="{76714CD9-301C-4597-835D-19CFF4FB836B}"/>
              </a:ext>
            </a:extLst>
          </p:cNvPr>
          <p:cNvSpPr txBox="1"/>
          <p:nvPr/>
        </p:nvSpPr>
        <p:spPr>
          <a:xfrm>
            <a:off x="737992" y="3117848"/>
            <a:ext cx="1095724" cy="4153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base">
              <a:spcAft>
                <a:spcPct val="0"/>
              </a:spcAft>
              <a:defRPr/>
            </a:pPr>
            <a:r>
              <a:rPr lang="cs-CZ" sz="900" b="1" dirty="0">
                <a:solidFill>
                  <a:schemeClr val="bg1"/>
                </a:solidFill>
                <a:latin typeface="+mj-lt"/>
              </a:rPr>
              <a:t>4 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ZF </a:t>
            </a:r>
            <a:r>
              <a:rPr lang="cs-CZ" sz="900" b="1" dirty="0">
                <a:solidFill>
                  <a:schemeClr val="bg1"/>
                </a:solidFill>
                <a:latin typeface="+mj-lt"/>
              </a:rPr>
              <a:t>Staňkov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900" b="1" dirty="0" err="1">
                <a:solidFill>
                  <a:schemeClr val="bg1"/>
                </a:solidFill>
                <a:latin typeface="+mj-lt"/>
              </a:rPr>
              <a:t>s.r.o</a:t>
            </a:r>
            <a:r>
              <a:rPr lang="de-DE" sz="900" b="1" dirty="0">
                <a:solidFill>
                  <a:schemeClr val="bg1"/>
                </a:solidFill>
                <a:latin typeface="+mj-lt"/>
              </a:rPr>
              <a:t>.</a:t>
            </a:r>
            <a:endParaRPr lang="cs-CZ" sz="900" b="1">
              <a:solidFill>
                <a:schemeClr val="bg1"/>
              </a:solidFill>
              <a:latin typeface="+mj-lt"/>
            </a:endParaRPr>
          </a:p>
          <a:p>
            <a:pPr algn="r" fontAlgn="base">
              <a:spcAft>
                <a:spcPct val="0"/>
              </a:spcAft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Staňkov</a:t>
            </a:r>
            <a:r>
              <a:rPr lang="en-US" sz="900" b="1" kern="0" dirty="0">
                <a:solidFill>
                  <a:schemeClr val="tx2"/>
                </a:solidFill>
                <a:latin typeface="+mj-lt"/>
              </a:rPr>
              <a:t> </a:t>
            </a:r>
          </a:p>
          <a:p>
            <a:pPr algn="r" fontAlgn="base">
              <a:spcAft>
                <a:spcPct val="0"/>
              </a:spcAft>
              <a:defRPr/>
            </a:pPr>
            <a:r>
              <a:rPr lang="cs-CZ" sz="900" b="1">
                <a:solidFill>
                  <a:schemeClr val="bg1"/>
                </a:solidFill>
                <a:latin typeface="+mj-lt"/>
              </a:rPr>
              <a:t> </a:t>
            </a:r>
            <a:r>
              <a:rPr lang="en-US" sz="900" b="1" kern="0">
                <a:solidFill>
                  <a:schemeClr val="tx2"/>
                </a:solidFill>
                <a:latin typeface="+mj-lt"/>
              </a:rPr>
              <a:t> </a:t>
            </a:r>
          </a:p>
        </p:txBody>
      </p:sp>
      <p:sp>
        <p:nvSpPr>
          <p:cNvPr id="79" name="Rechteck 1355">
            <a:extLst>
              <a:ext uri="{FF2B5EF4-FFF2-40B4-BE49-F238E27FC236}">
                <a16:creationId xmlns:a16="http://schemas.microsoft.com/office/drawing/2014/main" id="{2D5F4B83-9039-427B-A96C-E5B0B70DCCDA}"/>
              </a:ext>
            </a:extLst>
          </p:cNvPr>
          <p:cNvSpPr/>
          <p:nvPr/>
        </p:nvSpPr>
        <p:spPr>
          <a:xfrm>
            <a:off x="3549660" y="2251938"/>
            <a:ext cx="1816841" cy="349092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81" name="Textfeld 1357">
            <a:extLst>
              <a:ext uri="{FF2B5EF4-FFF2-40B4-BE49-F238E27FC236}">
                <a16:creationId xmlns:a16="http://schemas.microsoft.com/office/drawing/2014/main" id="{D405D078-DEDE-4F9E-9289-486CB2D5E5B4}"/>
              </a:ext>
            </a:extLst>
          </p:cNvPr>
          <p:cNvSpPr txBox="1"/>
          <p:nvPr/>
        </p:nvSpPr>
        <p:spPr>
          <a:xfrm>
            <a:off x="3625908" y="2282823"/>
            <a:ext cx="1902585" cy="276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7 ZF </a:t>
            </a:r>
            <a:r>
              <a:rPr lang="cs-CZ" sz="900" b="1" kern="0" dirty="0" err="1">
                <a:solidFill>
                  <a:schemeClr val="bg1"/>
                </a:solidFill>
                <a:latin typeface="+mj-lt"/>
              </a:rPr>
              <a:t>Passive</a:t>
            </a: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 </a:t>
            </a:r>
            <a:r>
              <a:rPr lang="cs-CZ" sz="900" b="1" kern="0" dirty="0" err="1">
                <a:solidFill>
                  <a:schemeClr val="bg1"/>
                </a:solidFill>
                <a:latin typeface="+mj-lt"/>
              </a:rPr>
              <a:t>Safety</a:t>
            </a: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 Czech s.r.o.</a:t>
            </a:r>
          </a:p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Stará Boleslav</a:t>
            </a:r>
            <a:endParaRPr lang="en-US" sz="900" b="1" kern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2" name="Rechteck 1355">
            <a:extLst>
              <a:ext uri="{FF2B5EF4-FFF2-40B4-BE49-F238E27FC236}">
                <a16:creationId xmlns:a16="http://schemas.microsoft.com/office/drawing/2014/main" id="{7E26D409-9183-438E-9253-489E30771A62}"/>
              </a:ext>
            </a:extLst>
          </p:cNvPr>
          <p:cNvSpPr/>
          <p:nvPr/>
        </p:nvSpPr>
        <p:spPr>
          <a:xfrm>
            <a:off x="3918289" y="1593294"/>
            <a:ext cx="1816841" cy="349092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84" name="Textfeld 1357">
            <a:extLst>
              <a:ext uri="{FF2B5EF4-FFF2-40B4-BE49-F238E27FC236}">
                <a16:creationId xmlns:a16="http://schemas.microsoft.com/office/drawing/2014/main" id="{65F9D8FF-CE10-4443-BE41-43EBFA5C2A70}"/>
              </a:ext>
            </a:extLst>
          </p:cNvPr>
          <p:cNvSpPr txBox="1"/>
          <p:nvPr/>
        </p:nvSpPr>
        <p:spPr>
          <a:xfrm>
            <a:off x="3994537" y="1624180"/>
            <a:ext cx="1664344" cy="276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6 ZF </a:t>
            </a:r>
            <a:r>
              <a:rPr lang="cs-CZ" sz="900" b="1" kern="0" dirty="0" err="1">
                <a:solidFill>
                  <a:schemeClr val="bg1"/>
                </a:solidFill>
                <a:latin typeface="+mj-lt"/>
              </a:rPr>
              <a:t>Automotive</a:t>
            </a: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 Czech s.r.o.</a:t>
            </a:r>
          </a:p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Jablonec nad Nisou</a:t>
            </a:r>
            <a:endParaRPr lang="en-US" sz="900" b="1" kern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5" name="Rechteck 1355">
            <a:extLst>
              <a:ext uri="{FF2B5EF4-FFF2-40B4-BE49-F238E27FC236}">
                <a16:creationId xmlns:a16="http://schemas.microsoft.com/office/drawing/2014/main" id="{86964009-F17A-412C-9A85-663AF9725244}"/>
              </a:ext>
            </a:extLst>
          </p:cNvPr>
          <p:cNvSpPr/>
          <p:nvPr/>
        </p:nvSpPr>
        <p:spPr>
          <a:xfrm>
            <a:off x="3718793" y="815398"/>
            <a:ext cx="1816841" cy="349092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87" name="Textfeld 1357">
            <a:extLst>
              <a:ext uri="{FF2B5EF4-FFF2-40B4-BE49-F238E27FC236}">
                <a16:creationId xmlns:a16="http://schemas.microsoft.com/office/drawing/2014/main" id="{0083B4A2-F9E2-423A-B68B-0BE72825E878}"/>
              </a:ext>
            </a:extLst>
          </p:cNvPr>
          <p:cNvSpPr txBox="1"/>
          <p:nvPr/>
        </p:nvSpPr>
        <p:spPr>
          <a:xfrm>
            <a:off x="3787900" y="846284"/>
            <a:ext cx="1664344" cy="276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5 ZF </a:t>
            </a:r>
            <a:r>
              <a:rPr lang="cs-CZ" sz="900" b="1" kern="0" dirty="0" err="1">
                <a:solidFill>
                  <a:schemeClr val="bg1"/>
                </a:solidFill>
                <a:latin typeface="+mj-lt"/>
              </a:rPr>
              <a:t>Automotive</a:t>
            </a: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 Czech s.r.o. </a:t>
            </a:r>
          </a:p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Frýdlant</a:t>
            </a:r>
            <a:endParaRPr lang="en-US" sz="900" b="1" kern="0" dirty="0">
              <a:solidFill>
                <a:schemeClr val="tx2"/>
              </a:solidFill>
              <a:latin typeface="+mj-lt"/>
            </a:endParaRPr>
          </a:p>
        </p:txBody>
      </p:sp>
      <p:graphicFrame>
        <p:nvGraphicFramePr>
          <p:cNvPr id="65" name="Table 9">
            <a:extLst>
              <a:ext uri="{FF2B5EF4-FFF2-40B4-BE49-F238E27FC236}">
                <a16:creationId xmlns:a16="http://schemas.microsoft.com/office/drawing/2014/main" id="{4D9812AB-CF7D-47D3-AA2B-57709ECD1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7895907"/>
              </p:ext>
            </p:extLst>
          </p:nvPr>
        </p:nvGraphicFramePr>
        <p:xfrm>
          <a:off x="6858399" y="696597"/>
          <a:ext cx="1947878" cy="2253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285">
                  <a:extLst>
                    <a:ext uri="{9D8B030D-6E8A-4147-A177-3AD203B41FA5}">
                      <a16:colId xmlns:a16="http://schemas.microsoft.com/office/drawing/2014/main" val="1043125807"/>
                    </a:ext>
                  </a:extLst>
                </a:gridCol>
                <a:gridCol w="1727593">
                  <a:extLst>
                    <a:ext uri="{9D8B030D-6E8A-4147-A177-3AD203B41FA5}">
                      <a16:colId xmlns:a16="http://schemas.microsoft.com/office/drawing/2014/main" val="1256851373"/>
                    </a:ext>
                  </a:extLst>
                </a:gridCol>
              </a:tblGrid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1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ech Center Czech (R&amp;D)</a:t>
                      </a:r>
                      <a:endParaRPr lang="cs-CZ" sz="700" b="1" u="none" strike="noStrike" baseline="0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1931408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2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u="none" strike="noStrike" noProof="0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j-lt"/>
                        </a:rPr>
                        <a:t>Tech Center Czech (SW Development)</a:t>
                      </a:r>
                      <a:endParaRPr lang="en-US" sz="700" b="1" i="0" u="none" strike="noStrike" noProof="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0773520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3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1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nnectivity</a:t>
                      </a:r>
                      <a:r>
                        <a:rPr lang="cs-CZ" sz="700" b="1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cs-CZ" sz="700" b="1" u="none" strike="noStrike" baseline="0" noProof="0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olutions</a:t>
                      </a:r>
                      <a:endParaRPr lang="en-US" sz="700" b="1" i="0" u="none" strike="noStrike" noProof="0" dirty="0" err="1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8739959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4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ndustry products assembly</a:t>
                      </a:r>
                      <a:endParaRPr lang="en-US" sz="700" b="1" i="0" u="none" strike="noStrike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6120113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5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ftermarket products production</a:t>
                      </a:r>
                      <a:endParaRPr lang="en-US" sz="700" b="1" i="0" u="none" strike="noStrike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0956703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6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rakes Production &amp; Engineering</a:t>
                      </a:r>
                      <a:endParaRPr lang="en-US" sz="700" b="1" i="0" u="none" strike="noStrike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785736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7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ccupant Safety Systems</a:t>
                      </a:r>
                      <a:r>
                        <a:rPr lang="en-US" sz="700" b="1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Production</a:t>
                      </a:r>
                      <a:endParaRPr lang="en-US" sz="700" b="1" i="0" u="none" strike="noStrike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8715241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8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rner modules Assembly</a:t>
                      </a:r>
                      <a:endParaRPr lang="en-US" sz="700" b="1" i="0" u="none" strike="noStrike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598176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9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lectronic Systems Production</a:t>
                      </a:r>
                      <a:endParaRPr lang="en-US" sz="700" b="1" i="0" u="none" strike="noStrike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3581043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10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VS office</a:t>
                      </a:r>
                      <a:endParaRPr lang="en-US" sz="700" b="1" i="0" u="none" strike="noStrike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612628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r>
                        <a:rPr lang="cs-CZ" sz="700" b="1" dirty="0">
                          <a:solidFill>
                            <a:schemeClr val="bg1"/>
                          </a:solidFill>
                          <a:latin typeface="+mj-lt"/>
                          <a:ea typeface="Tahoma"/>
                          <a:cs typeface="Tahoma"/>
                        </a:rPr>
                        <a:t>11.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j-lt"/>
                        <a:ea typeface="Tahoma"/>
                        <a:cs typeface="Tahoma"/>
                      </a:endParaRPr>
                    </a:p>
                  </a:txBody>
                  <a:tcPr marL="17994" marR="45706" marT="45706" marB="45706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VS office</a:t>
                      </a:r>
                      <a:endParaRPr lang="en-US" sz="700" b="1" i="0" u="none" strike="noStrike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7994" marR="9522" marT="9522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5104340"/>
                  </a:ext>
                </a:extLst>
              </a:tr>
            </a:tbl>
          </a:graphicData>
        </a:graphic>
      </p:graphicFrame>
      <p:cxnSp>
        <p:nvCxnSpPr>
          <p:cNvPr id="43" name="Verbinder: gewinkelt 1344">
            <a:extLst>
              <a:ext uri="{FF2B5EF4-FFF2-40B4-BE49-F238E27FC236}">
                <a16:creationId xmlns:a16="http://schemas.microsoft.com/office/drawing/2014/main" id="{4CC6C3DC-18F6-44D9-B9C7-58AD807CE0BE}"/>
              </a:ext>
            </a:extLst>
          </p:cNvPr>
          <p:cNvCxnSpPr>
            <a:cxnSpLocks/>
          </p:cNvCxnSpPr>
          <p:nvPr/>
        </p:nvCxnSpPr>
        <p:spPr>
          <a:xfrm flipV="1">
            <a:off x="649853" y="3109697"/>
            <a:ext cx="1390126" cy="1793"/>
          </a:xfrm>
          <a:prstGeom prst="bentConnector3">
            <a:avLst>
              <a:gd name="adj1" fmla="val 50000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cxnSp>
        <p:nvCxnSpPr>
          <p:cNvPr id="58" name="Verbinder: gewinkelt 1344">
            <a:extLst>
              <a:ext uri="{FF2B5EF4-FFF2-40B4-BE49-F238E27FC236}">
                <a16:creationId xmlns:a16="http://schemas.microsoft.com/office/drawing/2014/main" id="{2A48F6A9-A42D-4694-B01F-3099A1D417E1}"/>
              </a:ext>
            </a:extLst>
          </p:cNvPr>
          <p:cNvCxnSpPr>
            <a:cxnSpLocks/>
          </p:cNvCxnSpPr>
          <p:nvPr/>
        </p:nvCxnSpPr>
        <p:spPr>
          <a:xfrm>
            <a:off x="451359" y="2472349"/>
            <a:ext cx="1814693" cy="554426"/>
          </a:xfrm>
          <a:prstGeom prst="bentConnector3">
            <a:avLst>
              <a:gd name="adj1" fmla="val 99192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cxnSp>
        <p:nvCxnSpPr>
          <p:cNvPr id="88" name="Verbinder: gewinkelt 1344">
            <a:extLst>
              <a:ext uri="{FF2B5EF4-FFF2-40B4-BE49-F238E27FC236}">
                <a16:creationId xmlns:a16="http://schemas.microsoft.com/office/drawing/2014/main" id="{659C7383-21FC-4E30-8864-392649CBBC32}"/>
              </a:ext>
            </a:extLst>
          </p:cNvPr>
          <p:cNvCxnSpPr>
            <a:cxnSpLocks/>
          </p:cNvCxnSpPr>
          <p:nvPr/>
        </p:nvCxnSpPr>
        <p:spPr>
          <a:xfrm>
            <a:off x="115578" y="1603516"/>
            <a:ext cx="1976789" cy="350746"/>
          </a:xfrm>
          <a:prstGeom prst="bentConnector3">
            <a:avLst>
              <a:gd name="adj1" fmla="val 100578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cxnSp>
        <p:nvCxnSpPr>
          <p:cNvPr id="92" name="Verbinder: gewinkelt 1344">
            <a:extLst>
              <a:ext uri="{FF2B5EF4-FFF2-40B4-BE49-F238E27FC236}">
                <a16:creationId xmlns:a16="http://schemas.microsoft.com/office/drawing/2014/main" id="{04D40D1C-AE9E-4FAE-804D-157D697DDFB0}"/>
              </a:ext>
            </a:extLst>
          </p:cNvPr>
          <p:cNvCxnSpPr>
            <a:cxnSpLocks/>
          </p:cNvCxnSpPr>
          <p:nvPr/>
        </p:nvCxnSpPr>
        <p:spPr>
          <a:xfrm>
            <a:off x="276730" y="1087326"/>
            <a:ext cx="2122625" cy="975622"/>
          </a:xfrm>
          <a:prstGeom prst="bentConnector3">
            <a:avLst>
              <a:gd name="adj1" fmla="val 98785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cxnSp>
        <p:nvCxnSpPr>
          <p:cNvPr id="93" name="Verbinder: gewinkelt 1356">
            <a:extLst>
              <a:ext uri="{FF2B5EF4-FFF2-40B4-BE49-F238E27FC236}">
                <a16:creationId xmlns:a16="http://schemas.microsoft.com/office/drawing/2014/main" id="{FDA0B442-E419-4695-A07F-19D9AD283874}"/>
              </a:ext>
            </a:extLst>
          </p:cNvPr>
          <p:cNvCxnSpPr>
            <a:cxnSpLocks/>
          </p:cNvCxnSpPr>
          <p:nvPr/>
        </p:nvCxnSpPr>
        <p:spPr>
          <a:xfrm rot="10800000" flipV="1">
            <a:off x="3711653" y="796722"/>
            <a:ext cx="1815909" cy="531134"/>
          </a:xfrm>
          <a:prstGeom prst="bentConnector3">
            <a:avLst>
              <a:gd name="adj1" fmla="val 100339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cxnSp>
        <p:nvCxnSpPr>
          <p:cNvPr id="105" name="Verbinder: gewinkelt 1344">
            <a:extLst>
              <a:ext uri="{FF2B5EF4-FFF2-40B4-BE49-F238E27FC236}">
                <a16:creationId xmlns:a16="http://schemas.microsoft.com/office/drawing/2014/main" id="{D28870AC-CE85-4773-8D89-69C8C2DEDB60}"/>
              </a:ext>
            </a:extLst>
          </p:cNvPr>
          <p:cNvCxnSpPr>
            <a:cxnSpLocks/>
          </p:cNvCxnSpPr>
          <p:nvPr/>
        </p:nvCxnSpPr>
        <p:spPr>
          <a:xfrm rot="10800000">
            <a:off x="3409100" y="2247642"/>
            <a:ext cx="2043146" cy="2863"/>
          </a:xfrm>
          <a:prstGeom prst="bentConnector3">
            <a:avLst>
              <a:gd name="adj1" fmla="val 50000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cxnSp>
        <p:nvCxnSpPr>
          <p:cNvPr id="108" name="Verbinder: gewinkelt 1344">
            <a:extLst>
              <a:ext uri="{FF2B5EF4-FFF2-40B4-BE49-F238E27FC236}">
                <a16:creationId xmlns:a16="http://schemas.microsoft.com/office/drawing/2014/main" id="{66808B5F-BDF3-4145-96AB-D78CEAEA1390}"/>
              </a:ext>
            </a:extLst>
          </p:cNvPr>
          <p:cNvCxnSpPr>
            <a:cxnSpLocks/>
          </p:cNvCxnSpPr>
          <p:nvPr/>
        </p:nvCxnSpPr>
        <p:spPr>
          <a:xfrm rot="10800000">
            <a:off x="3752071" y="1580091"/>
            <a:ext cx="1959290" cy="1432"/>
          </a:xfrm>
          <a:prstGeom prst="bentConnector3">
            <a:avLst>
              <a:gd name="adj1" fmla="val 50000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cxnSp>
        <p:nvCxnSpPr>
          <p:cNvPr id="110" name="Verbinder: gewinkelt 1356">
            <a:extLst>
              <a:ext uri="{FF2B5EF4-FFF2-40B4-BE49-F238E27FC236}">
                <a16:creationId xmlns:a16="http://schemas.microsoft.com/office/drawing/2014/main" id="{5F1EC011-C44B-48E6-9B12-ACBB8AFBFDBE}"/>
              </a:ext>
            </a:extLst>
          </p:cNvPr>
          <p:cNvCxnSpPr>
            <a:cxnSpLocks/>
          </p:cNvCxnSpPr>
          <p:nvPr/>
        </p:nvCxnSpPr>
        <p:spPr>
          <a:xfrm rot="10800000" flipV="1">
            <a:off x="5756555" y="3072760"/>
            <a:ext cx="1806109" cy="460458"/>
          </a:xfrm>
          <a:prstGeom prst="bentConnector3">
            <a:avLst>
              <a:gd name="adj1" fmla="val 101008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sp>
        <p:nvSpPr>
          <p:cNvPr id="36" name="Rechteck 1355">
            <a:extLst>
              <a:ext uri="{FF2B5EF4-FFF2-40B4-BE49-F238E27FC236}">
                <a16:creationId xmlns:a16="http://schemas.microsoft.com/office/drawing/2014/main" id="{84A802F9-FA36-4500-928A-00ED95B431C6}"/>
              </a:ext>
            </a:extLst>
          </p:cNvPr>
          <p:cNvSpPr/>
          <p:nvPr/>
        </p:nvSpPr>
        <p:spPr>
          <a:xfrm>
            <a:off x="3191942" y="2790296"/>
            <a:ext cx="973431" cy="349092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37" name="Textfeld 1357">
            <a:extLst>
              <a:ext uri="{FF2B5EF4-FFF2-40B4-BE49-F238E27FC236}">
                <a16:creationId xmlns:a16="http://schemas.microsoft.com/office/drawing/2014/main" id="{80B830A0-FCD7-4147-A1CD-28C224B0AE7E}"/>
              </a:ext>
            </a:extLst>
          </p:cNvPr>
          <p:cNvSpPr txBox="1"/>
          <p:nvPr/>
        </p:nvSpPr>
        <p:spPr>
          <a:xfrm>
            <a:off x="3211058" y="2821181"/>
            <a:ext cx="1664344" cy="276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 10 CVS office</a:t>
            </a:r>
          </a:p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 Praha</a:t>
            </a:r>
            <a:endParaRPr lang="en-US" sz="900" b="1" kern="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38" name="Verbinder: gewinkelt 1356">
            <a:extLst>
              <a:ext uri="{FF2B5EF4-FFF2-40B4-BE49-F238E27FC236}">
                <a16:creationId xmlns:a16="http://schemas.microsoft.com/office/drawing/2014/main" id="{B9E175D9-F35F-4489-915F-863F7D6FA659}"/>
              </a:ext>
            </a:extLst>
          </p:cNvPr>
          <p:cNvCxnSpPr>
            <a:cxnSpLocks/>
          </p:cNvCxnSpPr>
          <p:nvPr/>
        </p:nvCxnSpPr>
        <p:spPr>
          <a:xfrm rot="10800000">
            <a:off x="3190704" y="2545415"/>
            <a:ext cx="954313" cy="592182"/>
          </a:xfrm>
          <a:prstGeom prst="bentConnector3">
            <a:avLst>
              <a:gd name="adj1" fmla="val 99391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sp>
        <p:nvSpPr>
          <p:cNvPr id="53" name="Rechteck 1355">
            <a:extLst>
              <a:ext uri="{FF2B5EF4-FFF2-40B4-BE49-F238E27FC236}">
                <a16:creationId xmlns:a16="http://schemas.microsoft.com/office/drawing/2014/main" id="{4A0C0622-8BE2-4C72-AED4-B47D5F9E76FC}"/>
              </a:ext>
            </a:extLst>
          </p:cNvPr>
          <p:cNvSpPr/>
          <p:nvPr/>
        </p:nvSpPr>
        <p:spPr>
          <a:xfrm>
            <a:off x="5226147" y="3861184"/>
            <a:ext cx="1075550" cy="349092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72" tIns="89972" rIns="89972" bIns="89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26">
              <a:spcBef>
                <a:spcPts val="0"/>
              </a:spcBef>
              <a:defRPr/>
            </a:pPr>
            <a:endParaRPr lang="en-US" sz="1200" kern="0" err="1">
              <a:solidFill>
                <a:srgbClr val="0000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54" name="Textfeld 1357">
            <a:extLst>
              <a:ext uri="{FF2B5EF4-FFF2-40B4-BE49-F238E27FC236}">
                <a16:creationId xmlns:a16="http://schemas.microsoft.com/office/drawing/2014/main" id="{23100310-DE63-4CD1-B368-C54C67EBCB64}"/>
              </a:ext>
            </a:extLst>
          </p:cNvPr>
          <p:cNvSpPr txBox="1"/>
          <p:nvPr/>
        </p:nvSpPr>
        <p:spPr>
          <a:xfrm>
            <a:off x="5244867" y="3892070"/>
            <a:ext cx="983972" cy="276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bg1"/>
                </a:solidFill>
                <a:latin typeface="+mj-lt"/>
              </a:rPr>
              <a:t>11 CVS office</a:t>
            </a:r>
          </a:p>
          <a:p>
            <a:pPr defTabSz="914126">
              <a:spcBef>
                <a:spcPts val="0"/>
              </a:spcBef>
              <a:defRPr/>
            </a:pPr>
            <a:r>
              <a:rPr lang="cs-CZ" sz="900" b="1" kern="0" dirty="0">
                <a:solidFill>
                  <a:schemeClr val="tx2"/>
                </a:solidFill>
                <a:latin typeface="+mj-lt"/>
              </a:rPr>
              <a:t>Brno</a:t>
            </a:r>
            <a:endParaRPr lang="en-US" sz="900" b="1" kern="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55" name="Verbinder: gewinkelt 1344">
            <a:extLst>
              <a:ext uri="{FF2B5EF4-FFF2-40B4-BE49-F238E27FC236}">
                <a16:creationId xmlns:a16="http://schemas.microsoft.com/office/drawing/2014/main" id="{FB40A346-C589-4914-BCCC-1EC1D0DB0657}"/>
              </a:ext>
            </a:extLst>
          </p:cNvPr>
          <p:cNvCxnSpPr>
            <a:cxnSpLocks/>
          </p:cNvCxnSpPr>
          <p:nvPr/>
        </p:nvCxnSpPr>
        <p:spPr>
          <a:xfrm rot="10800000">
            <a:off x="5028058" y="3856889"/>
            <a:ext cx="1259355" cy="4295"/>
          </a:xfrm>
          <a:prstGeom prst="bentConnector3">
            <a:avLst>
              <a:gd name="adj1" fmla="val 50000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41107166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2" name="Gruppieren 901">
            <a:extLst>
              <a:ext uri="{FF2B5EF4-FFF2-40B4-BE49-F238E27FC236}">
                <a16:creationId xmlns:a16="http://schemas.microsoft.com/office/drawing/2014/main" id="{75B39577-4861-47F5-B196-7852CF96A84F}"/>
              </a:ext>
            </a:extLst>
          </p:cNvPr>
          <p:cNvGrpSpPr>
            <a:grpSpLocks noChangeAspect="1"/>
          </p:cNvGrpSpPr>
          <p:nvPr/>
        </p:nvGrpSpPr>
        <p:grpSpPr>
          <a:xfrm>
            <a:off x="2539203" y="850814"/>
            <a:ext cx="5986402" cy="3550464"/>
            <a:chOff x="-26262040" y="-15268624"/>
            <a:chExt cx="56226120" cy="33347149"/>
          </a:xfrm>
          <a:solidFill>
            <a:srgbClr val="BFEAF9">
              <a:alpha val="20000"/>
            </a:srgbClr>
          </a:solidFill>
        </p:grpSpPr>
        <p:grpSp>
          <p:nvGrpSpPr>
            <p:cNvPr id="903" name="Gruppieren 902">
              <a:extLst>
                <a:ext uri="{FF2B5EF4-FFF2-40B4-BE49-F238E27FC236}">
                  <a16:creationId xmlns:a16="http://schemas.microsoft.com/office/drawing/2014/main" id="{54FF9DE2-8B59-45BA-AAC6-7DBA8F57B538}"/>
                </a:ext>
              </a:extLst>
            </p:cNvPr>
            <p:cNvGrpSpPr/>
            <p:nvPr/>
          </p:nvGrpSpPr>
          <p:grpSpPr>
            <a:xfrm>
              <a:off x="-26262040" y="-15268624"/>
              <a:ext cx="56178497" cy="33347149"/>
              <a:chOff x="-26262013" y="-15268575"/>
              <a:chExt cx="56178452" cy="33347025"/>
            </a:xfrm>
            <a:grpFill/>
          </p:grpSpPr>
          <p:grpSp>
            <p:nvGrpSpPr>
              <p:cNvPr id="946" name="Group 407">
                <a:extLst>
                  <a:ext uri="{FF2B5EF4-FFF2-40B4-BE49-F238E27FC236}">
                    <a16:creationId xmlns:a16="http://schemas.microsoft.com/office/drawing/2014/main" id="{35462031-ECD5-426F-B6B6-BFA2FCB41CB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-26262013" y="-14401799"/>
                <a:ext cx="56178452" cy="32480249"/>
                <a:chOff x="-16543" y="-9072"/>
                <a:chExt cx="35388" cy="20460"/>
              </a:xfrm>
              <a:grpFill/>
            </p:grpSpPr>
            <p:sp>
              <p:nvSpPr>
                <p:cNvPr id="1145" name="Freeform 242">
                  <a:extLst>
                    <a:ext uri="{FF2B5EF4-FFF2-40B4-BE49-F238E27FC236}">
                      <a16:creationId xmlns:a16="http://schemas.microsoft.com/office/drawing/2014/main" id="{A20319E9-82D4-4542-B27F-CDAEEB9F546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373" y="2196"/>
                  <a:ext cx="378" cy="384"/>
                </a:xfrm>
                <a:custGeom>
                  <a:avLst/>
                  <a:gdLst>
                    <a:gd name="T0" fmla="*/ 330 w 378"/>
                    <a:gd name="T1" fmla="*/ 360 h 384"/>
                    <a:gd name="T2" fmla="*/ 330 w 378"/>
                    <a:gd name="T3" fmla="*/ 360 h 384"/>
                    <a:gd name="T4" fmla="*/ 240 w 378"/>
                    <a:gd name="T5" fmla="*/ 0 h 384"/>
                    <a:gd name="T6" fmla="*/ 240 w 378"/>
                    <a:gd name="T7" fmla="*/ 0 h 384"/>
                    <a:gd name="T8" fmla="*/ 168 w 378"/>
                    <a:gd name="T9" fmla="*/ 6 h 384"/>
                    <a:gd name="T10" fmla="*/ 246 w 378"/>
                    <a:gd name="T11" fmla="*/ 18 h 384"/>
                    <a:gd name="T12" fmla="*/ 276 w 378"/>
                    <a:gd name="T13" fmla="*/ 48 h 384"/>
                    <a:gd name="T14" fmla="*/ 306 w 378"/>
                    <a:gd name="T15" fmla="*/ 78 h 384"/>
                    <a:gd name="T16" fmla="*/ 342 w 378"/>
                    <a:gd name="T17" fmla="*/ 120 h 384"/>
                    <a:gd name="T18" fmla="*/ 366 w 378"/>
                    <a:gd name="T19" fmla="*/ 150 h 384"/>
                    <a:gd name="T20" fmla="*/ 372 w 378"/>
                    <a:gd name="T21" fmla="*/ 186 h 384"/>
                    <a:gd name="T22" fmla="*/ 378 w 378"/>
                    <a:gd name="T23" fmla="*/ 222 h 384"/>
                    <a:gd name="T24" fmla="*/ 378 w 378"/>
                    <a:gd name="T25" fmla="*/ 234 h 384"/>
                    <a:gd name="T26" fmla="*/ 318 w 378"/>
                    <a:gd name="T27" fmla="*/ 312 h 384"/>
                    <a:gd name="T28" fmla="*/ 318 w 378"/>
                    <a:gd name="T29" fmla="*/ 366 h 384"/>
                    <a:gd name="T30" fmla="*/ 300 w 378"/>
                    <a:gd name="T31" fmla="*/ 384 h 384"/>
                    <a:gd name="T32" fmla="*/ 288 w 378"/>
                    <a:gd name="T33" fmla="*/ 378 h 384"/>
                    <a:gd name="T34" fmla="*/ 282 w 378"/>
                    <a:gd name="T35" fmla="*/ 366 h 384"/>
                    <a:gd name="T36" fmla="*/ 282 w 378"/>
                    <a:gd name="T37" fmla="*/ 342 h 384"/>
                    <a:gd name="T38" fmla="*/ 270 w 378"/>
                    <a:gd name="T39" fmla="*/ 318 h 384"/>
                    <a:gd name="T40" fmla="*/ 246 w 378"/>
                    <a:gd name="T41" fmla="*/ 318 h 384"/>
                    <a:gd name="T42" fmla="*/ 228 w 378"/>
                    <a:gd name="T43" fmla="*/ 312 h 384"/>
                    <a:gd name="T44" fmla="*/ 228 w 378"/>
                    <a:gd name="T45" fmla="*/ 288 h 384"/>
                    <a:gd name="T46" fmla="*/ 228 w 378"/>
                    <a:gd name="T47" fmla="*/ 252 h 384"/>
                    <a:gd name="T48" fmla="*/ 216 w 378"/>
                    <a:gd name="T49" fmla="*/ 234 h 384"/>
                    <a:gd name="T50" fmla="*/ 186 w 378"/>
                    <a:gd name="T51" fmla="*/ 216 h 384"/>
                    <a:gd name="T52" fmla="*/ 138 w 378"/>
                    <a:gd name="T53" fmla="*/ 198 h 384"/>
                    <a:gd name="T54" fmla="*/ 108 w 378"/>
                    <a:gd name="T55" fmla="*/ 162 h 384"/>
                    <a:gd name="T56" fmla="*/ 90 w 378"/>
                    <a:gd name="T57" fmla="*/ 132 h 384"/>
                    <a:gd name="T58" fmla="*/ 72 w 378"/>
                    <a:gd name="T59" fmla="*/ 120 h 384"/>
                    <a:gd name="T60" fmla="*/ 60 w 378"/>
                    <a:gd name="T61" fmla="*/ 120 h 384"/>
                    <a:gd name="T62" fmla="*/ 42 w 378"/>
                    <a:gd name="T63" fmla="*/ 144 h 384"/>
                    <a:gd name="T64" fmla="*/ 30 w 378"/>
                    <a:gd name="T65" fmla="*/ 138 h 384"/>
                    <a:gd name="T66" fmla="*/ 18 w 378"/>
                    <a:gd name="T67" fmla="*/ 120 h 384"/>
                    <a:gd name="T68" fmla="*/ 6 w 378"/>
                    <a:gd name="T69" fmla="*/ 90 h 384"/>
                    <a:gd name="T70" fmla="*/ 0 w 378"/>
                    <a:gd name="T71" fmla="*/ 54 h 384"/>
                    <a:gd name="T72" fmla="*/ 6 w 378"/>
                    <a:gd name="T73" fmla="*/ 24 h 384"/>
                    <a:gd name="T74" fmla="*/ 12 w 378"/>
                    <a:gd name="T75" fmla="*/ 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78" h="384">
                      <a:moveTo>
                        <a:pt x="330" y="360"/>
                      </a:moveTo>
                      <a:lnTo>
                        <a:pt x="330" y="360"/>
                      </a:lnTo>
                      <a:lnTo>
                        <a:pt x="330" y="360"/>
                      </a:lnTo>
                      <a:lnTo>
                        <a:pt x="330" y="360"/>
                      </a:lnTo>
                      <a:close/>
                      <a:moveTo>
                        <a:pt x="240" y="0"/>
                      </a:moveTo>
                      <a:lnTo>
                        <a:pt x="240" y="0"/>
                      </a:lnTo>
                      <a:lnTo>
                        <a:pt x="240" y="0"/>
                      </a:lnTo>
                      <a:lnTo>
                        <a:pt x="240" y="0"/>
                      </a:lnTo>
                      <a:close/>
                      <a:moveTo>
                        <a:pt x="96" y="0"/>
                      </a:moveTo>
                      <a:lnTo>
                        <a:pt x="168" y="6"/>
                      </a:lnTo>
                      <a:lnTo>
                        <a:pt x="240" y="0"/>
                      </a:lnTo>
                      <a:lnTo>
                        <a:pt x="246" y="18"/>
                      </a:lnTo>
                      <a:lnTo>
                        <a:pt x="258" y="30"/>
                      </a:lnTo>
                      <a:lnTo>
                        <a:pt x="276" y="48"/>
                      </a:lnTo>
                      <a:lnTo>
                        <a:pt x="288" y="60"/>
                      </a:lnTo>
                      <a:lnTo>
                        <a:pt x="306" y="78"/>
                      </a:lnTo>
                      <a:lnTo>
                        <a:pt x="324" y="102"/>
                      </a:lnTo>
                      <a:lnTo>
                        <a:pt x="342" y="120"/>
                      </a:lnTo>
                      <a:lnTo>
                        <a:pt x="354" y="132"/>
                      </a:lnTo>
                      <a:lnTo>
                        <a:pt x="366" y="150"/>
                      </a:lnTo>
                      <a:lnTo>
                        <a:pt x="372" y="168"/>
                      </a:lnTo>
                      <a:lnTo>
                        <a:pt x="372" y="186"/>
                      </a:lnTo>
                      <a:lnTo>
                        <a:pt x="378" y="204"/>
                      </a:lnTo>
                      <a:lnTo>
                        <a:pt x="378" y="222"/>
                      </a:lnTo>
                      <a:lnTo>
                        <a:pt x="378" y="234"/>
                      </a:lnTo>
                      <a:lnTo>
                        <a:pt x="378" y="234"/>
                      </a:lnTo>
                      <a:lnTo>
                        <a:pt x="324" y="276"/>
                      </a:lnTo>
                      <a:lnTo>
                        <a:pt x="318" y="312"/>
                      </a:lnTo>
                      <a:lnTo>
                        <a:pt x="330" y="360"/>
                      </a:lnTo>
                      <a:lnTo>
                        <a:pt x="318" y="366"/>
                      </a:lnTo>
                      <a:lnTo>
                        <a:pt x="312" y="372"/>
                      </a:lnTo>
                      <a:lnTo>
                        <a:pt x="300" y="384"/>
                      </a:lnTo>
                      <a:lnTo>
                        <a:pt x="294" y="384"/>
                      </a:lnTo>
                      <a:lnTo>
                        <a:pt x="288" y="378"/>
                      </a:lnTo>
                      <a:lnTo>
                        <a:pt x="288" y="372"/>
                      </a:lnTo>
                      <a:lnTo>
                        <a:pt x="282" y="366"/>
                      </a:lnTo>
                      <a:lnTo>
                        <a:pt x="282" y="354"/>
                      </a:lnTo>
                      <a:lnTo>
                        <a:pt x="282" y="342"/>
                      </a:lnTo>
                      <a:lnTo>
                        <a:pt x="276" y="330"/>
                      </a:lnTo>
                      <a:lnTo>
                        <a:pt x="270" y="318"/>
                      </a:lnTo>
                      <a:lnTo>
                        <a:pt x="258" y="318"/>
                      </a:lnTo>
                      <a:lnTo>
                        <a:pt x="246" y="318"/>
                      </a:lnTo>
                      <a:lnTo>
                        <a:pt x="234" y="318"/>
                      </a:lnTo>
                      <a:lnTo>
                        <a:pt x="228" y="312"/>
                      </a:lnTo>
                      <a:lnTo>
                        <a:pt x="228" y="306"/>
                      </a:lnTo>
                      <a:lnTo>
                        <a:pt x="228" y="288"/>
                      </a:lnTo>
                      <a:lnTo>
                        <a:pt x="228" y="270"/>
                      </a:lnTo>
                      <a:lnTo>
                        <a:pt x="228" y="252"/>
                      </a:lnTo>
                      <a:lnTo>
                        <a:pt x="222" y="240"/>
                      </a:lnTo>
                      <a:lnTo>
                        <a:pt x="216" y="234"/>
                      </a:lnTo>
                      <a:lnTo>
                        <a:pt x="204" y="222"/>
                      </a:lnTo>
                      <a:lnTo>
                        <a:pt x="186" y="216"/>
                      </a:lnTo>
                      <a:lnTo>
                        <a:pt x="162" y="210"/>
                      </a:lnTo>
                      <a:lnTo>
                        <a:pt x="138" y="198"/>
                      </a:lnTo>
                      <a:lnTo>
                        <a:pt x="120" y="180"/>
                      </a:lnTo>
                      <a:lnTo>
                        <a:pt x="108" y="162"/>
                      </a:lnTo>
                      <a:lnTo>
                        <a:pt x="96" y="144"/>
                      </a:lnTo>
                      <a:lnTo>
                        <a:pt x="90" y="132"/>
                      </a:lnTo>
                      <a:lnTo>
                        <a:pt x="84" y="126"/>
                      </a:lnTo>
                      <a:lnTo>
                        <a:pt x="72" y="120"/>
                      </a:lnTo>
                      <a:lnTo>
                        <a:pt x="66" y="114"/>
                      </a:lnTo>
                      <a:lnTo>
                        <a:pt x="60" y="120"/>
                      </a:lnTo>
                      <a:lnTo>
                        <a:pt x="48" y="132"/>
                      </a:lnTo>
                      <a:lnTo>
                        <a:pt x="42" y="144"/>
                      </a:lnTo>
                      <a:lnTo>
                        <a:pt x="36" y="144"/>
                      </a:lnTo>
                      <a:lnTo>
                        <a:pt x="30" y="138"/>
                      </a:lnTo>
                      <a:lnTo>
                        <a:pt x="24" y="132"/>
                      </a:lnTo>
                      <a:lnTo>
                        <a:pt x="18" y="120"/>
                      </a:lnTo>
                      <a:lnTo>
                        <a:pt x="12" y="108"/>
                      </a:lnTo>
                      <a:lnTo>
                        <a:pt x="6" y="90"/>
                      </a:lnTo>
                      <a:lnTo>
                        <a:pt x="0" y="72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6" y="24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46" name="Freeform 243">
                  <a:extLst>
                    <a:ext uri="{FF2B5EF4-FFF2-40B4-BE49-F238E27FC236}">
                      <a16:creationId xmlns:a16="http://schemas.microsoft.com/office/drawing/2014/main" id="{D9C653A9-0C3B-4A67-81CC-9756DFCE92B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055" y="2334"/>
                  <a:ext cx="726" cy="342"/>
                </a:xfrm>
                <a:custGeom>
                  <a:avLst/>
                  <a:gdLst>
                    <a:gd name="T0" fmla="*/ 726 w 726"/>
                    <a:gd name="T1" fmla="*/ 210 h 342"/>
                    <a:gd name="T2" fmla="*/ 462 w 726"/>
                    <a:gd name="T3" fmla="*/ 6 h 342"/>
                    <a:gd name="T4" fmla="*/ 486 w 726"/>
                    <a:gd name="T5" fmla="*/ 30 h 342"/>
                    <a:gd name="T6" fmla="*/ 546 w 726"/>
                    <a:gd name="T7" fmla="*/ 66 h 342"/>
                    <a:gd name="T8" fmla="*/ 588 w 726"/>
                    <a:gd name="T9" fmla="*/ 72 h 342"/>
                    <a:gd name="T10" fmla="*/ 594 w 726"/>
                    <a:gd name="T11" fmla="*/ 90 h 342"/>
                    <a:gd name="T12" fmla="*/ 624 w 726"/>
                    <a:gd name="T13" fmla="*/ 114 h 342"/>
                    <a:gd name="T14" fmla="*/ 648 w 726"/>
                    <a:gd name="T15" fmla="*/ 138 h 342"/>
                    <a:gd name="T16" fmla="*/ 696 w 726"/>
                    <a:gd name="T17" fmla="*/ 180 h 342"/>
                    <a:gd name="T18" fmla="*/ 726 w 726"/>
                    <a:gd name="T19" fmla="*/ 210 h 342"/>
                    <a:gd name="T20" fmla="*/ 594 w 726"/>
                    <a:gd name="T21" fmla="*/ 306 h 342"/>
                    <a:gd name="T22" fmla="*/ 564 w 726"/>
                    <a:gd name="T23" fmla="*/ 282 h 342"/>
                    <a:gd name="T24" fmla="*/ 540 w 726"/>
                    <a:gd name="T25" fmla="*/ 240 h 342"/>
                    <a:gd name="T26" fmla="*/ 552 w 726"/>
                    <a:gd name="T27" fmla="*/ 198 h 342"/>
                    <a:gd name="T28" fmla="*/ 558 w 726"/>
                    <a:gd name="T29" fmla="*/ 180 h 342"/>
                    <a:gd name="T30" fmla="*/ 534 w 726"/>
                    <a:gd name="T31" fmla="*/ 168 h 342"/>
                    <a:gd name="T32" fmla="*/ 516 w 726"/>
                    <a:gd name="T33" fmla="*/ 138 h 342"/>
                    <a:gd name="T34" fmla="*/ 432 w 726"/>
                    <a:gd name="T35" fmla="*/ 114 h 342"/>
                    <a:gd name="T36" fmla="*/ 354 w 726"/>
                    <a:gd name="T37" fmla="*/ 168 h 342"/>
                    <a:gd name="T38" fmla="*/ 312 w 726"/>
                    <a:gd name="T39" fmla="*/ 204 h 342"/>
                    <a:gd name="T40" fmla="*/ 294 w 726"/>
                    <a:gd name="T41" fmla="*/ 228 h 342"/>
                    <a:gd name="T42" fmla="*/ 294 w 726"/>
                    <a:gd name="T43" fmla="*/ 264 h 342"/>
                    <a:gd name="T44" fmla="*/ 318 w 726"/>
                    <a:gd name="T45" fmla="*/ 300 h 342"/>
                    <a:gd name="T46" fmla="*/ 306 w 726"/>
                    <a:gd name="T47" fmla="*/ 318 h 342"/>
                    <a:gd name="T48" fmla="*/ 264 w 726"/>
                    <a:gd name="T49" fmla="*/ 330 h 342"/>
                    <a:gd name="T50" fmla="*/ 228 w 726"/>
                    <a:gd name="T51" fmla="*/ 342 h 342"/>
                    <a:gd name="T52" fmla="*/ 198 w 726"/>
                    <a:gd name="T53" fmla="*/ 312 h 342"/>
                    <a:gd name="T54" fmla="*/ 138 w 726"/>
                    <a:gd name="T55" fmla="*/ 264 h 342"/>
                    <a:gd name="T56" fmla="*/ 66 w 726"/>
                    <a:gd name="T57" fmla="*/ 216 h 342"/>
                    <a:gd name="T58" fmla="*/ 24 w 726"/>
                    <a:gd name="T59" fmla="*/ 216 h 342"/>
                    <a:gd name="T60" fmla="*/ 0 w 726"/>
                    <a:gd name="T61" fmla="*/ 174 h 342"/>
                    <a:gd name="T62" fmla="*/ 60 w 726"/>
                    <a:gd name="T63" fmla="*/ 96 h 342"/>
                    <a:gd name="T64" fmla="*/ 96 w 726"/>
                    <a:gd name="T65" fmla="*/ 108 h 342"/>
                    <a:gd name="T66" fmla="*/ 162 w 726"/>
                    <a:gd name="T67" fmla="*/ 114 h 342"/>
                    <a:gd name="T68" fmla="*/ 180 w 726"/>
                    <a:gd name="T69" fmla="*/ 126 h 342"/>
                    <a:gd name="T70" fmla="*/ 204 w 726"/>
                    <a:gd name="T71" fmla="*/ 156 h 342"/>
                    <a:gd name="T72" fmla="*/ 228 w 726"/>
                    <a:gd name="T73" fmla="*/ 144 h 342"/>
                    <a:gd name="T74" fmla="*/ 264 w 726"/>
                    <a:gd name="T75" fmla="*/ 120 h 342"/>
                    <a:gd name="T76" fmla="*/ 288 w 726"/>
                    <a:gd name="T77" fmla="*/ 108 h 342"/>
                    <a:gd name="T78" fmla="*/ 324 w 726"/>
                    <a:gd name="T79" fmla="*/ 102 h 342"/>
                    <a:gd name="T80" fmla="*/ 348 w 726"/>
                    <a:gd name="T81" fmla="*/ 78 h 342"/>
                    <a:gd name="T82" fmla="*/ 354 w 726"/>
                    <a:gd name="T83" fmla="*/ 42 h 342"/>
                    <a:gd name="T84" fmla="*/ 390 w 726"/>
                    <a:gd name="T85" fmla="*/ 18 h 342"/>
                    <a:gd name="T86" fmla="*/ 444 w 726"/>
                    <a:gd name="T87" fmla="*/ 0 h 3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726" h="342">
                      <a:moveTo>
                        <a:pt x="726" y="210"/>
                      </a:moveTo>
                      <a:lnTo>
                        <a:pt x="726" y="210"/>
                      </a:lnTo>
                      <a:lnTo>
                        <a:pt x="726" y="210"/>
                      </a:lnTo>
                      <a:lnTo>
                        <a:pt x="726" y="210"/>
                      </a:lnTo>
                      <a:close/>
                      <a:moveTo>
                        <a:pt x="444" y="0"/>
                      </a:moveTo>
                      <a:lnTo>
                        <a:pt x="462" y="6"/>
                      </a:lnTo>
                      <a:lnTo>
                        <a:pt x="468" y="12"/>
                      </a:lnTo>
                      <a:lnTo>
                        <a:pt x="480" y="24"/>
                      </a:lnTo>
                      <a:lnTo>
                        <a:pt x="486" y="30"/>
                      </a:lnTo>
                      <a:lnTo>
                        <a:pt x="498" y="42"/>
                      </a:lnTo>
                      <a:lnTo>
                        <a:pt x="522" y="54"/>
                      </a:lnTo>
                      <a:lnTo>
                        <a:pt x="546" y="66"/>
                      </a:lnTo>
                      <a:lnTo>
                        <a:pt x="570" y="66"/>
                      </a:lnTo>
                      <a:lnTo>
                        <a:pt x="582" y="66"/>
                      </a:lnTo>
                      <a:lnTo>
                        <a:pt x="588" y="72"/>
                      </a:lnTo>
                      <a:lnTo>
                        <a:pt x="588" y="72"/>
                      </a:lnTo>
                      <a:lnTo>
                        <a:pt x="588" y="78"/>
                      </a:lnTo>
                      <a:lnTo>
                        <a:pt x="594" y="90"/>
                      </a:lnTo>
                      <a:lnTo>
                        <a:pt x="606" y="96"/>
                      </a:lnTo>
                      <a:lnTo>
                        <a:pt x="612" y="108"/>
                      </a:lnTo>
                      <a:lnTo>
                        <a:pt x="624" y="114"/>
                      </a:lnTo>
                      <a:lnTo>
                        <a:pt x="630" y="120"/>
                      </a:lnTo>
                      <a:lnTo>
                        <a:pt x="642" y="126"/>
                      </a:lnTo>
                      <a:lnTo>
                        <a:pt x="648" y="138"/>
                      </a:lnTo>
                      <a:lnTo>
                        <a:pt x="660" y="150"/>
                      </a:lnTo>
                      <a:lnTo>
                        <a:pt x="678" y="162"/>
                      </a:lnTo>
                      <a:lnTo>
                        <a:pt x="696" y="180"/>
                      </a:lnTo>
                      <a:lnTo>
                        <a:pt x="708" y="198"/>
                      </a:lnTo>
                      <a:lnTo>
                        <a:pt x="720" y="204"/>
                      </a:lnTo>
                      <a:lnTo>
                        <a:pt x="726" y="210"/>
                      </a:lnTo>
                      <a:lnTo>
                        <a:pt x="696" y="240"/>
                      </a:lnTo>
                      <a:lnTo>
                        <a:pt x="666" y="288"/>
                      </a:lnTo>
                      <a:lnTo>
                        <a:pt x="594" y="306"/>
                      </a:lnTo>
                      <a:lnTo>
                        <a:pt x="588" y="300"/>
                      </a:lnTo>
                      <a:lnTo>
                        <a:pt x="576" y="288"/>
                      </a:lnTo>
                      <a:lnTo>
                        <a:pt x="564" y="282"/>
                      </a:lnTo>
                      <a:lnTo>
                        <a:pt x="552" y="264"/>
                      </a:lnTo>
                      <a:lnTo>
                        <a:pt x="546" y="252"/>
                      </a:lnTo>
                      <a:lnTo>
                        <a:pt x="540" y="240"/>
                      </a:lnTo>
                      <a:lnTo>
                        <a:pt x="540" y="228"/>
                      </a:lnTo>
                      <a:lnTo>
                        <a:pt x="540" y="210"/>
                      </a:lnTo>
                      <a:lnTo>
                        <a:pt x="552" y="198"/>
                      </a:lnTo>
                      <a:lnTo>
                        <a:pt x="564" y="192"/>
                      </a:lnTo>
                      <a:lnTo>
                        <a:pt x="564" y="186"/>
                      </a:lnTo>
                      <a:lnTo>
                        <a:pt x="558" y="180"/>
                      </a:lnTo>
                      <a:lnTo>
                        <a:pt x="552" y="180"/>
                      </a:lnTo>
                      <a:lnTo>
                        <a:pt x="546" y="174"/>
                      </a:lnTo>
                      <a:lnTo>
                        <a:pt x="534" y="168"/>
                      </a:lnTo>
                      <a:lnTo>
                        <a:pt x="528" y="162"/>
                      </a:lnTo>
                      <a:lnTo>
                        <a:pt x="522" y="150"/>
                      </a:lnTo>
                      <a:lnTo>
                        <a:pt x="516" y="138"/>
                      </a:lnTo>
                      <a:lnTo>
                        <a:pt x="498" y="120"/>
                      </a:lnTo>
                      <a:lnTo>
                        <a:pt x="468" y="108"/>
                      </a:lnTo>
                      <a:lnTo>
                        <a:pt x="432" y="114"/>
                      </a:lnTo>
                      <a:lnTo>
                        <a:pt x="402" y="126"/>
                      </a:lnTo>
                      <a:lnTo>
                        <a:pt x="372" y="150"/>
                      </a:lnTo>
                      <a:lnTo>
                        <a:pt x="354" y="168"/>
                      </a:lnTo>
                      <a:lnTo>
                        <a:pt x="336" y="180"/>
                      </a:lnTo>
                      <a:lnTo>
                        <a:pt x="318" y="198"/>
                      </a:lnTo>
                      <a:lnTo>
                        <a:pt x="312" y="204"/>
                      </a:lnTo>
                      <a:lnTo>
                        <a:pt x="306" y="216"/>
                      </a:lnTo>
                      <a:lnTo>
                        <a:pt x="300" y="222"/>
                      </a:lnTo>
                      <a:lnTo>
                        <a:pt x="294" y="228"/>
                      </a:lnTo>
                      <a:lnTo>
                        <a:pt x="288" y="240"/>
                      </a:lnTo>
                      <a:lnTo>
                        <a:pt x="288" y="252"/>
                      </a:lnTo>
                      <a:lnTo>
                        <a:pt x="294" y="264"/>
                      </a:lnTo>
                      <a:lnTo>
                        <a:pt x="306" y="276"/>
                      </a:lnTo>
                      <a:lnTo>
                        <a:pt x="318" y="288"/>
                      </a:lnTo>
                      <a:lnTo>
                        <a:pt x="318" y="300"/>
                      </a:lnTo>
                      <a:lnTo>
                        <a:pt x="318" y="306"/>
                      </a:lnTo>
                      <a:lnTo>
                        <a:pt x="312" y="312"/>
                      </a:lnTo>
                      <a:lnTo>
                        <a:pt x="306" y="318"/>
                      </a:lnTo>
                      <a:lnTo>
                        <a:pt x="294" y="324"/>
                      </a:lnTo>
                      <a:lnTo>
                        <a:pt x="276" y="330"/>
                      </a:lnTo>
                      <a:lnTo>
                        <a:pt x="264" y="330"/>
                      </a:lnTo>
                      <a:lnTo>
                        <a:pt x="252" y="336"/>
                      </a:lnTo>
                      <a:lnTo>
                        <a:pt x="240" y="342"/>
                      </a:lnTo>
                      <a:lnTo>
                        <a:pt x="228" y="342"/>
                      </a:lnTo>
                      <a:lnTo>
                        <a:pt x="216" y="330"/>
                      </a:lnTo>
                      <a:lnTo>
                        <a:pt x="204" y="324"/>
                      </a:lnTo>
                      <a:lnTo>
                        <a:pt x="198" y="312"/>
                      </a:lnTo>
                      <a:lnTo>
                        <a:pt x="186" y="300"/>
                      </a:lnTo>
                      <a:lnTo>
                        <a:pt x="174" y="282"/>
                      </a:lnTo>
                      <a:lnTo>
                        <a:pt x="138" y="264"/>
                      </a:lnTo>
                      <a:lnTo>
                        <a:pt x="102" y="246"/>
                      </a:lnTo>
                      <a:lnTo>
                        <a:pt x="78" y="222"/>
                      </a:lnTo>
                      <a:lnTo>
                        <a:pt x="66" y="216"/>
                      </a:lnTo>
                      <a:lnTo>
                        <a:pt x="54" y="210"/>
                      </a:lnTo>
                      <a:lnTo>
                        <a:pt x="36" y="210"/>
                      </a:lnTo>
                      <a:lnTo>
                        <a:pt x="24" y="216"/>
                      </a:lnTo>
                      <a:lnTo>
                        <a:pt x="12" y="222"/>
                      </a:lnTo>
                      <a:lnTo>
                        <a:pt x="12" y="222"/>
                      </a:lnTo>
                      <a:lnTo>
                        <a:pt x="0" y="174"/>
                      </a:lnTo>
                      <a:lnTo>
                        <a:pt x="6" y="138"/>
                      </a:lnTo>
                      <a:lnTo>
                        <a:pt x="60" y="96"/>
                      </a:lnTo>
                      <a:lnTo>
                        <a:pt x="60" y="96"/>
                      </a:lnTo>
                      <a:lnTo>
                        <a:pt x="66" y="102"/>
                      </a:lnTo>
                      <a:lnTo>
                        <a:pt x="78" y="108"/>
                      </a:lnTo>
                      <a:lnTo>
                        <a:pt x="96" y="108"/>
                      </a:lnTo>
                      <a:lnTo>
                        <a:pt x="126" y="108"/>
                      </a:lnTo>
                      <a:lnTo>
                        <a:pt x="150" y="108"/>
                      </a:lnTo>
                      <a:lnTo>
                        <a:pt x="162" y="114"/>
                      </a:lnTo>
                      <a:lnTo>
                        <a:pt x="174" y="114"/>
                      </a:lnTo>
                      <a:lnTo>
                        <a:pt x="180" y="120"/>
                      </a:lnTo>
                      <a:lnTo>
                        <a:pt x="180" y="126"/>
                      </a:lnTo>
                      <a:lnTo>
                        <a:pt x="186" y="138"/>
                      </a:lnTo>
                      <a:lnTo>
                        <a:pt x="192" y="144"/>
                      </a:lnTo>
                      <a:lnTo>
                        <a:pt x="204" y="156"/>
                      </a:lnTo>
                      <a:lnTo>
                        <a:pt x="210" y="156"/>
                      </a:lnTo>
                      <a:lnTo>
                        <a:pt x="216" y="156"/>
                      </a:lnTo>
                      <a:lnTo>
                        <a:pt x="228" y="144"/>
                      </a:lnTo>
                      <a:lnTo>
                        <a:pt x="240" y="138"/>
                      </a:lnTo>
                      <a:lnTo>
                        <a:pt x="252" y="132"/>
                      </a:lnTo>
                      <a:lnTo>
                        <a:pt x="264" y="120"/>
                      </a:lnTo>
                      <a:lnTo>
                        <a:pt x="270" y="114"/>
                      </a:lnTo>
                      <a:lnTo>
                        <a:pt x="276" y="108"/>
                      </a:lnTo>
                      <a:lnTo>
                        <a:pt x="288" y="108"/>
                      </a:lnTo>
                      <a:lnTo>
                        <a:pt x="294" y="102"/>
                      </a:lnTo>
                      <a:lnTo>
                        <a:pt x="312" y="102"/>
                      </a:lnTo>
                      <a:lnTo>
                        <a:pt x="324" y="102"/>
                      </a:lnTo>
                      <a:lnTo>
                        <a:pt x="336" y="96"/>
                      </a:lnTo>
                      <a:lnTo>
                        <a:pt x="342" y="84"/>
                      </a:lnTo>
                      <a:lnTo>
                        <a:pt x="348" y="78"/>
                      </a:lnTo>
                      <a:lnTo>
                        <a:pt x="348" y="66"/>
                      </a:lnTo>
                      <a:lnTo>
                        <a:pt x="348" y="54"/>
                      </a:lnTo>
                      <a:lnTo>
                        <a:pt x="354" y="42"/>
                      </a:lnTo>
                      <a:lnTo>
                        <a:pt x="360" y="36"/>
                      </a:lnTo>
                      <a:lnTo>
                        <a:pt x="372" y="30"/>
                      </a:lnTo>
                      <a:lnTo>
                        <a:pt x="390" y="18"/>
                      </a:lnTo>
                      <a:lnTo>
                        <a:pt x="414" y="6"/>
                      </a:lnTo>
                      <a:lnTo>
                        <a:pt x="432" y="0"/>
                      </a:lnTo>
                      <a:lnTo>
                        <a:pt x="44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47" name="Freeform 278">
                  <a:extLst>
                    <a:ext uri="{FF2B5EF4-FFF2-40B4-BE49-F238E27FC236}">
                      <a16:creationId xmlns:a16="http://schemas.microsoft.com/office/drawing/2014/main" id="{758359BC-68E9-48F7-B999-12FC9C207A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703" y="1566"/>
                  <a:ext cx="624" cy="342"/>
                </a:xfrm>
                <a:custGeom>
                  <a:avLst/>
                  <a:gdLst>
                    <a:gd name="T0" fmla="*/ 432 w 624"/>
                    <a:gd name="T1" fmla="*/ 0 h 342"/>
                    <a:gd name="T2" fmla="*/ 492 w 624"/>
                    <a:gd name="T3" fmla="*/ 6 h 342"/>
                    <a:gd name="T4" fmla="*/ 552 w 624"/>
                    <a:gd name="T5" fmla="*/ 18 h 342"/>
                    <a:gd name="T6" fmla="*/ 564 w 624"/>
                    <a:gd name="T7" fmla="*/ 24 h 342"/>
                    <a:gd name="T8" fmla="*/ 570 w 624"/>
                    <a:gd name="T9" fmla="*/ 30 h 342"/>
                    <a:gd name="T10" fmla="*/ 576 w 624"/>
                    <a:gd name="T11" fmla="*/ 36 h 342"/>
                    <a:gd name="T12" fmla="*/ 576 w 624"/>
                    <a:gd name="T13" fmla="*/ 42 h 342"/>
                    <a:gd name="T14" fmla="*/ 582 w 624"/>
                    <a:gd name="T15" fmla="*/ 48 h 342"/>
                    <a:gd name="T16" fmla="*/ 582 w 624"/>
                    <a:gd name="T17" fmla="*/ 54 h 342"/>
                    <a:gd name="T18" fmla="*/ 588 w 624"/>
                    <a:gd name="T19" fmla="*/ 60 h 342"/>
                    <a:gd name="T20" fmla="*/ 594 w 624"/>
                    <a:gd name="T21" fmla="*/ 60 h 342"/>
                    <a:gd name="T22" fmla="*/ 606 w 624"/>
                    <a:gd name="T23" fmla="*/ 60 h 342"/>
                    <a:gd name="T24" fmla="*/ 618 w 624"/>
                    <a:gd name="T25" fmla="*/ 60 h 342"/>
                    <a:gd name="T26" fmla="*/ 618 w 624"/>
                    <a:gd name="T27" fmla="*/ 60 h 342"/>
                    <a:gd name="T28" fmla="*/ 624 w 624"/>
                    <a:gd name="T29" fmla="*/ 114 h 342"/>
                    <a:gd name="T30" fmla="*/ 576 w 624"/>
                    <a:gd name="T31" fmla="*/ 168 h 342"/>
                    <a:gd name="T32" fmla="*/ 516 w 624"/>
                    <a:gd name="T33" fmla="*/ 138 h 342"/>
                    <a:gd name="T34" fmla="*/ 456 w 624"/>
                    <a:gd name="T35" fmla="*/ 150 h 342"/>
                    <a:gd name="T36" fmla="*/ 426 w 624"/>
                    <a:gd name="T37" fmla="*/ 210 h 342"/>
                    <a:gd name="T38" fmla="*/ 372 w 624"/>
                    <a:gd name="T39" fmla="*/ 240 h 342"/>
                    <a:gd name="T40" fmla="*/ 300 w 624"/>
                    <a:gd name="T41" fmla="*/ 240 h 342"/>
                    <a:gd name="T42" fmla="*/ 306 w 624"/>
                    <a:gd name="T43" fmla="*/ 306 h 342"/>
                    <a:gd name="T44" fmla="*/ 234 w 624"/>
                    <a:gd name="T45" fmla="*/ 342 h 342"/>
                    <a:gd name="T46" fmla="*/ 174 w 624"/>
                    <a:gd name="T47" fmla="*/ 342 h 342"/>
                    <a:gd name="T48" fmla="*/ 168 w 624"/>
                    <a:gd name="T49" fmla="*/ 342 h 342"/>
                    <a:gd name="T50" fmla="*/ 174 w 624"/>
                    <a:gd name="T51" fmla="*/ 330 h 342"/>
                    <a:gd name="T52" fmla="*/ 168 w 624"/>
                    <a:gd name="T53" fmla="*/ 318 h 342"/>
                    <a:gd name="T54" fmla="*/ 168 w 624"/>
                    <a:gd name="T55" fmla="*/ 318 h 342"/>
                    <a:gd name="T56" fmla="*/ 186 w 624"/>
                    <a:gd name="T57" fmla="*/ 294 h 342"/>
                    <a:gd name="T58" fmla="*/ 168 w 624"/>
                    <a:gd name="T59" fmla="*/ 246 h 342"/>
                    <a:gd name="T60" fmla="*/ 108 w 624"/>
                    <a:gd name="T61" fmla="*/ 222 h 342"/>
                    <a:gd name="T62" fmla="*/ 42 w 624"/>
                    <a:gd name="T63" fmla="*/ 204 h 342"/>
                    <a:gd name="T64" fmla="*/ 0 w 624"/>
                    <a:gd name="T65" fmla="*/ 204 h 342"/>
                    <a:gd name="T66" fmla="*/ 18 w 624"/>
                    <a:gd name="T67" fmla="*/ 138 h 342"/>
                    <a:gd name="T68" fmla="*/ 78 w 624"/>
                    <a:gd name="T69" fmla="*/ 96 h 342"/>
                    <a:gd name="T70" fmla="*/ 138 w 624"/>
                    <a:gd name="T71" fmla="*/ 72 h 342"/>
                    <a:gd name="T72" fmla="*/ 180 w 624"/>
                    <a:gd name="T73" fmla="*/ 6 h 342"/>
                    <a:gd name="T74" fmla="*/ 180 w 624"/>
                    <a:gd name="T75" fmla="*/ 6 h 342"/>
                    <a:gd name="T76" fmla="*/ 198 w 624"/>
                    <a:gd name="T77" fmla="*/ 6 h 342"/>
                    <a:gd name="T78" fmla="*/ 216 w 624"/>
                    <a:gd name="T79" fmla="*/ 12 h 342"/>
                    <a:gd name="T80" fmla="*/ 240 w 624"/>
                    <a:gd name="T81" fmla="*/ 12 h 342"/>
                    <a:gd name="T82" fmla="*/ 264 w 624"/>
                    <a:gd name="T83" fmla="*/ 6 h 342"/>
                    <a:gd name="T84" fmla="*/ 276 w 624"/>
                    <a:gd name="T85" fmla="*/ 6 h 342"/>
                    <a:gd name="T86" fmla="*/ 288 w 624"/>
                    <a:gd name="T87" fmla="*/ 6 h 342"/>
                    <a:gd name="T88" fmla="*/ 294 w 624"/>
                    <a:gd name="T89" fmla="*/ 6 h 342"/>
                    <a:gd name="T90" fmla="*/ 300 w 624"/>
                    <a:gd name="T91" fmla="*/ 6 h 342"/>
                    <a:gd name="T92" fmla="*/ 312 w 624"/>
                    <a:gd name="T93" fmla="*/ 12 h 342"/>
                    <a:gd name="T94" fmla="*/ 324 w 624"/>
                    <a:gd name="T95" fmla="*/ 12 h 342"/>
                    <a:gd name="T96" fmla="*/ 342 w 624"/>
                    <a:gd name="T97" fmla="*/ 12 h 342"/>
                    <a:gd name="T98" fmla="*/ 360 w 624"/>
                    <a:gd name="T99" fmla="*/ 6 h 342"/>
                    <a:gd name="T100" fmla="*/ 378 w 624"/>
                    <a:gd name="T101" fmla="*/ 6 h 342"/>
                    <a:gd name="T102" fmla="*/ 390 w 624"/>
                    <a:gd name="T103" fmla="*/ 6 h 342"/>
                    <a:gd name="T104" fmla="*/ 402 w 624"/>
                    <a:gd name="T105" fmla="*/ 6 h 342"/>
                    <a:gd name="T106" fmla="*/ 414 w 624"/>
                    <a:gd name="T107" fmla="*/ 6 h 342"/>
                    <a:gd name="T108" fmla="*/ 432 w 624"/>
                    <a:gd name="T109" fmla="*/ 0 h 3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24" h="342">
                      <a:moveTo>
                        <a:pt x="432" y="0"/>
                      </a:moveTo>
                      <a:lnTo>
                        <a:pt x="492" y="6"/>
                      </a:lnTo>
                      <a:lnTo>
                        <a:pt x="552" y="18"/>
                      </a:lnTo>
                      <a:lnTo>
                        <a:pt x="564" y="24"/>
                      </a:lnTo>
                      <a:lnTo>
                        <a:pt x="570" y="30"/>
                      </a:lnTo>
                      <a:lnTo>
                        <a:pt x="576" y="36"/>
                      </a:lnTo>
                      <a:lnTo>
                        <a:pt x="576" y="42"/>
                      </a:lnTo>
                      <a:lnTo>
                        <a:pt x="582" y="48"/>
                      </a:lnTo>
                      <a:lnTo>
                        <a:pt x="582" y="54"/>
                      </a:lnTo>
                      <a:lnTo>
                        <a:pt x="588" y="60"/>
                      </a:lnTo>
                      <a:lnTo>
                        <a:pt x="594" y="60"/>
                      </a:lnTo>
                      <a:lnTo>
                        <a:pt x="606" y="60"/>
                      </a:lnTo>
                      <a:lnTo>
                        <a:pt x="618" y="60"/>
                      </a:lnTo>
                      <a:lnTo>
                        <a:pt x="618" y="60"/>
                      </a:lnTo>
                      <a:lnTo>
                        <a:pt x="624" y="114"/>
                      </a:lnTo>
                      <a:lnTo>
                        <a:pt x="576" y="168"/>
                      </a:lnTo>
                      <a:lnTo>
                        <a:pt x="516" y="138"/>
                      </a:lnTo>
                      <a:lnTo>
                        <a:pt x="456" y="150"/>
                      </a:lnTo>
                      <a:lnTo>
                        <a:pt x="426" y="210"/>
                      </a:lnTo>
                      <a:lnTo>
                        <a:pt x="372" y="240"/>
                      </a:lnTo>
                      <a:lnTo>
                        <a:pt x="300" y="240"/>
                      </a:lnTo>
                      <a:lnTo>
                        <a:pt x="306" y="306"/>
                      </a:lnTo>
                      <a:lnTo>
                        <a:pt x="234" y="342"/>
                      </a:lnTo>
                      <a:lnTo>
                        <a:pt x="174" y="342"/>
                      </a:lnTo>
                      <a:lnTo>
                        <a:pt x="168" y="342"/>
                      </a:lnTo>
                      <a:lnTo>
                        <a:pt x="174" y="330"/>
                      </a:lnTo>
                      <a:lnTo>
                        <a:pt x="168" y="318"/>
                      </a:lnTo>
                      <a:lnTo>
                        <a:pt x="168" y="318"/>
                      </a:lnTo>
                      <a:lnTo>
                        <a:pt x="186" y="294"/>
                      </a:lnTo>
                      <a:lnTo>
                        <a:pt x="168" y="246"/>
                      </a:lnTo>
                      <a:lnTo>
                        <a:pt x="108" y="222"/>
                      </a:lnTo>
                      <a:lnTo>
                        <a:pt x="42" y="204"/>
                      </a:lnTo>
                      <a:lnTo>
                        <a:pt x="0" y="204"/>
                      </a:lnTo>
                      <a:lnTo>
                        <a:pt x="18" y="138"/>
                      </a:lnTo>
                      <a:lnTo>
                        <a:pt x="78" y="96"/>
                      </a:lnTo>
                      <a:lnTo>
                        <a:pt x="138" y="72"/>
                      </a:lnTo>
                      <a:lnTo>
                        <a:pt x="180" y="6"/>
                      </a:lnTo>
                      <a:lnTo>
                        <a:pt x="180" y="6"/>
                      </a:lnTo>
                      <a:lnTo>
                        <a:pt x="198" y="6"/>
                      </a:lnTo>
                      <a:lnTo>
                        <a:pt x="216" y="12"/>
                      </a:lnTo>
                      <a:lnTo>
                        <a:pt x="240" y="12"/>
                      </a:lnTo>
                      <a:lnTo>
                        <a:pt x="264" y="6"/>
                      </a:lnTo>
                      <a:lnTo>
                        <a:pt x="276" y="6"/>
                      </a:lnTo>
                      <a:lnTo>
                        <a:pt x="288" y="6"/>
                      </a:lnTo>
                      <a:lnTo>
                        <a:pt x="294" y="6"/>
                      </a:lnTo>
                      <a:lnTo>
                        <a:pt x="300" y="6"/>
                      </a:lnTo>
                      <a:lnTo>
                        <a:pt x="312" y="12"/>
                      </a:lnTo>
                      <a:lnTo>
                        <a:pt x="324" y="12"/>
                      </a:lnTo>
                      <a:lnTo>
                        <a:pt x="342" y="12"/>
                      </a:lnTo>
                      <a:lnTo>
                        <a:pt x="360" y="6"/>
                      </a:lnTo>
                      <a:lnTo>
                        <a:pt x="378" y="6"/>
                      </a:lnTo>
                      <a:lnTo>
                        <a:pt x="390" y="6"/>
                      </a:lnTo>
                      <a:lnTo>
                        <a:pt x="402" y="6"/>
                      </a:lnTo>
                      <a:lnTo>
                        <a:pt x="414" y="6"/>
                      </a:lnTo>
                      <a:lnTo>
                        <a:pt x="43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48" name="Freeform 279">
                  <a:extLst>
                    <a:ext uri="{FF2B5EF4-FFF2-40B4-BE49-F238E27FC236}">
                      <a16:creationId xmlns:a16="http://schemas.microsoft.com/office/drawing/2014/main" id="{E8750FF1-169A-4A39-BC09-B296D65463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535" y="1626"/>
                  <a:ext cx="516" cy="576"/>
                </a:xfrm>
                <a:custGeom>
                  <a:avLst/>
                  <a:gdLst>
                    <a:gd name="T0" fmla="*/ 174 w 516"/>
                    <a:gd name="T1" fmla="*/ 576 h 576"/>
                    <a:gd name="T2" fmla="*/ 174 w 516"/>
                    <a:gd name="T3" fmla="*/ 576 h 576"/>
                    <a:gd name="T4" fmla="*/ 402 w 516"/>
                    <a:gd name="T5" fmla="*/ 570 h 576"/>
                    <a:gd name="T6" fmla="*/ 402 w 516"/>
                    <a:gd name="T7" fmla="*/ 570 h 576"/>
                    <a:gd name="T8" fmla="*/ 462 w 516"/>
                    <a:gd name="T9" fmla="*/ 6 h 576"/>
                    <a:gd name="T10" fmla="*/ 486 w 516"/>
                    <a:gd name="T11" fmla="*/ 30 h 576"/>
                    <a:gd name="T12" fmla="*/ 510 w 516"/>
                    <a:gd name="T13" fmla="*/ 72 h 576"/>
                    <a:gd name="T14" fmla="*/ 510 w 516"/>
                    <a:gd name="T15" fmla="*/ 132 h 576"/>
                    <a:gd name="T16" fmla="*/ 474 w 516"/>
                    <a:gd name="T17" fmla="*/ 168 h 576"/>
                    <a:gd name="T18" fmla="*/ 450 w 516"/>
                    <a:gd name="T19" fmla="*/ 222 h 576"/>
                    <a:gd name="T20" fmla="*/ 456 w 516"/>
                    <a:gd name="T21" fmla="*/ 294 h 576"/>
                    <a:gd name="T22" fmla="*/ 450 w 516"/>
                    <a:gd name="T23" fmla="*/ 336 h 576"/>
                    <a:gd name="T24" fmla="*/ 438 w 516"/>
                    <a:gd name="T25" fmla="*/ 360 h 576"/>
                    <a:gd name="T26" fmla="*/ 432 w 516"/>
                    <a:gd name="T27" fmla="*/ 390 h 576"/>
                    <a:gd name="T28" fmla="*/ 426 w 516"/>
                    <a:gd name="T29" fmla="*/ 486 h 576"/>
                    <a:gd name="T30" fmla="*/ 402 w 516"/>
                    <a:gd name="T31" fmla="*/ 552 h 576"/>
                    <a:gd name="T32" fmla="*/ 330 w 516"/>
                    <a:gd name="T33" fmla="*/ 570 h 576"/>
                    <a:gd name="T34" fmla="*/ 174 w 516"/>
                    <a:gd name="T35" fmla="*/ 576 h 576"/>
                    <a:gd name="T36" fmla="*/ 174 w 516"/>
                    <a:gd name="T37" fmla="*/ 570 h 576"/>
                    <a:gd name="T38" fmla="*/ 180 w 516"/>
                    <a:gd name="T39" fmla="*/ 534 h 576"/>
                    <a:gd name="T40" fmla="*/ 168 w 516"/>
                    <a:gd name="T41" fmla="*/ 504 h 576"/>
                    <a:gd name="T42" fmla="*/ 132 w 516"/>
                    <a:gd name="T43" fmla="*/ 474 h 576"/>
                    <a:gd name="T44" fmla="*/ 78 w 516"/>
                    <a:gd name="T45" fmla="*/ 420 h 576"/>
                    <a:gd name="T46" fmla="*/ 36 w 516"/>
                    <a:gd name="T47" fmla="*/ 360 h 576"/>
                    <a:gd name="T48" fmla="*/ 6 w 516"/>
                    <a:gd name="T49" fmla="*/ 324 h 576"/>
                    <a:gd name="T50" fmla="*/ 0 w 516"/>
                    <a:gd name="T51" fmla="*/ 282 h 576"/>
                    <a:gd name="T52" fmla="*/ 66 w 516"/>
                    <a:gd name="T53" fmla="*/ 282 h 576"/>
                    <a:gd name="T54" fmla="*/ 132 w 516"/>
                    <a:gd name="T55" fmla="*/ 180 h 576"/>
                    <a:gd name="T56" fmla="*/ 258 w 516"/>
                    <a:gd name="T57" fmla="*/ 150 h 576"/>
                    <a:gd name="T58" fmla="*/ 348 w 516"/>
                    <a:gd name="T59" fmla="*/ 78 h 576"/>
                    <a:gd name="T60" fmla="*/ 456 w 516"/>
                    <a:gd name="T61" fmla="*/ 54 h 576"/>
                    <a:gd name="T62" fmla="*/ 450 w 516"/>
                    <a:gd name="T63" fmla="*/ 0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16" h="576">
                      <a:moveTo>
                        <a:pt x="174" y="576"/>
                      </a:moveTo>
                      <a:lnTo>
                        <a:pt x="174" y="576"/>
                      </a:lnTo>
                      <a:lnTo>
                        <a:pt x="174" y="576"/>
                      </a:lnTo>
                      <a:lnTo>
                        <a:pt x="174" y="576"/>
                      </a:lnTo>
                      <a:close/>
                      <a:moveTo>
                        <a:pt x="402" y="570"/>
                      </a:moveTo>
                      <a:lnTo>
                        <a:pt x="402" y="570"/>
                      </a:lnTo>
                      <a:lnTo>
                        <a:pt x="402" y="570"/>
                      </a:lnTo>
                      <a:lnTo>
                        <a:pt x="402" y="570"/>
                      </a:lnTo>
                      <a:close/>
                      <a:moveTo>
                        <a:pt x="450" y="0"/>
                      </a:moveTo>
                      <a:lnTo>
                        <a:pt x="462" y="6"/>
                      </a:lnTo>
                      <a:lnTo>
                        <a:pt x="474" y="18"/>
                      </a:lnTo>
                      <a:lnTo>
                        <a:pt x="486" y="30"/>
                      </a:lnTo>
                      <a:lnTo>
                        <a:pt x="498" y="48"/>
                      </a:lnTo>
                      <a:lnTo>
                        <a:pt x="510" y="72"/>
                      </a:lnTo>
                      <a:lnTo>
                        <a:pt x="516" y="108"/>
                      </a:lnTo>
                      <a:lnTo>
                        <a:pt x="510" y="132"/>
                      </a:lnTo>
                      <a:lnTo>
                        <a:pt x="492" y="150"/>
                      </a:lnTo>
                      <a:lnTo>
                        <a:pt x="474" y="168"/>
                      </a:lnTo>
                      <a:lnTo>
                        <a:pt x="456" y="192"/>
                      </a:lnTo>
                      <a:lnTo>
                        <a:pt x="450" y="222"/>
                      </a:lnTo>
                      <a:lnTo>
                        <a:pt x="456" y="258"/>
                      </a:lnTo>
                      <a:lnTo>
                        <a:pt x="456" y="294"/>
                      </a:lnTo>
                      <a:lnTo>
                        <a:pt x="456" y="318"/>
                      </a:lnTo>
                      <a:lnTo>
                        <a:pt x="450" y="336"/>
                      </a:lnTo>
                      <a:lnTo>
                        <a:pt x="444" y="348"/>
                      </a:lnTo>
                      <a:lnTo>
                        <a:pt x="438" y="360"/>
                      </a:lnTo>
                      <a:lnTo>
                        <a:pt x="432" y="372"/>
                      </a:lnTo>
                      <a:lnTo>
                        <a:pt x="432" y="390"/>
                      </a:lnTo>
                      <a:lnTo>
                        <a:pt x="426" y="432"/>
                      </a:lnTo>
                      <a:lnTo>
                        <a:pt x="426" y="486"/>
                      </a:lnTo>
                      <a:lnTo>
                        <a:pt x="408" y="534"/>
                      </a:lnTo>
                      <a:lnTo>
                        <a:pt x="402" y="552"/>
                      </a:lnTo>
                      <a:lnTo>
                        <a:pt x="402" y="570"/>
                      </a:lnTo>
                      <a:lnTo>
                        <a:pt x="330" y="570"/>
                      </a:lnTo>
                      <a:lnTo>
                        <a:pt x="258" y="570"/>
                      </a:lnTo>
                      <a:lnTo>
                        <a:pt x="174" y="576"/>
                      </a:lnTo>
                      <a:lnTo>
                        <a:pt x="174" y="576"/>
                      </a:lnTo>
                      <a:lnTo>
                        <a:pt x="174" y="570"/>
                      </a:lnTo>
                      <a:lnTo>
                        <a:pt x="180" y="552"/>
                      </a:lnTo>
                      <a:lnTo>
                        <a:pt x="180" y="534"/>
                      </a:lnTo>
                      <a:lnTo>
                        <a:pt x="174" y="522"/>
                      </a:lnTo>
                      <a:lnTo>
                        <a:pt x="168" y="504"/>
                      </a:lnTo>
                      <a:lnTo>
                        <a:pt x="150" y="492"/>
                      </a:lnTo>
                      <a:lnTo>
                        <a:pt x="132" y="474"/>
                      </a:lnTo>
                      <a:lnTo>
                        <a:pt x="102" y="450"/>
                      </a:lnTo>
                      <a:lnTo>
                        <a:pt x="78" y="420"/>
                      </a:lnTo>
                      <a:lnTo>
                        <a:pt x="60" y="384"/>
                      </a:lnTo>
                      <a:lnTo>
                        <a:pt x="36" y="360"/>
                      </a:lnTo>
                      <a:lnTo>
                        <a:pt x="18" y="342"/>
                      </a:lnTo>
                      <a:lnTo>
                        <a:pt x="6" y="324"/>
                      </a:lnTo>
                      <a:lnTo>
                        <a:pt x="0" y="300"/>
                      </a:lnTo>
                      <a:lnTo>
                        <a:pt x="0" y="282"/>
                      </a:lnTo>
                      <a:lnTo>
                        <a:pt x="6" y="282"/>
                      </a:lnTo>
                      <a:lnTo>
                        <a:pt x="66" y="282"/>
                      </a:lnTo>
                      <a:lnTo>
                        <a:pt x="138" y="246"/>
                      </a:lnTo>
                      <a:lnTo>
                        <a:pt x="132" y="180"/>
                      </a:lnTo>
                      <a:lnTo>
                        <a:pt x="204" y="180"/>
                      </a:lnTo>
                      <a:lnTo>
                        <a:pt x="258" y="150"/>
                      </a:lnTo>
                      <a:lnTo>
                        <a:pt x="288" y="90"/>
                      </a:lnTo>
                      <a:lnTo>
                        <a:pt x="348" y="78"/>
                      </a:lnTo>
                      <a:lnTo>
                        <a:pt x="408" y="108"/>
                      </a:lnTo>
                      <a:lnTo>
                        <a:pt x="456" y="54"/>
                      </a:lnTo>
                      <a:lnTo>
                        <a:pt x="450" y="0"/>
                      </a:lnTo>
                      <a:lnTo>
                        <a:pt x="45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49" name="Freeform 282">
                  <a:extLst>
                    <a:ext uri="{FF2B5EF4-FFF2-40B4-BE49-F238E27FC236}">
                      <a16:creationId xmlns:a16="http://schemas.microsoft.com/office/drawing/2014/main" id="{03E72957-125C-4F76-8918-626BD782B57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045" y="1302"/>
                  <a:ext cx="522" cy="540"/>
                </a:xfrm>
                <a:custGeom>
                  <a:avLst/>
                  <a:gdLst>
                    <a:gd name="T0" fmla="*/ 0 w 522"/>
                    <a:gd name="T1" fmla="*/ 384 h 540"/>
                    <a:gd name="T2" fmla="*/ 0 w 522"/>
                    <a:gd name="T3" fmla="*/ 384 h 540"/>
                    <a:gd name="T4" fmla="*/ 0 w 522"/>
                    <a:gd name="T5" fmla="*/ 384 h 540"/>
                    <a:gd name="T6" fmla="*/ 0 w 522"/>
                    <a:gd name="T7" fmla="*/ 384 h 540"/>
                    <a:gd name="T8" fmla="*/ 276 w 522"/>
                    <a:gd name="T9" fmla="*/ 0 h 540"/>
                    <a:gd name="T10" fmla="*/ 312 w 522"/>
                    <a:gd name="T11" fmla="*/ 0 h 540"/>
                    <a:gd name="T12" fmla="*/ 378 w 522"/>
                    <a:gd name="T13" fmla="*/ 18 h 540"/>
                    <a:gd name="T14" fmla="*/ 420 w 522"/>
                    <a:gd name="T15" fmla="*/ 36 h 540"/>
                    <a:gd name="T16" fmla="*/ 420 w 522"/>
                    <a:gd name="T17" fmla="*/ 36 h 540"/>
                    <a:gd name="T18" fmla="*/ 396 w 522"/>
                    <a:gd name="T19" fmla="*/ 84 h 540"/>
                    <a:gd name="T20" fmla="*/ 396 w 522"/>
                    <a:gd name="T21" fmla="*/ 144 h 540"/>
                    <a:gd name="T22" fmla="*/ 372 w 522"/>
                    <a:gd name="T23" fmla="*/ 210 h 540"/>
                    <a:gd name="T24" fmla="*/ 396 w 522"/>
                    <a:gd name="T25" fmla="*/ 252 h 540"/>
                    <a:gd name="T26" fmla="*/ 450 w 522"/>
                    <a:gd name="T27" fmla="*/ 246 h 540"/>
                    <a:gd name="T28" fmla="*/ 450 w 522"/>
                    <a:gd name="T29" fmla="*/ 240 h 540"/>
                    <a:gd name="T30" fmla="*/ 456 w 522"/>
                    <a:gd name="T31" fmla="*/ 252 h 540"/>
                    <a:gd name="T32" fmla="*/ 462 w 522"/>
                    <a:gd name="T33" fmla="*/ 258 h 540"/>
                    <a:gd name="T34" fmla="*/ 474 w 522"/>
                    <a:gd name="T35" fmla="*/ 264 h 540"/>
                    <a:gd name="T36" fmla="*/ 486 w 522"/>
                    <a:gd name="T37" fmla="*/ 264 h 540"/>
                    <a:gd name="T38" fmla="*/ 504 w 522"/>
                    <a:gd name="T39" fmla="*/ 264 h 540"/>
                    <a:gd name="T40" fmla="*/ 516 w 522"/>
                    <a:gd name="T41" fmla="*/ 270 h 540"/>
                    <a:gd name="T42" fmla="*/ 522 w 522"/>
                    <a:gd name="T43" fmla="*/ 270 h 540"/>
                    <a:gd name="T44" fmla="*/ 522 w 522"/>
                    <a:gd name="T45" fmla="*/ 270 h 540"/>
                    <a:gd name="T46" fmla="*/ 480 w 522"/>
                    <a:gd name="T47" fmla="*/ 336 h 540"/>
                    <a:gd name="T48" fmla="*/ 420 w 522"/>
                    <a:gd name="T49" fmla="*/ 360 h 540"/>
                    <a:gd name="T50" fmla="*/ 360 w 522"/>
                    <a:gd name="T51" fmla="*/ 402 h 540"/>
                    <a:gd name="T52" fmla="*/ 342 w 522"/>
                    <a:gd name="T53" fmla="*/ 468 h 540"/>
                    <a:gd name="T54" fmla="*/ 276 w 522"/>
                    <a:gd name="T55" fmla="*/ 540 h 540"/>
                    <a:gd name="T56" fmla="*/ 276 w 522"/>
                    <a:gd name="T57" fmla="*/ 540 h 540"/>
                    <a:gd name="T58" fmla="*/ 270 w 522"/>
                    <a:gd name="T59" fmla="*/ 540 h 540"/>
                    <a:gd name="T60" fmla="*/ 258 w 522"/>
                    <a:gd name="T61" fmla="*/ 528 h 540"/>
                    <a:gd name="T62" fmla="*/ 234 w 522"/>
                    <a:gd name="T63" fmla="*/ 522 h 540"/>
                    <a:gd name="T64" fmla="*/ 210 w 522"/>
                    <a:gd name="T65" fmla="*/ 522 h 540"/>
                    <a:gd name="T66" fmla="*/ 180 w 522"/>
                    <a:gd name="T67" fmla="*/ 522 h 540"/>
                    <a:gd name="T68" fmla="*/ 138 w 522"/>
                    <a:gd name="T69" fmla="*/ 516 h 540"/>
                    <a:gd name="T70" fmla="*/ 102 w 522"/>
                    <a:gd name="T71" fmla="*/ 498 h 540"/>
                    <a:gd name="T72" fmla="*/ 66 w 522"/>
                    <a:gd name="T73" fmla="*/ 474 h 540"/>
                    <a:gd name="T74" fmla="*/ 48 w 522"/>
                    <a:gd name="T75" fmla="*/ 456 h 540"/>
                    <a:gd name="T76" fmla="*/ 42 w 522"/>
                    <a:gd name="T77" fmla="*/ 438 h 540"/>
                    <a:gd name="T78" fmla="*/ 30 w 522"/>
                    <a:gd name="T79" fmla="*/ 420 h 540"/>
                    <a:gd name="T80" fmla="*/ 12 w 522"/>
                    <a:gd name="T81" fmla="*/ 396 h 540"/>
                    <a:gd name="T82" fmla="*/ 0 w 522"/>
                    <a:gd name="T83" fmla="*/ 384 h 540"/>
                    <a:gd name="T84" fmla="*/ 36 w 522"/>
                    <a:gd name="T85" fmla="*/ 342 h 540"/>
                    <a:gd name="T86" fmla="*/ 96 w 522"/>
                    <a:gd name="T87" fmla="*/ 294 h 540"/>
                    <a:gd name="T88" fmla="*/ 108 w 522"/>
                    <a:gd name="T89" fmla="*/ 228 h 540"/>
                    <a:gd name="T90" fmla="*/ 174 w 522"/>
                    <a:gd name="T91" fmla="*/ 216 h 540"/>
                    <a:gd name="T92" fmla="*/ 228 w 522"/>
                    <a:gd name="T93" fmla="*/ 216 h 540"/>
                    <a:gd name="T94" fmla="*/ 240 w 522"/>
                    <a:gd name="T95" fmla="*/ 144 h 540"/>
                    <a:gd name="T96" fmla="*/ 204 w 522"/>
                    <a:gd name="T97" fmla="*/ 90 h 540"/>
                    <a:gd name="T98" fmla="*/ 228 w 522"/>
                    <a:gd name="T99" fmla="*/ 48 h 540"/>
                    <a:gd name="T100" fmla="*/ 276 w 522"/>
                    <a:gd name="T101" fmla="*/ 0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22" h="540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0" y="384"/>
                      </a:lnTo>
                      <a:lnTo>
                        <a:pt x="0" y="384"/>
                      </a:lnTo>
                      <a:close/>
                      <a:moveTo>
                        <a:pt x="276" y="0"/>
                      </a:moveTo>
                      <a:lnTo>
                        <a:pt x="312" y="0"/>
                      </a:lnTo>
                      <a:lnTo>
                        <a:pt x="378" y="18"/>
                      </a:lnTo>
                      <a:lnTo>
                        <a:pt x="420" y="36"/>
                      </a:lnTo>
                      <a:lnTo>
                        <a:pt x="420" y="36"/>
                      </a:lnTo>
                      <a:lnTo>
                        <a:pt x="396" y="84"/>
                      </a:lnTo>
                      <a:lnTo>
                        <a:pt x="396" y="144"/>
                      </a:lnTo>
                      <a:lnTo>
                        <a:pt x="372" y="210"/>
                      </a:lnTo>
                      <a:lnTo>
                        <a:pt x="396" y="252"/>
                      </a:lnTo>
                      <a:lnTo>
                        <a:pt x="450" y="246"/>
                      </a:lnTo>
                      <a:lnTo>
                        <a:pt x="450" y="240"/>
                      </a:lnTo>
                      <a:lnTo>
                        <a:pt x="456" y="252"/>
                      </a:lnTo>
                      <a:lnTo>
                        <a:pt x="462" y="258"/>
                      </a:lnTo>
                      <a:lnTo>
                        <a:pt x="474" y="264"/>
                      </a:lnTo>
                      <a:lnTo>
                        <a:pt x="486" y="264"/>
                      </a:lnTo>
                      <a:lnTo>
                        <a:pt x="504" y="264"/>
                      </a:lnTo>
                      <a:lnTo>
                        <a:pt x="516" y="270"/>
                      </a:lnTo>
                      <a:lnTo>
                        <a:pt x="522" y="270"/>
                      </a:lnTo>
                      <a:lnTo>
                        <a:pt x="522" y="270"/>
                      </a:lnTo>
                      <a:lnTo>
                        <a:pt x="480" y="336"/>
                      </a:lnTo>
                      <a:lnTo>
                        <a:pt x="420" y="360"/>
                      </a:lnTo>
                      <a:lnTo>
                        <a:pt x="360" y="402"/>
                      </a:lnTo>
                      <a:lnTo>
                        <a:pt x="342" y="468"/>
                      </a:lnTo>
                      <a:lnTo>
                        <a:pt x="276" y="540"/>
                      </a:lnTo>
                      <a:lnTo>
                        <a:pt x="276" y="540"/>
                      </a:lnTo>
                      <a:lnTo>
                        <a:pt x="270" y="540"/>
                      </a:lnTo>
                      <a:lnTo>
                        <a:pt x="258" y="528"/>
                      </a:lnTo>
                      <a:lnTo>
                        <a:pt x="234" y="522"/>
                      </a:lnTo>
                      <a:lnTo>
                        <a:pt x="210" y="522"/>
                      </a:lnTo>
                      <a:lnTo>
                        <a:pt x="180" y="522"/>
                      </a:lnTo>
                      <a:lnTo>
                        <a:pt x="138" y="516"/>
                      </a:lnTo>
                      <a:lnTo>
                        <a:pt x="102" y="498"/>
                      </a:lnTo>
                      <a:lnTo>
                        <a:pt x="66" y="474"/>
                      </a:lnTo>
                      <a:lnTo>
                        <a:pt x="48" y="456"/>
                      </a:lnTo>
                      <a:lnTo>
                        <a:pt x="42" y="438"/>
                      </a:lnTo>
                      <a:lnTo>
                        <a:pt x="30" y="420"/>
                      </a:lnTo>
                      <a:lnTo>
                        <a:pt x="12" y="396"/>
                      </a:lnTo>
                      <a:lnTo>
                        <a:pt x="0" y="384"/>
                      </a:lnTo>
                      <a:lnTo>
                        <a:pt x="36" y="342"/>
                      </a:lnTo>
                      <a:lnTo>
                        <a:pt x="96" y="294"/>
                      </a:lnTo>
                      <a:lnTo>
                        <a:pt x="108" y="228"/>
                      </a:lnTo>
                      <a:lnTo>
                        <a:pt x="174" y="216"/>
                      </a:lnTo>
                      <a:lnTo>
                        <a:pt x="228" y="216"/>
                      </a:lnTo>
                      <a:lnTo>
                        <a:pt x="240" y="144"/>
                      </a:lnTo>
                      <a:lnTo>
                        <a:pt x="204" y="90"/>
                      </a:lnTo>
                      <a:lnTo>
                        <a:pt x="228" y="48"/>
                      </a:lnTo>
                      <a:lnTo>
                        <a:pt x="27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0" name="Freeform 283">
                  <a:extLst>
                    <a:ext uri="{FF2B5EF4-FFF2-40B4-BE49-F238E27FC236}">
                      <a16:creationId xmlns:a16="http://schemas.microsoft.com/office/drawing/2014/main" id="{2FF8D8B7-BA14-40B3-8260-56E0F51AE8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7699" y="1092"/>
                  <a:ext cx="402" cy="288"/>
                </a:xfrm>
                <a:custGeom>
                  <a:avLst/>
                  <a:gdLst>
                    <a:gd name="T0" fmla="*/ 30 w 402"/>
                    <a:gd name="T1" fmla="*/ 30 h 288"/>
                    <a:gd name="T2" fmla="*/ 30 w 402"/>
                    <a:gd name="T3" fmla="*/ 30 h 288"/>
                    <a:gd name="T4" fmla="*/ 96 w 402"/>
                    <a:gd name="T5" fmla="*/ 0 h 288"/>
                    <a:gd name="T6" fmla="*/ 114 w 402"/>
                    <a:gd name="T7" fmla="*/ 12 h 288"/>
                    <a:gd name="T8" fmla="*/ 138 w 402"/>
                    <a:gd name="T9" fmla="*/ 18 h 288"/>
                    <a:gd name="T10" fmla="*/ 174 w 402"/>
                    <a:gd name="T11" fmla="*/ 36 h 288"/>
                    <a:gd name="T12" fmla="*/ 210 w 402"/>
                    <a:gd name="T13" fmla="*/ 60 h 288"/>
                    <a:gd name="T14" fmla="*/ 234 w 402"/>
                    <a:gd name="T15" fmla="*/ 78 h 288"/>
                    <a:gd name="T16" fmla="*/ 264 w 402"/>
                    <a:gd name="T17" fmla="*/ 84 h 288"/>
                    <a:gd name="T18" fmla="*/ 306 w 402"/>
                    <a:gd name="T19" fmla="*/ 84 h 288"/>
                    <a:gd name="T20" fmla="*/ 318 w 402"/>
                    <a:gd name="T21" fmla="*/ 96 h 288"/>
                    <a:gd name="T22" fmla="*/ 318 w 402"/>
                    <a:gd name="T23" fmla="*/ 120 h 288"/>
                    <a:gd name="T24" fmla="*/ 300 w 402"/>
                    <a:gd name="T25" fmla="*/ 132 h 288"/>
                    <a:gd name="T26" fmla="*/ 294 w 402"/>
                    <a:gd name="T27" fmla="*/ 144 h 288"/>
                    <a:gd name="T28" fmla="*/ 312 w 402"/>
                    <a:gd name="T29" fmla="*/ 156 h 288"/>
                    <a:gd name="T30" fmla="*/ 342 w 402"/>
                    <a:gd name="T31" fmla="*/ 168 h 288"/>
                    <a:gd name="T32" fmla="*/ 372 w 402"/>
                    <a:gd name="T33" fmla="*/ 174 h 288"/>
                    <a:gd name="T34" fmla="*/ 396 w 402"/>
                    <a:gd name="T35" fmla="*/ 186 h 288"/>
                    <a:gd name="T36" fmla="*/ 402 w 402"/>
                    <a:gd name="T37" fmla="*/ 204 h 288"/>
                    <a:gd name="T38" fmla="*/ 390 w 402"/>
                    <a:gd name="T39" fmla="*/ 222 h 288"/>
                    <a:gd name="T40" fmla="*/ 336 w 402"/>
                    <a:gd name="T41" fmla="*/ 240 h 288"/>
                    <a:gd name="T42" fmla="*/ 240 w 402"/>
                    <a:gd name="T43" fmla="*/ 222 h 288"/>
                    <a:gd name="T44" fmla="*/ 192 w 402"/>
                    <a:gd name="T45" fmla="*/ 234 h 288"/>
                    <a:gd name="T46" fmla="*/ 138 w 402"/>
                    <a:gd name="T47" fmla="*/ 222 h 288"/>
                    <a:gd name="T48" fmla="*/ 78 w 402"/>
                    <a:gd name="T49" fmla="*/ 270 h 288"/>
                    <a:gd name="T50" fmla="*/ 48 w 402"/>
                    <a:gd name="T51" fmla="*/ 288 h 288"/>
                    <a:gd name="T52" fmla="*/ 30 w 402"/>
                    <a:gd name="T53" fmla="*/ 282 h 288"/>
                    <a:gd name="T54" fmla="*/ 18 w 402"/>
                    <a:gd name="T55" fmla="*/ 252 h 288"/>
                    <a:gd name="T56" fmla="*/ 0 w 402"/>
                    <a:gd name="T57" fmla="*/ 234 h 288"/>
                    <a:gd name="T58" fmla="*/ 42 w 402"/>
                    <a:gd name="T59" fmla="*/ 198 h 288"/>
                    <a:gd name="T60" fmla="*/ 36 w 402"/>
                    <a:gd name="T61" fmla="*/ 120 h 288"/>
                    <a:gd name="T62" fmla="*/ 30 w 402"/>
                    <a:gd name="T63" fmla="*/ 30 h 288"/>
                    <a:gd name="T64" fmla="*/ 60 w 402"/>
                    <a:gd name="T65" fmla="*/ 12 h 288"/>
                    <a:gd name="T66" fmla="*/ 84 w 402"/>
                    <a:gd name="T67" fmla="*/ 0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02" h="288">
                      <a:moveTo>
                        <a:pt x="30" y="30"/>
                      </a:move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close/>
                      <a:moveTo>
                        <a:pt x="84" y="0"/>
                      </a:moveTo>
                      <a:lnTo>
                        <a:pt x="96" y="0"/>
                      </a:lnTo>
                      <a:lnTo>
                        <a:pt x="102" y="6"/>
                      </a:lnTo>
                      <a:lnTo>
                        <a:pt x="114" y="12"/>
                      </a:lnTo>
                      <a:lnTo>
                        <a:pt x="120" y="12"/>
                      </a:lnTo>
                      <a:lnTo>
                        <a:pt x="138" y="18"/>
                      </a:lnTo>
                      <a:lnTo>
                        <a:pt x="156" y="30"/>
                      </a:lnTo>
                      <a:lnTo>
                        <a:pt x="174" y="36"/>
                      </a:lnTo>
                      <a:lnTo>
                        <a:pt x="198" y="48"/>
                      </a:lnTo>
                      <a:lnTo>
                        <a:pt x="210" y="60"/>
                      </a:lnTo>
                      <a:lnTo>
                        <a:pt x="222" y="66"/>
                      </a:lnTo>
                      <a:lnTo>
                        <a:pt x="234" y="78"/>
                      </a:lnTo>
                      <a:lnTo>
                        <a:pt x="252" y="78"/>
                      </a:lnTo>
                      <a:lnTo>
                        <a:pt x="264" y="84"/>
                      </a:lnTo>
                      <a:lnTo>
                        <a:pt x="288" y="84"/>
                      </a:lnTo>
                      <a:lnTo>
                        <a:pt x="306" y="84"/>
                      </a:lnTo>
                      <a:lnTo>
                        <a:pt x="312" y="90"/>
                      </a:lnTo>
                      <a:lnTo>
                        <a:pt x="318" y="96"/>
                      </a:lnTo>
                      <a:lnTo>
                        <a:pt x="318" y="108"/>
                      </a:lnTo>
                      <a:lnTo>
                        <a:pt x="318" y="120"/>
                      </a:lnTo>
                      <a:lnTo>
                        <a:pt x="312" y="126"/>
                      </a:lnTo>
                      <a:lnTo>
                        <a:pt x="300" y="132"/>
                      </a:lnTo>
                      <a:lnTo>
                        <a:pt x="294" y="138"/>
                      </a:lnTo>
                      <a:lnTo>
                        <a:pt x="294" y="144"/>
                      </a:lnTo>
                      <a:lnTo>
                        <a:pt x="300" y="150"/>
                      </a:lnTo>
                      <a:lnTo>
                        <a:pt x="312" y="156"/>
                      </a:lnTo>
                      <a:lnTo>
                        <a:pt x="324" y="162"/>
                      </a:lnTo>
                      <a:lnTo>
                        <a:pt x="342" y="168"/>
                      </a:lnTo>
                      <a:lnTo>
                        <a:pt x="354" y="174"/>
                      </a:lnTo>
                      <a:lnTo>
                        <a:pt x="372" y="174"/>
                      </a:lnTo>
                      <a:lnTo>
                        <a:pt x="384" y="180"/>
                      </a:lnTo>
                      <a:lnTo>
                        <a:pt x="396" y="186"/>
                      </a:lnTo>
                      <a:lnTo>
                        <a:pt x="402" y="198"/>
                      </a:lnTo>
                      <a:lnTo>
                        <a:pt x="402" y="204"/>
                      </a:lnTo>
                      <a:lnTo>
                        <a:pt x="396" y="216"/>
                      </a:lnTo>
                      <a:lnTo>
                        <a:pt x="390" y="222"/>
                      </a:lnTo>
                      <a:lnTo>
                        <a:pt x="378" y="228"/>
                      </a:lnTo>
                      <a:lnTo>
                        <a:pt x="336" y="240"/>
                      </a:lnTo>
                      <a:lnTo>
                        <a:pt x="270" y="228"/>
                      </a:lnTo>
                      <a:lnTo>
                        <a:pt x="240" y="222"/>
                      </a:lnTo>
                      <a:lnTo>
                        <a:pt x="216" y="228"/>
                      </a:lnTo>
                      <a:lnTo>
                        <a:pt x="192" y="234"/>
                      </a:lnTo>
                      <a:lnTo>
                        <a:pt x="174" y="228"/>
                      </a:lnTo>
                      <a:lnTo>
                        <a:pt x="138" y="222"/>
                      </a:lnTo>
                      <a:lnTo>
                        <a:pt x="108" y="240"/>
                      </a:lnTo>
                      <a:lnTo>
                        <a:pt x="78" y="270"/>
                      </a:lnTo>
                      <a:lnTo>
                        <a:pt x="60" y="282"/>
                      </a:lnTo>
                      <a:lnTo>
                        <a:pt x="48" y="288"/>
                      </a:lnTo>
                      <a:lnTo>
                        <a:pt x="42" y="288"/>
                      </a:lnTo>
                      <a:lnTo>
                        <a:pt x="30" y="282"/>
                      </a:lnTo>
                      <a:lnTo>
                        <a:pt x="24" y="270"/>
                      </a:lnTo>
                      <a:lnTo>
                        <a:pt x="18" y="252"/>
                      </a:lnTo>
                      <a:lnTo>
                        <a:pt x="12" y="240"/>
                      </a:lnTo>
                      <a:lnTo>
                        <a:pt x="0" y="234"/>
                      </a:lnTo>
                      <a:lnTo>
                        <a:pt x="6" y="234"/>
                      </a:lnTo>
                      <a:lnTo>
                        <a:pt x="42" y="198"/>
                      </a:lnTo>
                      <a:lnTo>
                        <a:pt x="24" y="162"/>
                      </a:lnTo>
                      <a:lnTo>
                        <a:pt x="36" y="120"/>
                      </a:lnTo>
                      <a:lnTo>
                        <a:pt x="60" y="90"/>
                      </a:lnTo>
                      <a:lnTo>
                        <a:pt x="30" y="30"/>
                      </a:lnTo>
                      <a:lnTo>
                        <a:pt x="48" y="24"/>
                      </a:lnTo>
                      <a:lnTo>
                        <a:pt x="60" y="12"/>
                      </a:lnTo>
                      <a:lnTo>
                        <a:pt x="78" y="6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1" name="Freeform 284">
                  <a:extLst>
                    <a:ext uri="{FF2B5EF4-FFF2-40B4-BE49-F238E27FC236}">
                      <a16:creationId xmlns:a16="http://schemas.microsoft.com/office/drawing/2014/main" id="{A6B10481-5157-455A-B8ED-82A7ECF8D3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933" y="1080"/>
                  <a:ext cx="294" cy="276"/>
                </a:xfrm>
                <a:custGeom>
                  <a:avLst/>
                  <a:gdLst>
                    <a:gd name="T0" fmla="*/ 192 w 294"/>
                    <a:gd name="T1" fmla="*/ 0 h 276"/>
                    <a:gd name="T2" fmla="*/ 216 w 294"/>
                    <a:gd name="T3" fmla="*/ 30 h 276"/>
                    <a:gd name="T4" fmla="*/ 246 w 294"/>
                    <a:gd name="T5" fmla="*/ 42 h 276"/>
                    <a:gd name="T6" fmla="*/ 264 w 294"/>
                    <a:gd name="T7" fmla="*/ 42 h 276"/>
                    <a:gd name="T8" fmla="*/ 270 w 294"/>
                    <a:gd name="T9" fmla="*/ 132 h 276"/>
                    <a:gd name="T10" fmla="*/ 276 w 294"/>
                    <a:gd name="T11" fmla="*/ 210 h 276"/>
                    <a:gd name="T12" fmla="*/ 234 w 294"/>
                    <a:gd name="T13" fmla="*/ 246 h 276"/>
                    <a:gd name="T14" fmla="*/ 210 w 294"/>
                    <a:gd name="T15" fmla="*/ 246 h 276"/>
                    <a:gd name="T16" fmla="*/ 174 w 294"/>
                    <a:gd name="T17" fmla="*/ 246 h 276"/>
                    <a:gd name="T18" fmla="*/ 144 w 294"/>
                    <a:gd name="T19" fmla="*/ 246 h 276"/>
                    <a:gd name="T20" fmla="*/ 114 w 294"/>
                    <a:gd name="T21" fmla="*/ 246 h 276"/>
                    <a:gd name="T22" fmla="*/ 96 w 294"/>
                    <a:gd name="T23" fmla="*/ 264 h 276"/>
                    <a:gd name="T24" fmla="*/ 78 w 294"/>
                    <a:gd name="T25" fmla="*/ 276 h 276"/>
                    <a:gd name="T26" fmla="*/ 48 w 294"/>
                    <a:gd name="T27" fmla="*/ 270 h 276"/>
                    <a:gd name="T28" fmla="*/ 18 w 294"/>
                    <a:gd name="T29" fmla="*/ 252 h 276"/>
                    <a:gd name="T30" fmla="*/ 0 w 294"/>
                    <a:gd name="T31" fmla="*/ 222 h 276"/>
                    <a:gd name="T32" fmla="*/ 6 w 294"/>
                    <a:gd name="T33" fmla="*/ 204 h 276"/>
                    <a:gd name="T34" fmla="*/ 24 w 294"/>
                    <a:gd name="T35" fmla="*/ 198 h 276"/>
                    <a:gd name="T36" fmla="*/ 54 w 294"/>
                    <a:gd name="T37" fmla="*/ 198 h 276"/>
                    <a:gd name="T38" fmla="*/ 72 w 294"/>
                    <a:gd name="T39" fmla="*/ 192 h 276"/>
                    <a:gd name="T40" fmla="*/ 90 w 294"/>
                    <a:gd name="T41" fmla="*/ 180 h 276"/>
                    <a:gd name="T42" fmla="*/ 114 w 294"/>
                    <a:gd name="T43" fmla="*/ 180 h 276"/>
                    <a:gd name="T44" fmla="*/ 144 w 294"/>
                    <a:gd name="T45" fmla="*/ 186 h 276"/>
                    <a:gd name="T46" fmla="*/ 162 w 294"/>
                    <a:gd name="T47" fmla="*/ 186 h 276"/>
                    <a:gd name="T48" fmla="*/ 168 w 294"/>
                    <a:gd name="T49" fmla="*/ 168 h 276"/>
                    <a:gd name="T50" fmla="*/ 156 w 294"/>
                    <a:gd name="T51" fmla="*/ 150 h 276"/>
                    <a:gd name="T52" fmla="*/ 156 w 294"/>
                    <a:gd name="T53" fmla="*/ 126 h 276"/>
                    <a:gd name="T54" fmla="*/ 174 w 294"/>
                    <a:gd name="T55" fmla="*/ 102 h 276"/>
                    <a:gd name="T56" fmla="*/ 180 w 294"/>
                    <a:gd name="T57" fmla="*/ 84 h 276"/>
                    <a:gd name="T58" fmla="*/ 168 w 294"/>
                    <a:gd name="T59" fmla="*/ 72 h 276"/>
                    <a:gd name="T60" fmla="*/ 132 w 294"/>
                    <a:gd name="T61" fmla="*/ 66 h 276"/>
                    <a:gd name="T62" fmla="*/ 96 w 294"/>
                    <a:gd name="T63" fmla="*/ 66 h 276"/>
                    <a:gd name="T64" fmla="*/ 90 w 294"/>
                    <a:gd name="T65" fmla="*/ 54 h 276"/>
                    <a:gd name="T66" fmla="*/ 102 w 294"/>
                    <a:gd name="T67" fmla="*/ 36 h 276"/>
                    <a:gd name="T68" fmla="*/ 144 w 294"/>
                    <a:gd name="T69" fmla="*/ 12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94" h="276">
                      <a:moveTo>
                        <a:pt x="168" y="0"/>
                      </a:moveTo>
                      <a:lnTo>
                        <a:pt x="192" y="0"/>
                      </a:lnTo>
                      <a:lnTo>
                        <a:pt x="210" y="18"/>
                      </a:lnTo>
                      <a:lnTo>
                        <a:pt x="216" y="30"/>
                      </a:lnTo>
                      <a:lnTo>
                        <a:pt x="228" y="36"/>
                      </a:lnTo>
                      <a:lnTo>
                        <a:pt x="246" y="42"/>
                      </a:lnTo>
                      <a:lnTo>
                        <a:pt x="264" y="42"/>
                      </a:lnTo>
                      <a:lnTo>
                        <a:pt x="264" y="42"/>
                      </a:lnTo>
                      <a:lnTo>
                        <a:pt x="294" y="102"/>
                      </a:lnTo>
                      <a:lnTo>
                        <a:pt x="270" y="132"/>
                      </a:lnTo>
                      <a:lnTo>
                        <a:pt x="258" y="174"/>
                      </a:lnTo>
                      <a:lnTo>
                        <a:pt x="276" y="210"/>
                      </a:lnTo>
                      <a:lnTo>
                        <a:pt x="240" y="246"/>
                      </a:lnTo>
                      <a:lnTo>
                        <a:pt x="234" y="246"/>
                      </a:lnTo>
                      <a:lnTo>
                        <a:pt x="222" y="246"/>
                      </a:lnTo>
                      <a:lnTo>
                        <a:pt x="210" y="246"/>
                      </a:lnTo>
                      <a:lnTo>
                        <a:pt x="192" y="246"/>
                      </a:lnTo>
                      <a:lnTo>
                        <a:pt x="174" y="246"/>
                      </a:lnTo>
                      <a:lnTo>
                        <a:pt x="162" y="246"/>
                      </a:lnTo>
                      <a:lnTo>
                        <a:pt x="144" y="246"/>
                      </a:lnTo>
                      <a:lnTo>
                        <a:pt x="126" y="246"/>
                      </a:lnTo>
                      <a:lnTo>
                        <a:pt x="114" y="246"/>
                      </a:lnTo>
                      <a:lnTo>
                        <a:pt x="102" y="258"/>
                      </a:lnTo>
                      <a:lnTo>
                        <a:pt x="96" y="264"/>
                      </a:lnTo>
                      <a:lnTo>
                        <a:pt x="84" y="270"/>
                      </a:lnTo>
                      <a:lnTo>
                        <a:pt x="78" y="276"/>
                      </a:lnTo>
                      <a:lnTo>
                        <a:pt x="60" y="276"/>
                      </a:lnTo>
                      <a:lnTo>
                        <a:pt x="48" y="270"/>
                      </a:lnTo>
                      <a:lnTo>
                        <a:pt x="30" y="264"/>
                      </a:lnTo>
                      <a:lnTo>
                        <a:pt x="18" y="252"/>
                      </a:lnTo>
                      <a:lnTo>
                        <a:pt x="6" y="234"/>
                      </a:lnTo>
                      <a:lnTo>
                        <a:pt x="0" y="222"/>
                      </a:lnTo>
                      <a:lnTo>
                        <a:pt x="0" y="210"/>
                      </a:lnTo>
                      <a:lnTo>
                        <a:pt x="6" y="204"/>
                      </a:lnTo>
                      <a:lnTo>
                        <a:pt x="12" y="198"/>
                      </a:lnTo>
                      <a:lnTo>
                        <a:pt x="24" y="198"/>
                      </a:lnTo>
                      <a:lnTo>
                        <a:pt x="36" y="198"/>
                      </a:lnTo>
                      <a:lnTo>
                        <a:pt x="54" y="198"/>
                      </a:lnTo>
                      <a:lnTo>
                        <a:pt x="66" y="198"/>
                      </a:lnTo>
                      <a:lnTo>
                        <a:pt x="72" y="192"/>
                      </a:lnTo>
                      <a:lnTo>
                        <a:pt x="84" y="186"/>
                      </a:lnTo>
                      <a:lnTo>
                        <a:pt x="90" y="180"/>
                      </a:lnTo>
                      <a:lnTo>
                        <a:pt x="102" y="180"/>
                      </a:lnTo>
                      <a:lnTo>
                        <a:pt x="114" y="180"/>
                      </a:lnTo>
                      <a:lnTo>
                        <a:pt x="132" y="180"/>
                      </a:lnTo>
                      <a:lnTo>
                        <a:pt x="144" y="186"/>
                      </a:lnTo>
                      <a:lnTo>
                        <a:pt x="156" y="186"/>
                      </a:lnTo>
                      <a:lnTo>
                        <a:pt x="162" y="186"/>
                      </a:lnTo>
                      <a:lnTo>
                        <a:pt x="168" y="180"/>
                      </a:lnTo>
                      <a:lnTo>
                        <a:pt x="168" y="168"/>
                      </a:lnTo>
                      <a:lnTo>
                        <a:pt x="162" y="162"/>
                      </a:lnTo>
                      <a:lnTo>
                        <a:pt x="156" y="150"/>
                      </a:lnTo>
                      <a:lnTo>
                        <a:pt x="156" y="138"/>
                      </a:lnTo>
                      <a:lnTo>
                        <a:pt x="156" y="126"/>
                      </a:lnTo>
                      <a:lnTo>
                        <a:pt x="162" y="114"/>
                      </a:lnTo>
                      <a:lnTo>
                        <a:pt x="174" y="102"/>
                      </a:lnTo>
                      <a:lnTo>
                        <a:pt x="180" y="90"/>
                      </a:lnTo>
                      <a:lnTo>
                        <a:pt x="180" y="84"/>
                      </a:lnTo>
                      <a:lnTo>
                        <a:pt x="180" y="78"/>
                      </a:lnTo>
                      <a:lnTo>
                        <a:pt x="168" y="72"/>
                      </a:lnTo>
                      <a:lnTo>
                        <a:pt x="150" y="72"/>
                      </a:lnTo>
                      <a:lnTo>
                        <a:pt x="132" y="66"/>
                      </a:lnTo>
                      <a:lnTo>
                        <a:pt x="108" y="66"/>
                      </a:lnTo>
                      <a:lnTo>
                        <a:pt x="96" y="66"/>
                      </a:lnTo>
                      <a:lnTo>
                        <a:pt x="90" y="60"/>
                      </a:lnTo>
                      <a:lnTo>
                        <a:pt x="90" y="54"/>
                      </a:lnTo>
                      <a:lnTo>
                        <a:pt x="96" y="48"/>
                      </a:lnTo>
                      <a:lnTo>
                        <a:pt x="102" y="36"/>
                      </a:lnTo>
                      <a:lnTo>
                        <a:pt x="120" y="24"/>
                      </a:lnTo>
                      <a:lnTo>
                        <a:pt x="144" y="12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2" name="Freeform 285">
                  <a:extLst>
                    <a:ext uri="{FF2B5EF4-FFF2-40B4-BE49-F238E27FC236}">
                      <a16:creationId xmlns:a16="http://schemas.microsoft.com/office/drawing/2014/main" id="{E97B8836-94E2-4F6C-B065-8A7AAAEDEE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2241" y="-936"/>
                  <a:ext cx="2934" cy="2622"/>
                </a:xfrm>
                <a:custGeom>
                  <a:avLst/>
                  <a:gdLst>
                    <a:gd name="T0" fmla="*/ 0 w 2934"/>
                    <a:gd name="T1" fmla="*/ 6 h 2622"/>
                    <a:gd name="T2" fmla="*/ 486 w 2934"/>
                    <a:gd name="T3" fmla="*/ 168 h 2622"/>
                    <a:gd name="T4" fmla="*/ 984 w 2934"/>
                    <a:gd name="T5" fmla="*/ 228 h 2622"/>
                    <a:gd name="T6" fmla="*/ 1140 w 2934"/>
                    <a:gd name="T7" fmla="*/ 288 h 2622"/>
                    <a:gd name="T8" fmla="*/ 1242 w 2934"/>
                    <a:gd name="T9" fmla="*/ 480 h 2622"/>
                    <a:gd name="T10" fmla="*/ 1416 w 2934"/>
                    <a:gd name="T11" fmla="*/ 654 h 2622"/>
                    <a:gd name="T12" fmla="*/ 1584 w 2934"/>
                    <a:gd name="T13" fmla="*/ 540 h 2622"/>
                    <a:gd name="T14" fmla="*/ 1680 w 2934"/>
                    <a:gd name="T15" fmla="*/ 786 h 2622"/>
                    <a:gd name="T16" fmla="*/ 1704 w 2934"/>
                    <a:gd name="T17" fmla="*/ 1056 h 2622"/>
                    <a:gd name="T18" fmla="*/ 1902 w 2934"/>
                    <a:gd name="T19" fmla="*/ 1158 h 2622"/>
                    <a:gd name="T20" fmla="*/ 1836 w 2934"/>
                    <a:gd name="T21" fmla="*/ 1344 h 2622"/>
                    <a:gd name="T22" fmla="*/ 1830 w 2934"/>
                    <a:gd name="T23" fmla="*/ 1428 h 2622"/>
                    <a:gd name="T24" fmla="*/ 1740 w 2934"/>
                    <a:gd name="T25" fmla="*/ 1620 h 2622"/>
                    <a:gd name="T26" fmla="*/ 1812 w 2934"/>
                    <a:gd name="T27" fmla="*/ 1800 h 2622"/>
                    <a:gd name="T28" fmla="*/ 1902 w 2934"/>
                    <a:gd name="T29" fmla="*/ 2016 h 2622"/>
                    <a:gd name="T30" fmla="*/ 2082 w 2934"/>
                    <a:gd name="T31" fmla="*/ 2160 h 2622"/>
                    <a:gd name="T32" fmla="*/ 2376 w 2934"/>
                    <a:gd name="T33" fmla="*/ 2112 h 2622"/>
                    <a:gd name="T34" fmla="*/ 2508 w 2934"/>
                    <a:gd name="T35" fmla="*/ 2004 h 2622"/>
                    <a:gd name="T36" fmla="*/ 2592 w 2934"/>
                    <a:gd name="T37" fmla="*/ 1812 h 2622"/>
                    <a:gd name="T38" fmla="*/ 2694 w 2934"/>
                    <a:gd name="T39" fmla="*/ 1788 h 2622"/>
                    <a:gd name="T40" fmla="*/ 2760 w 2934"/>
                    <a:gd name="T41" fmla="*/ 1782 h 2622"/>
                    <a:gd name="T42" fmla="*/ 2898 w 2934"/>
                    <a:gd name="T43" fmla="*/ 1764 h 2622"/>
                    <a:gd name="T44" fmla="*/ 2922 w 2934"/>
                    <a:gd name="T45" fmla="*/ 1878 h 2622"/>
                    <a:gd name="T46" fmla="*/ 2820 w 2934"/>
                    <a:gd name="T47" fmla="*/ 2130 h 2622"/>
                    <a:gd name="T48" fmla="*/ 2700 w 2934"/>
                    <a:gd name="T49" fmla="*/ 2202 h 2622"/>
                    <a:gd name="T50" fmla="*/ 2400 w 2934"/>
                    <a:gd name="T51" fmla="*/ 2328 h 2622"/>
                    <a:gd name="T52" fmla="*/ 2196 w 2934"/>
                    <a:gd name="T53" fmla="*/ 2622 h 2622"/>
                    <a:gd name="T54" fmla="*/ 2088 w 2934"/>
                    <a:gd name="T55" fmla="*/ 2466 h 2622"/>
                    <a:gd name="T56" fmla="*/ 1806 w 2934"/>
                    <a:gd name="T57" fmla="*/ 2484 h 2622"/>
                    <a:gd name="T58" fmla="*/ 1404 w 2934"/>
                    <a:gd name="T59" fmla="*/ 2304 h 2622"/>
                    <a:gd name="T60" fmla="*/ 1182 w 2934"/>
                    <a:gd name="T61" fmla="*/ 2124 h 2622"/>
                    <a:gd name="T62" fmla="*/ 894 w 2934"/>
                    <a:gd name="T63" fmla="*/ 1884 h 2622"/>
                    <a:gd name="T64" fmla="*/ 900 w 2934"/>
                    <a:gd name="T65" fmla="*/ 1650 h 2622"/>
                    <a:gd name="T66" fmla="*/ 840 w 2934"/>
                    <a:gd name="T67" fmla="*/ 1440 h 2622"/>
                    <a:gd name="T68" fmla="*/ 762 w 2934"/>
                    <a:gd name="T69" fmla="*/ 1266 h 2622"/>
                    <a:gd name="T70" fmla="*/ 708 w 2934"/>
                    <a:gd name="T71" fmla="*/ 1188 h 2622"/>
                    <a:gd name="T72" fmla="*/ 606 w 2934"/>
                    <a:gd name="T73" fmla="*/ 1038 h 2622"/>
                    <a:gd name="T74" fmla="*/ 534 w 2934"/>
                    <a:gd name="T75" fmla="*/ 810 h 2622"/>
                    <a:gd name="T76" fmla="*/ 456 w 2934"/>
                    <a:gd name="T77" fmla="*/ 696 h 2622"/>
                    <a:gd name="T78" fmla="*/ 390 w 2934"/>
                    <a:gd name="T79" fmla="*/ 540 h 2622"/>
                    <a:gd name="T80" fmla="*/ 396 w 2934"/>
                    <a:gd name="T81" fmla="*/ 258 h 2622"/>
                    <a:gd name="T82" fmla="*/ 264 w 2934"/>
                    <a:gd name="T83" fmla="*/ 144 h 2622"/>
                    <a:gd name="T84" fmla="*/ 222 w 2934"/>
                    <a:gd name="T85" fmla="*/ 132 h 2622"/>
                    <a:gd name="T86" fmla="*/ 192 w 2934"/>
                    <a:gd name="T87" fmla="*/ 234 h 2622"/>
                    <a:gd name="T88" fmla="*/ 198 w 2934"/>
                    <a:gd name="T89" fmla="*/ 318 h 2622"/>
                    <a:gd name="T90" fmla="*/ 204 w 2934"/>
                    <a:gd name="T91" fmla="*/ 384 h 2622"/>
                    <a:gd name="T92" fmla="*/ 258 w 2934"/>
                    <a:gd name="T93" fmla="*/ 492 h 2622"/>
                    <a:gd name="T94" fmla="*/ 282 w 2934"/>
                    <a:gd name="T95" fmla="*/ 588 h 2622"/>
                    <a:gd name="T96" fmla="*/ 300 w 2934"/>
                    <a:gd name="T97" fmla="*/ 786 h 2622"/>
                    <a:gd name="T98" fmla="*/ 396 w 2934"/>
                    <a:gd name="T99" fmla="*/ 1170 h 2622"/>
                    <a:gd name="T100" fmla="*/ 480 w 2934"/>
                    <a:gd name="T101" fmla="*/ 1242 h 2622"/>
                    <a:gd name="T102" fmla="*/ 510 w 2934"/>
                    <a:gd name="T103" fmla="*/ 1308 h 2622"/>
                    <a:gd name="T104" fmla="*/ 456 w 2934"/>
                    <a:gd name="T105" fmla="*/ 1434 h 2622"/>
                    <a:gd name="T106" fmla="*/ 366 w 2934"/>
                    <a:gd name="T107" fmla="*/ 1284 h 2622"/>
                    <a:gd name="T108" fmla="*/ 276 w 2934"/>
                    <a:gd name="T109" fmla="*/ 1086 h 2622"/>
                    <a:gd name="T110" fmla="*/ 258 w 2934"/>
                    <a:gd name="T111" fmla="*/ 972 h 2622"/>
                    <a:gd name="T112" fmla="*/ 228 w 2934"/>
                    <a:gd name="T113" fmla="*/ 876 h 2622"/>
                    <a:gd name="T114" fmla="*/ 78 w 2934"/>
                    <a:gd name="T115" fmla="*/ 732 h 2622"/>
                    <a:gd name="T116" fmla="*/ 132 w 2934"/>
                    <a:gd name="T117" fmla="*/ 702 h 2622"/>
                    <a:gd name="T118" fmla="*/ 114 w 2934"/>
                    <a:gd name="T119" fmla="*/ 504 h 2622"/>
                    <a:gd name="T120" fmla="*/ 0 w 2934"/>
                    <a:gd name="T121" fmla="*/ 222 h 2622"/>
                    <a:gd name="T122" fmla="*/ 198 w 2934"/>
                    <a:gd name="T123" fmla="*/ 0 h 26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934" h="2622">
                      <a:moveTo>
                        <a:pt x="2766" y="2214"/>
                      </a:moveTo>
                      <a:lnTo>
                        <a:pt x="2766" y="2214"/>
                      </a:lnTo>
                      <a:lnTo>
                        <a:pt x="2766" y="2214"/>
                      </a:lnTo>
                      <a:lnTo>
                        <a:pt x="2766" y="2214"/>
                      </a:lnTo>
                      <a:close/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  <a:moveTo>
                        <a:pt x="198" y="0"/>
                      </a:moveTo>
                      <a:lnTo>
                        <a:pt x="264" y="0"/>
                      </a:lnTo>
                      <a:lnTo>
                        <a:pt x="318" y="42"/>
                      </a:lnTo>
                      <a:lnTo>
                        <a:pt x="372" y="84"/>
                      </a:lnTo>
                      <a:lnTo>
                        <a:pt x="420" y="120"/>
                      </a:lnTo>
                      <a:lnTo>
                        <a:pt x="486" y="168"/>
                      </a:lnTo>
                      <a:lnTo>
                        <a:pt x="540" y="210"/>
                      </a:lnTo>
                      <a:lnTo>
                        <a:pt x="606" y="246"/>
                      </a:lnTo>
                      <a:lnTo>
                        <a:pt x="684" y="252"/>
                      </a:lnTo>
                      <a:lnTo>
                        <a:pt x="750" y="252"/>
                      </a:lnTo>
                      <a:lnTo>
                        <a:pt x="864" y="270"/>
                      </a:lnTo>
                      <a:lnTo>
                        <a:pt x="930" y="252"/>
                      </a:lnTo>
                      <a:lnTo>
                        <a:pt x="984" y="228"/>
                      </a:lnTo>
                      <a:lnTo>
                        <a:pt x="1050" y="234"/>
                      </a:lnTo>
                      <a:lnTo>
                        <a:pt x="1116" y="240"/>
                      </a:lnTo>
                      <a:lnTo>
                        <a:pt x="1116" y="246"/>
                      </a:lnTo>
                      <a:lnTo>
                        <a:pt x="1116" y="252"/>
                      </a:lnTo>
                      <a:lnTo>
                        <a:pt x="1122" y="258"/>
                      </a:lnTo>
                      <a:lnTo>
                        <a:pt x="1128" y="270"/>
                      </a:lnTo>
                      <a:lnTo>
                        <a:pt x="1140" y="288"/>
                      </a:lnTo>
                      <a:lnTo>
                        <a:pt x="1158" y="300"/>
                      </a:lnTo>
                      <a:lnTo>
                        <a:pt x="1182" y="318"/>
                      </a:lnTo>
                      <a:lnTo>
                        <a:pt x="1224" y="348"/>
                      </a:lnTo>
                      <a:lnTo>
                        <a:pt x="1242" y="384"/>
                      </a:lnTo>
                      <a:lnTo>
                        <a:pt x="1248" y="414"/>
                      </a:lnTo>
                      <a:lnTo>
                        <a:pt x="1248" y="450"/>
                      </a:lnTo>
                      <a:lnTo>
                        <a:pt x="1242" y="480"/>
                      </a:lnTo>
                      <a:lnTo>
                        <a:pt x="1236" y="516"/>
                      </a:lnTo>
                      <a:lnTo>
                        <a:pt x="1248" y="552"/>
                      </a:lnTo>
                      <a:lnTo>
                        <a:pt x="1284" y="600"/>
                      </a:lnTo>
                      <a:lnTo>
                        <a:pt x="1320" y="630"/>
                      </a:lnTo>
                      <a:lnTo>
                        <a:pt x="1362" y="654"/>
                      </a:lnTo>
                      <a:lnTo>
                        <a:pt x="1392" y="666"/>
                      </a:lnTo>
                      <a:lnTo>
                        <a:pt x="1416" y="654"/>
                      </a:lnTo>
                      <a:lnTo>
                        <a:pt x="1428" y="612"/>
                      </a:lnTo>
                      <a:lnTo>
                        <a:pt x="1440" y="570"/>
                      </a:lnTo>
                      <a:lnTo>
                        <a:pt x="1458" y="546"/>
                      </a:lnTo>
                      <a:lnTo>
                        <a:pt x="1482" y="534"/>
                      </a:lnTo>
                      <a:lnTo>
                        <a:pt x="1518" y="528"/>
                      </a:lnTo>
                      <a:lnTo>
                        <a:pt x="1548" y="534"/>
                      </a:lnTo>
                      <a:lnTo>
                        <a:pt x="1584" y="540"/>
                      </a:lnTo>
                      <a:lnTo>
                        <a:pt x="1620" y="564"/>
                      </a:lnTo>
                      <a:lnTo>
                        <a:pt x="1638" y="600"/>
                      </a:lnTo>
                      <a:lnTo>
                        <a:pt x="1650" y="654"/>
                      </a:lnTo>
                      <a:lnTo>
                        <a:pt x="1650" y="702"/>
                      </a:lnTo>
                      <a:lnTo>
                        <a:pt x="1656" y="738"/>
                      </a:lnTo>
                      <a:lnTo>
                        <a:pt x="1662" y="762"/>
                      </a:lnTo>
                      <a:lnTo>
                        <a:pt x="1680" y="786"/>
                      </a:lnTo>
                      <a:lnTo>
                        <a:pt x="1698" y="822"/>
                      </a:lnTo>
                      <a:lnTo>
                        <a:pt x="1698" y="858"/>
                      </a:lnTo>
                      <a:lnTo>
                        <a:pt x="1692" y="912"/>
                      </a:lnTo>
                      <a:lnTo>
                        <a:pt x="1686" y="948"/>
                      </a:lnTo>
                      <a:lnTo>
                        <a:pt x="1686" y="984"/>
                      </a:lnTo>
                      <a:lnTo>
                        <a:pt x="1686" y="1026"/>
                      </a:lnTo>
                      <a:lnTo>
                        <a:pt x="1704" y="1056"/>
                      </a:lnTo>
                      <a:lnTo>
                        <a:pt x="1734" y="1074"/>
                      </a:lnTo>
                      <a:lnTo>
                        <a:pt x="1782" y="1086"/>
                      </a:lnTo>
                      <a:lnTo>
                        <a:pt x="1818" y="1098"/>
                      </a:lnTo>
                      <a:lnTo>
                        <a:pt x="1860" y="1110"/>
                      </a:lnTo>
                      <a:lnTo>
                        <a:pt x="1902" y="1140"/>
                      </a:lnTo>
                      <a:lnTo>
                        <a:pt x="1902" y="1140"/>
                      </a:lnTo>
                      <a:lnTo>
                        <a:pt x="1902" y="1158"/>
                      </a:lnTo>
                      <a:lnTo>
                        <a:pt x="1890" y="1176"/>
                      </a:lnTo>
                      <a:lnTo>
                        <a:pt x="1872" y="1194"/>
                      </a:lnTo>
                      <a:lnTo>
                        <a:pt x="1842" y="1224"/>
                      </a:lnTo>
                      <a:lnTo>
                        <a:pt x="1836" y="1254"/>
                      </a:lnTo>
                      <a:lnTo>
                        <a:pt x="1836" y="1284"/>
                      </a:lnTo>
                      <a:lnTo>
                        <a:pt x="1842" y="1320"/>
                      </a:lnTo>
                      <a:lnTo>
                        <a:pt x="1836" y="1344"/>
                      </a:lnTo>
                      <a:lnTo>
                        <a:pt x="1836" y="1356"/>
                      </a:lnTo>
                      <a:lnTo>
                        <a:pt x="1830" y="1368"/>
                      </a:lnTo>
                      <a:lnTo>
                        <a:pt x="1824" y="1380"/>
                      </a:lnTo>
                      <a:lnTo>
                        <a:pt x="1818" y="1386"/>
                      </a:lnTo>
                      <a:lnTo>
                        <a:pt x="1818" y="1398"/>
                      </a:lnTo>
                      <a:lnTo>
                        <a:pt x="1824" y="1410"/>
                      </a:lnTo>
                      <a:lnTo>
                        <a:pt x="1830" y="1428"/>
                      </a:lnTo>
                      <a:lnTo>
                        <a:pt x="1830" y="1440"/>
                      </a:lnTo>
                      <a:lnTo>
                        <a:pt x="1824" y="1452"/>
                      </a:lnTo>
                      <a:lnTo>
                        <a:pt x="1812" y="1470"/>
                      </a:lnTo>
                      <a:lnTo>
                        <a:pt x="1800" y="1488"/>
                      </a:lnTo>
                      <a:lnTo>
                        <a:pt x="1770" y="1524"/>
                      </a:lnTo>
                      <a:lnTo>
                        <a:pt x="1746" y="1566"/>
                      </a:lnTo>
                      <a:lnTo>
                        <a:pt x="1740" y="1620"/>
                      </a:lnTo>
                      <a:lnTo>
                        <a:pt x="1740" y="1662"/>
                      </a:lnTo>
                      <a:lnTo>
                        <a:pt x="1758" y="1698"/>
                      </a:lnTo>
                      <a:lnTo>
                        <a:pt x="1782" y="1728"/>
                      </a:lnTo>
                      <a:lnTo>
                        <a:pt x="1794" y="1758"/>
                      </a:lnTo>
                      <a:lnTo>
                        <a:pt x="1800" y="1776"/>
                      </a:lnTo>
                      <a:lnTo>
                        <a:pt x="1806" y="1788"/>
                      </a:lnTo>
                      <a:lnTo>
                        <a:pt x="1812" y="1800"/>
                      </a:lnTo>
                      <a:lnTo>
                        <a:pt x="1824" y="1812"/>
                      </a:lnTo>
                      <a:lnTo>
                        <a:pt x="1842" y="1824"/>
                      </a:lnTo>
                      <a:lnTo>
                        <a:pt x="1866" y="1836"/>
                      </a:lnTo>
                      <a:lnTo>
                        <a:pt x="1890" y="1872"/>
                      </a:lnTo>
                      <a:lnTo>
                        <a:pt x="1896" y="1920"/>
                      </a:lnTo>
                      <a:lnTo>
                        <a:pt x="1902" y="1974"/>
                      </a:lnTo>
                      <a:lnTo>
                        <a:pt x="1902" y="2016"/>
                      </a:lnTo>
                      <a:lnTo>
                        <a:pt x="1914" y="2052"/>
                      </a:lnTo>
                      <a:lnTo>
                        <a:pt x="1950" y="2076"/>
                      </a:lnTo>
                      <a:lnTo>
                        <a:pt x="1998" y="2088"/>
                      </a:lnTo>
                      <a:lnTo>
                        <a:pt x="2022" y="2094"/>
                      </a:lnTo>
                      <a:lnTo>
                        <a:pt x="2040" y="2118"/>
                      </a:lnTo>
                      <a:lnTo>
                        <a:pt x="2058" y="2136"/>
                      </a:lnTo>
                      <a:lnTo>
                        <a:pt x="2082" y="2160"/>
                      </a:lnTo>
                      <a:lnTo>
                        <a:pt x="2112" y="2166"/>
                      </a:lnTo>
                      <a:lnTo>
                        <a:pt x="2172" y="2166"/>
                      </a:lnTo>
                      <a:lnTo>
                        <a:pt x="2238" y="2154"/>
                      </a:lnTo>
                      <a:lnTo>
                        <a:pt x="2280" y="2136"/>
                      </a:lnTo>
                      <a:lnTo>
                        <a:pt x="2310" y="2118"/>
                      </a:lnTo>
                      <a:lnTo>
                        <a:pt x="2340" y="2112"/>
                      </a:lnTo>
                      <a:lnTo>
                        <a:pt x="2376" y="2112"/>
                      </a:lnTo>
                      <a:lnTo>
                        <a:pt x="2400" y="2112"/>
                      </a:lnTo>
                      <a:lnTo>
                        <a:pt x="2412" y="2106"/>
                      </a:lnTo>
                      <a:lnTo>
                        <a:pt x="2430" y="2094"/>
                      </a:lnTo>
                      <a:lnTo>
                        <a:pt x="2448" y="2082"/>
                      </a:lnTo>
                      <a:lnTo>
                        <a:pt x="2472" y="2064"/>
                      </a:lnTo>
                      <a:lnTo>
                        <a:pt x="2496" y="2034"/>
                      </a:lnTo>
                      <a:lnTo>
                        <a:pt x="2508" y="2004"/>
                      </a:lnTo>
                      <a:lnTo>
                        <a:pt x="2508" y="1956"/>
                      </a:lnTo>
                      <a:lnTo>
                        <a:pt x="2514" y="1890"/>
                      </a:lnTo>
                      <a:lnTo>
                        <a:pt x="2538" y="1830"/>
                      </a:lnTo>
                      <a:lnTo>
                        <a:pt x="2550" y="1818"/>
                      </a:lnTo>
                      <a:lnTo>
                        <a:pt x="2562" y="1812"/>
                      </a:lnTo>
                      <a:lnTo>
                        <a:pt x="2580" y="1812"/>
                      </a:lnTo>
                      <a:lnTo>
                        <a:pt x="2592" y="1812"/>
                      </a:lnTo>
                      <a:lnTo>
                        <a:pt x="2610" y="1812"/>
                      </a:lnTo>
                      <a:lnTo>
                        <a:pt x="2622" y="1806"/>
                      </a:lnTo>
                      <a:lnTo>
                        <a:pt x="2634" y="1800"/>
                      </a:lnTo>
                      <a:lnTo>
                        <a:pt x="2646" y="1794"/>
                      </a:lnTo>
                      <a:lnTo>
                        <a:pt x="2658" y="1788"/>
                      </a:lnTo>
                      <a:lnTo>
                        <a:pt x="2676" y="1782"/>
                      </a:lnTo>
                      <a:lnTo>
                        <a:pt x="2694" y="1788"/>
                      </a:lnTo>
                      <a:lnTo>
                        <a:pt x="2724" y="1794"/>
                      </a:lnTo>
                      <a:lnTo>
                        <a:pt x="2736" y="1806"/>
                      </a:lnTo>
                      <a:lnTo>
                        <a:pt x="2748" y="1806"/>
                      </a:lnTo>
                      <a:lnTo>
                        <a:pt x="2754" y="1806"/>
                      </a:lnTo>
                      <a:lnTo>
                        <a:pt x="2760" y="1800"/>
                      </a:lnTo>
                      <a:lnTo>
                        <a:pt x="2760" y="1794"/>
                      </a:lnTo>
                      <a:lnTo>
                        <a:pt x="2760" y="1782"/>
                      </a:lnTo>
                      <a:lnTo>
                        <a:pt x="2760" y="1770"/>
                      </a:lnTo>
                      <a:lnTo>
                        <a:pt x="2766" y="1758"/>
                      </a:lnTo>
                      <a:lnTo>
                        <a:pt x="2790" y="1752"/>
                      </a:lnTo>
                      <a:lnTo>
                        <a:pt x="2820" y="1752"/>
                      </a:lnTo>
                      <a:lnTo>
                        <a:pt x="2856" y="1758"/>
                      </a:lnTo>
                      <a:lnTo>
                        <a:pt x="2880" y="1764"/>
                      </a:lnTo>
                      <a:lnTo>
                        <a:pt x="2898" y="1764"/>
                      </a:lnTo>
                      <a:lnTo>
                        <a:pt x="2910" y="1770"/>
                      </a:lnTo>
                      <a:lnTo>
                        <a:pt x="2916" y="1770"/>
                      </a:lnTo>
                      <a:lnTo>
                        <a:pt x="2928" y="1770"/>
                      </a:lnTo>
                      <a:lnTo>
                        <a:pt x="2934" y="1776"/>
                      </a:lnTo>
                      <a:lnTo>
                        <a:pt x="2934" y="1806"/>
                      </a:lnTo>
                      <a:lnTo>
                        <a:pt x="2928" y="1842"/>
                      </a:lnTo>
                      <a:lnTo>
                        <a:pt x="2922" y="1878"/>
                      </a:lnTo>
                      <a:lnTo>
                        <a:pt x="2880" y="1938"/>
                      </a:lnTo>
                      <a:lnTo>
                        <a:pt x="2838" y="1980"/>
                      </a:lnTo>
                      <a:lnTo>
                        <a:pt x="2820" y="2010"/>
                      </a:lnTo>
                      <a:lnTo>
                        <a:pt x="2814" y="2052"/>
                      </a:lnTo>
                      <a:lnTo>
                        <a:pt x="2820" y="2088"/>
                      </a:lnTo>
                      <a:lnTo>
                        <a:pt x="2820" y="2112"/>
                      </a:lnTo>
                      <a:lnTo>
                        <a:pt x="2820" y="2130"/>
                      </a:lnTo>
                      <a:lnTo>
                        <a:pt x="2820" y="2148"/>
                      </a:lnTo>
                      <a:lnTo>
                        <a:pt x="2808" y="2166"/>
                      </a:lnTo>
                      <a:lnTo>
                        <a:pt x="2796" y="2178"/>
                      </a:lnTo>
                      <a:lnTo>
                        <a:pt x="2778" y="2196"/>
                      </a:lnTo>
                      <a:lnTo>
                        <a:pt x="2766" y="2214"/>
                      </a:lnTo>
                      <a:lnTo>
                        <a:pt x="2736" y="2208"/>
                      </a:lnTo>
                      <a:lnTo>
                        <a:pt x="2700" y="2202"/>
                      </a:lnTo>
                      <a:lnTo>
                        <a:pt x="2658" y="2232"/>
                      </a:lnTo>
                      <a:lnTo>
                        <a:pt x="2616" y="2274"/>
                      </a:lnTo>
                      <a:lnTo>
                        <a:pt x="2574" y="2256"/>
                      </a:lnTo>
                      <a:lnTo>
                        <a:pt x="2508" y="2238"/>
                      </a:lnTo>
                      <a:lnTo>
                        <a:pt x="2472" y="2238"/>
                      </a:lnTo>
                      <a:lnTo>
                        <a:pt x="2424" y="2286"/>
                      </a:lnTo>
                      <a:lnTo>
                        <a:pt x="2400" y="2328"/>
                      </a:lnTo>
                      <a:lnTo>
                        <a:pt x="2436" y="2382"/>
                      </a:lnTo>
                      <a:lnTo>
                        <a:pt x="2424" y="2454"/>
                      </a:lnTo>
                      <a:lnTo>
                        <a:pt x="2370" y="2454"/>
                      </a:lnTo>
                      <a:lnTo>
                        <a:pt x="2304" y="2466"/>
                      </a:lnTo>
                      <a:lnTo>
                        <a:pt x="2292" y="2532"/>
                      </a:lnTo>
                      <a:lnTo>
                        <a:pt x="2232" y="2580"/>
                      </a:lnTo>
                      <a:lnTo>
                        <a:pt x="2196" y="2622"/>
                      </a:lnTo>
                      <a:lnTo>
                        <a:pt x="2196" y="2622"/>
                      </a:lnTo>
                      <a:lnTo>
                        <a:pt x="2172" y="2604"/>
                      </a:lnTo>
                      <a:lnTo>
                        <a:pt x="2160" y="2592"/>
                      </a:lnTo>
                      <a:lnTo>
                        <a:pt x="2148" y="2580"/>
                      </a:lnTo>
                      <a:lnTo>
                        <a:pt x="2136" y="2550"/>
                      </a:lnTo>
                      <a:lnTo>
                        <a:pt x="2124" y="2514"/>
                      </a:lnTo>
                      <a:lnTo>
                        <a:pt x="2088" y="2466"/>
                      </a:lnTo>
                      <a:lnTo>
                        <a:pt x="2046" y="2430"/>
                      </a:lnTo>
                      <a:lnTo>
                        <a:pt x="2004" y="2418"/>
                      </a:lnTo>
                      <a:lnTo>
                        <a:pt x="1956" y="2424"/>
                      </a:lnTo>
                      <a:lnTo>
                        <a:pt x="1920" y="2442"/>
                      </a:lnTo>
                      <a:lnTo>
                        <a:pt x="1890" y="2460"/>
                      </a:lnTo>
                      <a:lnTo>
                        <a:pt x="1848" y="2484"/>
                      </a:lnTo>
                      <a:lnTo>
                        <a:pt x="1806" y="2484"/>
                      </a:lnTo>
                      <a:lnTo>
                        <a:pt x="1740" y="2478"/>
                      </a:lnTo>
                      <a:lnTo>
                        <a:pt x="1674" y="2460"/>
                      </a:lnTo>
                      <a:lnTo>
                        <a:pt x="1620" y="2430"/>
                      </a:lnTo>
                      <a:lnTo>
                        <a:pt x="1566" y="2382"/>
                      </a:lnTo>
                      <a:lnTo>
                        <a:pt x="1512" y="2346"/>
                      </a:lnTo>
                      <a:lnTo>
                        <a:pt x="1458" y="2322"/>
                      </a:lnTo>
                      <a:lnTo>
                        <a:pt x="1404" y="2304"/>
                      </a:lnTo>
                      <a:lnTo>
                        <a:pt x="1356" y="2286"/>
                      </a:lnTo>
                      <a:lnTo>
                        <a:pt x="1308" y="2256"/>
                      </a:lnTo>
                      <a:lnTo>
                        <a:pt x="1278" y="2220"/>
                      </a:lnTo>
                      <a:lnTo>
                        <a:pt x="1266" y="2172"/>
                      </a:lnTo>
                      <a:lnTo>
                        <a:pt x="1248" y="2142"/>
                      </a:lnTo>
                      <a:lnTo>
                        <a:pt x="1218" y="2130"/>
                      </a:lnTo>
                      <a:lnTo>
                        <a:pt x="1182" y="2124"/>
                      </a:lnTo>
                      <a:lnTo>
                        <a:pt x="1134" y="2124"/>
                      </a:lnTo>
                      <a:lnTo>
                        <a:pt x="1098" y="2118"/>
                      </a:lnTo>
                      <a:lnTo>
                        <a:pt x="1068" y="2088"/>
                      </a:lnTo>
                      <a:lnTo>
                        <a:pt x="1032" y="2052"/>
                      </a:lnTo>
                      <a:lnTo>
                        <a:pt x="996" y="2010"/>
                      </a:lnTo>
                      <a:lnTo>
                        <a:pt x="936" y="1944"/>
                      </a:lnTo>
                      <a:lnTo>
                        <a:pt x="894" y="1884"/>
                      </a:lnTo>
                      <a:lnTo>
                        <a:pt x="864" y="1836"/>
                      </a:lnTo>
                      <a:lnTo>
                        <a:pt x="858" y="1800"/>
                      </a:lnTo>
                      <a:lnTo>
                        <a:pt x="864" y="1752"/>
                      </a:lnTo>
                      <a:lnTo>
                        <a:pt x="876" y="1710"/>
                      </a:lnTo>
                      <a:lnTo>
                        <a:pt x="888" y="1674"/>
                      </a:lnTo>
                      <a:lnTo>
                        <a:pt x="894" y="1662"/>
                      </a:lnTo>
                      <a:lnTo>
                        <a:pt x="900" y="1650"/>
                      </a:lnTo>
                      <a:lnTo>
                        <a:pt x="906" y="1638"/>
                      </a:lnTo>
                      <a:lnTo>
                        <a:pt x="912" y="1620"/>
                      </a:lnTo>
                      <a:lnTo>
                        <a:pt x="906" y="1602"/>
                      </a:lnTo>
                      <a:lnTo>
                        <a:pt x="900" y="1584"/>
                      </a:lnTo>
                      <a:lnTo>
                        <a:pt x="882" y="1548"/>
                      </a:lnTo>
                      <a:lnTo>
                        <a:pt x="864" y="1500"/>
                      </a:lnTo>
                      <a:lnTo>
                        <a:pt x="840" y="1440"/>
                      </a:lnTo>
                      <a:lnTo>
                        <a:pt x="822" y="1380"/>
                      </a:lnTo>
                      <a:lnTo>
                        <a:pt x="810" y="1338"/>
                      </a:lnTo>
                      <a:lnTo>
                        <a:pt x="804" y="1314"/>
                      </a:lnTo>
                      <a:lnTo>
                        <a:pt x="792" y="1296"/>
                      </a:lnTo>
                      <a:lnTo>
                        <a:pt x="786" y="1284"/>
                      </a:lnTo>
                      <a:lnTo>
                        <a:pt x="774" y="1272"/>
                      </a:lnTo>
                      <a:lnTo>
                        <a:pt x="762" y="1266"/>
                      </a:lnTo>
                      <a:lnTo>
                        <a:pt x="744" y="1260"/>
                      </a:lnTo>
                      <a:lnTo>
                        <a:pt x="732" y="1254"/>
                      </a:lnTo>
                      <a:lnTo>
                        <a:pt x="726" y="1248"/>
                      </a:lnTo>
                      <a:lnTo>
                        <a:pt x="714" y="1242"/>
                      </a:lnTo>
                      <a:lnTo>
                        <a:pt x="714" y="1230"/>
                      </a:lnTo>
                      <a:lnTo>
                        <a:pt x="714" y="1218"/>
                      </a:lnTo>
                      <a:lnTo>
                        <a:pt x="708" y="1188"/>
                      </a:lnTo>
                      <a:lnTo>
                        <a:pt x="684" y="1152"/>
                      </a:lnTo>
                      <a:lnTo>
                        <a:pt x="654" y="1116"/>
                      </a:lnTo>
                      <a:lnTo>
                        <a:pt x="624" y="1086"/>
                      </a:lnTo>
                      <a:lnTo>
                        <a:pt x="618" y="1074"/>
                      </a:lnTo>
                      <a:lnTo>
                        <a:pt x="612" y="1062"/>
                      </a:lnTo>
                      <a:lnTo>
                        <a:pt x="606" y="1050"/>
                      </a:lnTo>
                      <a:lnTo>
                        <a:pt x="606" y="1038"/>
                      </a:lnTo>
                      <a:lnTo>
                        <a:pt x="612" y="1026"/>
                      </a:lnTo>
                      <a:lnTo>
                        <a:pt x="618" y="1008"/>
                      </a:lnTo>
                      <a:lnTo>
                        <a:pt x="624" y="972"/>
                      </a:lnTo>
                      <a:lnTo>
                        <a:pt x="618" y="930"/>
                      </a:lnTo>
                      <a:lnTo>
                        <a:pt x="600" y="888"/>
                      </a:lnTo>
                      <a:lnTo>
                        <a:pt x="576" y="858"/>
                      </a:lnTo>
                      <a:lnTo>
                        <a:pt x="534" y="810"/>
                      </a:lnTo>
                      <a:lnTo>
                        <a:pt x="522" y="762"/>
                      </a:lnTo>
                      <a:lnTo>
                        <a:pt x="516" y="744"/>
                      </a:lnTo>
                      <a:lnTo>
                        <a:pt x="510" y="732"/>
                      </a:lnTo>
                      <a:lnTo>
                        <a:pt x="504" y="726"/>
                      </a:lnTo>
                      <a:lnTo>
                        <a:pt x="486" y="714"/>
                      </a:lnTo>
                      <a:lnTo>
                        <a:pt x="474" y="708"/>
                      </a:lnTo>
                      <a:lnTo>
                        <a:pt x="456" y="696"/>
                      </a:lnTo>
                      <a:lnTo>
                        <a:pt x="432" y="672"/>
                      </a:lnTo>
                      <a:lnTo>
                        <a:pt x="420" y="636"/>
                      </a:lnTo>
                      <a:lnTo>
                        <a:pt x="414" y="594"/>
                      </a:lnTo>
                      <a:lnTo>
                        <a:pt x="408" y="570"/>
                      </a:lnTo>
                      <a:lnTo>
                        <a:pt x="402" y="558"/>
                      </a:lnTo>
                      <a:lnTo>
                        <a:pt x="396" y="546"/>
                      </a:lnTo>
                      <a:lnTo>
                        <a:pt x="390" y="540"/>
                      </a:lnTo>
                      <a:lnTo>
                        <a:pt x="384" y="528"/>
                      </a:lnTo>
                      <a:lnTo>
                        <a:pt x="378" y="504"/>
                      </a:lnTo>
                      <a:lnTo>
                        <a:pt x="366" y="456"/>
                      </a:lnTo>
                      <a:lnTo>
                        <a:pt x="372" y="396"/>
                      </a:lnTo>
                      <a:lnTo>
                        <a:pt x="390" y="336"/>
                      </a:lnTo>
                      <a:lnTo>
                        <a:pt x="402" y="300"/>
                      </a:lnTo>
                      <a:lnTo>
                        <a:pt x="396" y="258"/>
                      </a:lnTo>
                      <a:lnTo>
                        <a:pt x="378" y="222"/>
                      </a:lnTo>
                      <a:lnTo>
                        <a:pt x="342" y="198"/>
                      </a:lnTo>
                      <a:lnTo>
                        <a:pt x="318" y="186"/>
                      </a:lnTo>
                      <a:lnTo>
                        <a:pt x="300" y="174"/>
                      </a:lnTo>
                      <a:lnTo>
                        <a:pt x="288" y="168"/>
                      </a:lnTo>
                      <a:lnTo>
                        <a:pt x="276" y="156"/>
                      </a:lnTo>
                      <a:lnTo>
                        <a:pt x="264" y="144"/>
                      </a:lnTo>
                      <a:lnTo>
                        <a:pt x="252" y="126"/>
                      </a:lnTo>
                      <a:lnTo>
                        <a:pt x="240" y="114"/>
                      </a:lnTo>
                      <a:lnTo>
                        <a:pt x="234" y="108"/>
                      </a:lnTo>
                      <a:lnTo>
                        <a:pt x="228" y="108"/>
                      </a:lnTo>
                      <a:lnTo>
                        <a:pt x="228" y="114"/>
                      </a:lnTo>
                      <a:lnTo>
                        <a:pt x="222" y="120"/>
                      </a:lnTo>
                      <a:lnTo>
                        <a:pt x="222" y="132"/>
                      </a:lnTo>
                      <a:lnTo>
                        <a:pt x="222" y="144"/>
                      </a:lnTo>
                      <a:lnTo>
                        <a:pt x="222" y="162"/>
                      </a:lnTo>
                      <a:lnTo>
                        <a:pt x="222" y="180"/>
                      </a:lnTo>
                      <a:lnTo>
                        <a:pt x="216" y="192"/>
                      </a:lnTo>
                      <a:lnTo>
                        <a:pt x="210" y="204"/>
                      </a:lnTo>
                      <a:lnTo>
                        <a:pt x="204" y="216"/>
                      </a:lnTo>
                      <a:lnTo>
                        <a:pt x="192" y="234"/>
                      </a:lnTo>
                      <a:lnTo>
                        <a:pt x="186" y="252"/>
                      </a:lnTo>
                      <a:lnTo>
                        <a:pt x="186" y="270"/>
                      </a:lnTo>
                      <a:lnTo>
                        <a:pt x="198" y="288"/>
                      </a:lnTo>
                      <a:lnTo>
                        <a:pt x="204" y="300"/>
                      </a:lnTo>
                      <a:lnTo>
                        <a:pt x="204" y="306"/>
                      </a:lnTo>
                      <a:lnTo>
                        <a:pt x="204" y="312"/>
                      </a:lnTo>
                      <a:lnTo>
                        <a:pt x="198" y="318"/>
                      </a:lnTo>
                      <a:lnTo>
                        <a:pt x="192" y="324"/>
                      </a:lnTo>
                      <a:lnTo>
                        <a:pt x="186" y="336"/>
                      </a:lnTo>
                      <a:lnTo>
                        <a:pt x="180" y="348"/>
                      </a:lnTo>
                      <a:lnTo>
                        <a:pt x="186" y="354"/>
                      </a:lnTo>
                      <a:lnTo>
                        <a:pt x="186" y="366"/>
                      </a:lnTo>
                      <a:lnTo>
                        <a:pt x="198" y="372"/>
                      </a:lnTo>
                      <a:lnTo>
                        <a:pt x="204" y="384"/>
                      </a:lnTo>
                      <a:lnTo>
                        <a:pt x="216" y="402"/>
                      </a:lnTo>
                      <a:lnTo>
                        <a:pt x="222" y="420"/>
                      </a:lnTo>
                      <a:lnTo>
                        <a:pt x="228" y="444"/>
                      </a:lnTo>
                      <a:lnTo>
                        <a:pt x="234" y="462"/>
                      </a:lnTo>
                      <a:lnTo>
                        <a:pt x="240" y="480"/>
                      </a:lnTo>
                      <a:lnTo>
                        <a:pt x="246" y="486"/>
                      </a:lnTo>
                      <a:lnTo>
                        <a:pt x="258" y="492"/>
                      </a:lnTo>
                      <a:lnTo>
                        <a:pt x="264" y="492"/>
                      </a:lnTo>
                      <a:lnTo>
                        <a:pt x="270" y="498"/>
                      </a:lnTo>
                      <a:lnTo>
                        <a:pt x="276" y="504"/>
                      </a:lnTo>
                      <a:lnTo>
                        <a:pt x="282" y="516"/>
                      </a:lnTo>
                      <a:lnTo>
                        <a:pt x="282" y="540"/>
                      </a:lnTo>
                      <a:lnTo>
                        <a:pt x="282" y="564"/>
                      </a:lnTo>
                      <a:lnTo>
                        <a:pt x="282" y="588"/>
                      </a:lnTo>
                      <a:lnTo>
                        <a:pt x="288" y="612"/>
                      </a:lnTo>
                      <a:lnTo>
                        <a:pt x="300" y="642"/>
                      </a:lnTo>
                      <a:lnTo>
                        <a:pt x="312" y="678"/>
                      </a:lnTo>
                      <a:lnTo>
                        <a:pt x="312" y="702"/>
                      </a:lnTo>
                      <a:lnTo>
                        <a:pt x="312" y="726"/>
                      </a:lnTo>
                      <a:lnTo>
                        <a:pt x="306" y="756"/>
                      </a:lnTo>
                      <a:lnTo>
                        <a:pt x="300" y="786"/>
                      </a:lnTo>
                      <a:lnTo>
                        <a:pt x="312" y="810"/>
                      </a:lnTo>
                      <a:lnTo>
                        <a:pt x="336" y="834"/>
                      </a:lnTo>
                      <a:lnTo>
                        <a:pt x="354" y="864"/>
                      </a:lnTo>
                      <a:lnTo>
                        <a:pt x="378" y="954"/>
                      </a:lnTo>
                      <a:lnTo>
                        <a:pt x="390" y="1050"/>
                      </a:lnTo>
                      <a:lnTo>
                        <a:pt x="390" y="1110"/>
                      </a:lnTo>
                      <a:lnTo>
                        <a:pt x="396" y="1170"/>
                      </a:lnTo>
                      <a:lnTo>
                        <a:pt x="420" y="1224"/>
                      </a:lnTo>
                      <a:lnTo>
                        <a:pt x="432" y="1242"/>
                      </a:lnTo>
                      <a:lnTo>
                        <a:pt x="444" y="1254"/>
                      </a:lnTo>
                      <a:lnTo>
                        <a:pt x="456" y="1260"/>
                      </a:lnTo>
                      <a:lnTo>
                        <a:pt x="462" y="1260"/>
                      </a:lnTo>
                      <a:lnTo>
                        <a:pt x="474" y="1254"/>
                      </a:lnTo>
                      <a:lnTo>
                        <a:pt x="480" y="1242"/>
                      </a:lnTo>
                      <a:lnTo>
                        <a:pt x="486" y="1236"/>
                      </a:lnTo>
                      <a:lnTo>
                        <a:pt x="492" y="1236"/>
                      </a:lnTo>
                      <a:lnTo>
                        <a:pt x="498" y="1248"/>
                      </a:lnTo>
                      <a:lnTo>
                        <a:pt x="504" y="1260"/>
                      </a:lnTo>
                      <a:lnTo>
                        <a:pt x="504" y="1278"/>
                      </a:lnTo>
                      <a:lnTo>
                        <a:pt x="510" y="1296"/>
                      </a:lnTo>
                      <a:lnTo>
                        <a:pt x="510" y="1308"/>
                      </a:lnTo>
                      <a:lnTo>
                        <a:pt x="510" y="1326"/>
                      </a:lnTo>
                      <a:lnTo>
                        <a:pt x="516" y="1362"/>
                      </a:lnTo>
                      <a:lnTo>
                        <a:pt x="510" y="1392"/>
                      </a:lnTo>
                      <a:lnTo>
                        <a:pt x="486" y="1422"/>
                      </a:lnTo>
                      <a:lnTo>
                        <a:pt x="474" y="1434"/>
                      </a:lnTo>
                      <a:lnTo>
                        <a:pt x="462" y="1434"/>
                      </a:lnTo>
                      <a:lnTo>
                        <a:pt x="456" y="1434"/>
                      </a:lnTo>
                      <a:lnTo>
                        <a:pt x="450" y="1428"/>
                      </a:lnTo>
                      <a:lnTo>
                        <a:pt x="444" y="1416"/>
                      </a:lnTo>
                      <a:lnTo>
                        <a:pt x="438" y="1404"/>
                      </a:lnTo>
                      <a:lnTo>
                        <a:pt x="438" y="1386"/>
                      </a:lnTo>
                      <a:lnTo>
                        <a:pt x="426" y="1350"/>
                      </a:lnTo>
                      <a:lnTo>
                        <a:pt x="402" y="1314"/>
                      </a:lnTo>
                      <a:lnTo>
                        <a:pt x="366" y="1284"/>
                      </a:lnTo>
                      <a:lnTo>
                        <a:pt x="318" y="1242"/>
                      </a:lnTo>
                      <a:lnTo>
                        <a:pt x="288" y="1194"/>
                      </a:lnTo>
                      <a:lnTo>
                        <a:pt x="270" y="1158"/>
                      </a:lnTo>
                      <a:lnTo>
                        <a:pt x="264" y="1146"/>
                      </a:lnTo>
                      <a:lnTo>
                        <a:pt x="264" y="1128"/>
                      </a:lnTo>
                      <a:lnTo>
                        <a:pt x="270" y="1110"/>
                      </a:lnTo>
                      <a:lnTo>
                        <a:pt x="276" y="1086"/>
                      </a:lnTo>
                      <a:lnTo>
                        <a:pt x="288" y="1068"/>
                      </a:lnTo>
                      <a:lnTo>
                        <a:pt x="294" y="1044"/>
                      </a:lnTo>
                      <a:lnTo>
                        <a:pt x="294" y="1032"/>
                      </a:lnTo>
                      <a:lnTo>
                        <a:pt x="288" y="1014"/>
                      </a:lnTo>
                      <a:lnTo>
                        <a:pt x="282" y="1002"/>
                      </a:lnTo>
                      <a:lnTo>
                        <a:pt x="270" y="984"/>
                      </a:lnTo>
                      <a:lnTo>
                        <a:pt x="258" y="972"/>
                      </a:lnTo>
                      <a:lnTo>
                        <a:pt x="252" y="966"/>
                      </a:lnTo>
                      <a:lnTo>
                        <a:pt x="246" y="960"/>
                      </a:lnTo>
                      <a:lnTo>
                        <a:pt x="240" y="948"/>
                      </a:lnTo>
                      <a:lnTo>
                        <a:pt x="240" y="936"/>
                      </a:lnTo>
                      <a:lnTo>
                        <a:pt x="240" y="912"/>
                      </a:lnTo>
                      <a:lnTo>
                        <a:pt x="234" y="894"/>
                      </a:lnTo>
                      <a:lnTo>
                        <a:pt x="228" y="876"/>
                      </a:lnTo>
                      <a:lnTo>
                        <a:pt x="216" y="864"/>
                      </a:lnTo>
                      <a:lnTo>
                        <a:pt x="204" y="858"/>
                      </a:lnTo>
                      <a:lnTo>
                        <a:pt x="192" y="846"/>
                      </a:lnTo>
                      <a:lnTo>
                        <a:pt x="180" y="840"/>
                      </a:lnTo>
                      <a:lnTo>
                        <a:pt x="162" y="834"/>
                      </a:lnTo>
                      <a:lnTo>
                        <a:pt x="114" y="792"/>
                      </a:lnTo>
                      <a:lnTo>
                        <a:pt x="78" y="732"/>
                      </a:lnTo>
                      <a:lnTo>
                        <a:pt x="78" y="714"/>
                      </a:lnTo>
                      <a:lnTo>
                        <a:pt x="78" y="702"/>
                      </a:lnTo>
                      <a:lnTo>
                        <a:pt x="84" y="696"/>
                      </a:lnTo>
                      <a:lnTo>
                        <a:pt x="96" y="696"/>
                      </a:lnTo>
                      <a:lnTo>
                        <a:pt x="108" y="696"/>
                      </a:lnTo>
                      <a:lnTo>
                        <a:pt x="120" y="696"/>
                      </a:lnTo>
                      <a:lnTo>
                        <a:pt x="132" y="702"/>
                      </a:lnTo>
                      <a:lnTo>
                        <a:pt x="156" y="696"/>
                      </a:lnTo>
                      <a:lnTo>
                        <a:pt x="162" y="678"/>
                      </a:lnTo>
                      <a:lnTo>
                        <a:pt x="162" y="642"/>
                      </a:lnTo>
                      <a:lnTo>
                        <a:pt x="156" y="606"/>
                      </a:lnTo>
                      <a:lnTo>
                        <a:pt x="144" y="570"/>
                      </a:lnTo>
                      <a:lnTo>
                        <a:pt x="132" y="540"/>
                      </a:lnTo>
                      <a:lnTo>
                        <a:pt x="114" y="504"/>
                      </a:lnTo>
                      <a:lnTo>
                        <a:pt x="96" y="450"/>
                      </a:lnTo>
                      <a:lnTo>
                        <a:pt x="66" y="384"/>
                      </a:lnTo>
                      <a:lnTo>
                        <a:pt x="42" y="324"/>
                      </a:lnTo>
                      <a:lnTo>
                        <a:pt x="24" y="288"/>
                      </a:lnTo>
                      <a:lnTo>
                        <a:pt x="12" y="264"/>
                      </a:lnTo>
                      <a:lnTo>
                        <a:pt x="6" y="246"/>
                      </a:lnTo>
                      <a:lnTo>
                        <a:pt x="0" y="222"/>
                      </a:lnTo>
                      <a:lnTo>
                        <a:pt x="0" y="168"/>
                      </a:lnTo>
                      <a:lnTo>
                        <a:pt x="0" y="114"/>
                      </a:lnTo>
                      <a:lnTo>
                        <a:pt x="0" y="42"/>
                      </a:lnTo>
                      <a:lnTo>
                        <a:pt x="0" y="6"/>
                      </a:lnTo>
                      <a:lnTo>
                        <a:pt x="54" y="12"/>
                      </a:lnTo>
                      <a:lnTo>
                        <a:pt x="132" y="12"/>
                      </a:lnTo>
                      <a:lnTo>
                        <a:pt x="19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3" name="Freeform 286">
                  <a:extLst>
                    <a:ext uri="{FF2B5EF4-FFF2-40B4-BE49-F238E27FC236}">
                      <a16:creationId xmlns:a16="http://schemas.microsoft.com/office/drawing/2014/main" id="{7E6A7BAC-F9CF-4667-8443-C4119464851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2607" y="-3588"/>
                  <a:ext cx="6156" cy="3996"/>
                </a:xfrm>
                <a:custGeom>
                  <a:avLst/>
                  <a:gdLst>
                    <a:gd name="T0" fmla="*/ 3732 w 6156"/>
                    <a:gd name="T1" fmla="*/ 642 h 3996"/>
                    <a:gd name="T2" fmla="*/ 4560 w 6156"/>
                    <a:gd name="T3" fmla="*/ 1308 h 3996"/>
                    <a:gd name="T4" fmla="*/ 4860 w 6156"/>
                    <a:gd name="T5" fmla="*/ 1530 h 3996"/>
                    <a:gd name="T6" fmla="*/ 5568 w 6156"/>
                    <a:gd name="T7" fmla="*/ 1326 h 3996"/>
                    <a:gd name="T8" fmla="*/ 6120 w 6156"/>
                    <a:gd name="T9" fmla="*/ 1164 h 3996"/>
                    <a:gd name="T10" fmla="*/ 6102 w 6156"/>
                    <a:gd name="T11" fmla="*/ 1476 h 3996"/>
                    <a:gd name="T12" fmla="*/ 5964 w 6156"/>
                    <a:gd name="T13" fmla="*/ 1506 h 3996"/>
                    <a:gd name="T14" fmla="*/ 5796 w 6156"/>
                    <a:gd name="T15" fmla="*/ 1566 h 3996"/>
                    <a:gd name="T16" fmla="*/ 5646 w 6156"/>
                    <a:gd name="T17" fmla="*/ 1752 h 3996"/>
                    <a:gd name="T18" fmla="*/ 5712 w 6156"/>
                    <a:gd name="T19" fmla="*/ 1818 h 3996"/>
                    <a:gd name="T20" fmla="*/ 5472 w 6156"/>
                    <a:gd name="T21" fmla="*/ 1920 h 3996"/>
                    <a:gd name="T22" fmla="*/ 5340 w 6156"/>
                    <a:gd name="T23" fmla="*/ 1932 h 3996"/>
                    <a:gd name="T24" fmla="*/ 5172 w 6156"/>
                    <a:gd name="T25" fmla="*/ 2118 h 3996"/>
                    <a:gd name="T26" fmla="*/ 5070 w 6156"/>
                    <a:gd name="T27" fmla="*/ 2154 h 3996"/>
                    <a:gd name="T28" fmla="*/ 5034 w 6156"/>
                    <a:gd name="T29" fmla="*/ 2316 h 3996"/>
                    <a:gd name="T30" fmla="*/ 4962 w 6156"/>
                    <a:gd name="T31" fmla="*/ 2394 h 3996"/>
                    <a:gd name="T32" fmla="*/ 4950 w 6156"/>
                    <a:gd name="T33" fmla="*/ 2190 h 3996"/>
                    <a:gd name="T34" fmla="*/ 4896 w 6156"/>
                    <a:gd name="T35" fmla="*/ 2346 h 3996"/>
                    <a:gd name="T36" fmla="*/ 4896 w 6156"/>
                    <a:gd name="T37" fmla="*/ 2478 h 3996"/>
                    <a:gd name="T38" fmla="*/ 4950 w 6156"/>
                    <a:gd name="T39" fmla="*/ 2580 h 3996"/>
                    <a:gd name="T40" fmla="*/ 4884 w 6156"/>
                    <a:gd name="T41" fmla="*/ 2640 h 3996"/>
                    <a:gd name="T42" fmla="*/ 4668 w 6156"/>
                    <a:gd name="T43" fmla="*/ 2802 h 3996"/>
                    <a:gd name="T44" fmla="*/ 4470 w 6156"/>
                    <a:gd name="T45" fmla="*/ 2898 h 3996"/>
                    <a:gd name="T46" fmla="*/ 4248 w 6156"/>
                    <a:gd name="T47" fmla="*/ 3084 h 3996"/>
                    <a:gd name="T48" fmla="*/ 4152 w 6156"/>
                    <a:gd name="T49" fmla="*/ 3456 h 3996"/>
                    <a:gd name="T50" fmla="*/ 4140 w 6156"/>
                    <a:gd name="T51" fmla="*/ 3942 h 3996"/>
                    <a:gd name="T52" fmla="*/ 4032 w 6156"/>
                    <a:gd name="T53" fmla="*/ 3966 h 3996"/>
                    <a:gd name="T54" fmla="*/ 3978 w 6156"/>
                    <a:gd name="T55" fmla="*/ 3852 h 3996"/>
                    <a:gd name="T56" fmla="*/ 3918 w 6156"/>
                    <a:gd name="T57" fmla="*/ 3708 h 3996"/>
                    <a:gd name="T58" fmla="*/ 3900 w 6156"/>
                    <a:gd name="T59" fmla="*/ 3420 h 3996"/>
                    <a:gd name="T60" fmla="*/ 3822 w 6156"/>
                    <a:gd name="T61" fmla="*/ 3300 h 3996"/>
                    <a:gd name="T62" fmla="*/ 3660 w 6156"/>
                    <a:gd name="T63" fmla="*/ 3276 h 3996"/>
                    <a:gd name="T64" fmla="*/ 3402 w 6156"/>
                    <a:gd name="T65" fmla="*/ 3228 h 3996"/>
                    <a:gd name="T66" fmla="*/ 3246 w 6156"/>
                    <a:gd name="T67" fmla="*/ 3288 h 3996"/>
                    <a:gd name="T68" fmla="*/ 3234 w 6156"/>
                    <a:gd name="T69" fmla="*/ 3372 h 3996"/>
                    <a:gd name="T70" fmla="*/ 3174 w 6156"/>
                    <a:gd name="T71" fmla="*/ 3354 h 3996"/>
                    <a:gd name="T72" fmla="*/ 3084 w 6156"/>
                    <a:gd name="T73" fmla="*/ 3384 h 3996"/>
                    <a:gd name="T74" fmla="*/ 3018 w 6156"/>
                    <a:gd name="T75" fmla="*/ 3318 h 3996"/>
                    <a:gd name="T76" fmla="*/ 2874 w 6156"/>
                    <a:gd name="T77" fmla="*/ 3294 h 3996"/>
                    <a:gd name="T78" fmla="*/ 2580 w 6156"/>
                    <a:gd name="T79" fmla="*/ 3384 h 3996"/>
                    <a:gd name="T80" fmla="*/ 2316 w 6156"/>
                    <a:gd name="T81" fmla="*/ 3678 h 3996"/>
                    <a:gd name="T82" fmla="*/ 2148 w 6156"/>
                    <a:gd name="T83" fmla="*/ 3738 h 3996"/>
                    <a:gd name="T84" fmla="*/ 2022 w 6156"/>
                    <a:gd name="T85" fmla="*/ 3390 h 3996"/>
                    <a:gd name="T86" fmla="*/ 1794 w 6156"/>
                    <a:gd name="T87" fmla="*/ 3264 h 3996"/>
                    <a:gd name="T88" fmla="*/ 1608 w 6156"/>
                    <a:gd name="T89" fmla="*/ 3036 h 3996"/>
                    <a:gd name="T90" fmla="*/ 1350 w 6156"/>
                    <a:gd name="T91" fmla="*/ 2880 h 3996"/>
                    <a:gd name="T92" fmla="*/ 630 w 6156"/>
                    <a:gd name="T93" fmla="*/ 2652 h 3996"/>
                    <a:gd name="T94" fmla="*/ 234 w 6156"/>
                    <a:gd name="T95" fmla="*/ 2376 h 3996"/>
                    <a:gd name="T96" fmla="*/ 84 w 6156"/>
                    <a:gd name="T97" fmla="*/ 2052 h 3996"/>
                    <a:gd name="T98" fmla="*/ 108 w 6156"/>
                    <a:gd name="T99" fmla="*/ 1842 h 3996"/>
                    <a:gd name="T100" fmla="*/ 6 w 6156"/>
                    <a:gd name="T101" fmla="*/ 1656 h 3996"/>
                    <a:gd name="T102" fmla="*/ 48 w 6156"/>
                    <a:gd name="T103" fmla="*/ 1446 h 3996"/>
                    <a:gd name="T104" fmla="*/ 252 w 6156"/>
                    <a:gd name="T105" fmla="*/ 798 h 3996"/>
                    <a:gd name="T106" fmla="*/ 540 w 6156"/>
                    <a:gd name="T107" fmla="*/ 456 h 3996"/>
                    <a:gd name="T108" fmla="*/ 510 w 6156"/>
                    <a:gd name="T109" fmla="*/ 276 h 3996"/>
                    <a:gd name="T110" fmla="*/ 618 w 6156"/>
                    <a:gd name="T111" fmla="*/ 108 h 3996"/>
                    <a:gd name="T112" fmla="*/ 624 w 6156"/>
                    <a:gd name="T113" fmla="*/ 210 h 3996"/>
                    <a:gd name="T114" fmla="*/ 756 w 6156"/>
                    <a:gd name="T115" fmla="*/ 114 h 39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156" h="3996">
                      <a:moveTo>
                        <a:pt x="6108" y="1398"/>
                      </a:moveTo>
                      <a:lnTo>
                        <a:pt x="6108" y="1398"/>
                      </a:lnTo>
                      <a:lnTo>
                        <a:pt x="6108" y="1398"/>
                      </a:lnTo>
                      <a:lnTo>
                        <a:pt x="6108" y="1398"/>
                      </a:lnTo>
                      <a:close/>
                      <a:moveTo>
                        <a:pt x="738" y="0"/>
                      </a:moveTo>
                      <a:lnTo>
                        <a:pt x="3498" y="438"/>
                      </a:lnTo>
                      <a:lnTo>
                        <a:pt x="3534" y="486"/>
                      </a:lnTo>
                      <a:lnTo>
                        <a:pt x="3582" y="516"/>
                      </a:lnTo>
                      <a:lnTo>
                        <a:pt x="3648" y="528"/>
                      </a:lnTo>
                      <a:lnTo>
                        <a:pt x="3690" y="582"/>
                      </a:lnTo>
                      <a:lnTo>
                        <a:pt x="3732" y="642"/>
                      </a:lnTo>
                      <a:lnTo>
                        <a:pt x="3762" y="678"/>
                      </a:lnTo>
                      <a:lnTo>
                        <a:pt x="3828" y="684"/>
                      </a:lnTo>
                      <a:lnTo>
                        <a:pt x="3912" y="684"/>
                      </a:lnTo>
                      <a:lnTo>
                        <a:pt x="3966" y="714"/>
                      </a:lnTo>
                      <a:lnTo>
                        <a:pt x="4074" y="756"/>
                      </a:lnTo>
                      <a:lnTo>
                        <a:pt x="4206" y="786"/>
                      </a:lnTo>
                      <a:lnTo>
                        <a:pt x="4326" y="864"/>
                      </a:lnTo>
                      <a:lnTo>
                        <a:pt x="4404" y="972"/>
                      </a:lnTo>
                      <a:lnTo>
                        <a:pt x="4428" y="1074"/>
                      </a:lnTo>
                      <a:lnTo>
                        <a:pt x="4536" y="1200"/>
                      </a:lnTo>
                      <a:lnTo>
                        <a:pt x="4560" y="1308"/>
                      </a:lnTo>
                      <a:lnTo>
                        <a:pt x="4530" y="1440"/>
                      </a:lnTo>
                      <a:lnTo>
                        <a:pt x="4464" y="1542"/>
                      </a:lnTo>
                      <a:lnTo>
                        <a:pt x="4422" y="1590"/>
                      </a:lnTo>
                      <a:lnTo>
                        <a:pt x="4350" y="1668"/>
                      </a:lnTo>
                      <a:lnTo>
                        <a:pt x="4356" y="1704"/>
                      </a:lnTo>
                      <a:lnTo>
                        <a:pt x="4446" y="1728"/>
                      </a:lnTo>
                      <a:lnTo>
                        <a:pt x="4590" y="1692"/>
                      </a:lnTo>
                      <a:lnTo>
                        <a:pt x="4674" y="1674"/>
                      </a:lnTo>
                      <a:lnTo>
                        <a:pt x="4704" y="1650"/>
                      </a:lnTo>
                      <a:lnTo>
                        <a:pt x="4788" y="1566"/>
                      </a:lnTo>
                      <a:lnTo>
                        <a:pt x="4860" y="1530"/>
                      </a:lnTo>
                      <a:lnTo>
                        <a:pt x="4956" y="1518"/>
                      </a:lnTo>
                      <a:lnTo>
                        <a:pt x="5070" y="1518"/>
                      </a:lnTo>
                      <a:lnTo>
                        <a:pt x="5142" y="1446"/>
                      </a:lnTo>
                      <a:lnTo>
                        <a:pt x="5148" y="1440"/>
                      </a:lnTo>
                      <a:lnTo>
                        <a:pt x="5160" y="1416"/>
                      </a:lnTo>
                      <a:lnTo>
                        <a:pt x="5184" y="1392"/>
                      </a:lnTo>
                      <a:lnTo>
                        <a:pt x="5226" y="1356"/>
                      </a:lnTo>
                      <a:lnTo>
                        <a:pt x="5280" y="1326"/>
                      </a:lnTo>
                      <a:lnTo>
                        <a:pt x="5358" y="1308"/>
                      </a:lnTo>
                      <a:lnTo>
                        <a:pt x="5496" y="1302"/>
                      </a:lnTo>
                      <a:lnTo>
                        <a:pt x="5568" y="1326"/>
                      </a:lnTo>
                      <a:lnTo>
                        <a:pt x="5622" y="1344"/>
                      </a:lnTo>
                      <a:lnTo>
                        <a:pt x="5724" y="1326"/>
                      </a:lnTo>
                      <a:lnTo>
                        <a:pt x="5814" y="1284"/>
                      </a:lnTo>
                      <a:lnTo>
                        <a:pt x="5850" y="1212"/>
                      </a:lnTo>
                      <a:lnTo>
                        <a:pt x="5886" y="1110"/>
                      </a:lnTo>
                      <a:lnTo>
                        <a:pt x="5958" y="1080"/>
                      </a:lnTo>
                      <a:lnTo>
                        <a:pt x="6036" y="1050"/>
                      </a:lnTo>
                      <a:lnTo>
                        <a:pt x="6096" y="1050"/>
                      </a:lnTo>
                      <a:lnTo>
                        <a:pt x="6138" y="1080"/>
                      </a:lnTo>
                      <a:lnTo>
                        <a:pt x="6156" y="1122"/>
                      </a:lnTo>
                      <a:lnTo>
                        <a:pt x="6120" y="1164"/>
                      </a:lnTo>
                      <a:lnTo>
                        <a:pt x="6090" y="1224"/>
                      </a:lnTo>
                      <a:lnTo>
                        <a:pt x="6096" y="1308"/>
                      </a:lnTo>
                      <a:lnTo>
                        <a:pt x="6108" y="1398"/>
                      </a:lnTo>
                      <a:lnTo>
                        <a:pt x="6102" y="1404"/>
                      </a:lnTo>
                      <a:lnTo>
                        <a:pt x="6102" y="1410"/>
                      </a:lnTo>
                      <a:lnTo>
                        <a:pt x="6102" y="1422"/>
                      </a:lnTo>
                      <a:lnTo>
                        <a:pt x="6102" y="1434"/>
                      </a:lnTo>
                      <a:lnTo>
                        <a:pt x="6102" y="1446"/>
                      </a:lnTo>
                      <a:lnTo>
                        <a:pt x="6108" y="1458"/>
                      </a:lnTo>
                      <a:lnTo>
                        <a:pt x="6108" y="1470"/>
                      </a:lnTo>
                      <a:lnTo>
                        <a:pt x="6102" y="1476"/>
                      </a:lnTo>
                      <a:lnTo>
                        <a:pt x="6096" y="1482"/>
                      </a:lnTo>
                      <a:lnTo>
                        <a:pt x="6084" y="1482"/>
                      </a:lnTo>
                      <a:lnTo>
                        <a:pt x="6072" y="1482"/>
                      </a:lnTo>
                      <a:lnTo>
                        <a:pt x="6066" y="1482"/>
                      </a:lnTo>
                      <a:lnTo>
                        <a:pt x="6054" y="1482"/>
                      </a:lnTo>
                      <a:lnTo>
                        <a:pt x="6042" y="1482"/>
                      </a:lnTo>
                      <a:lnTo>
                        <a:pt x="6024" y="1482"/>
                      </a:lnTo>
                      <a:lnTo>
                        <a:pt x="6012" y="1488"/>
                      </a:lnTo>
                      <a:lnTo>
                        <a:pt x="6000" y="1500"/>
                      </a:lnTo>
                      <a:lnTo>
                        <a:pt x="5982" y="1500"/>
                      </a:lnTo>
                      <a:lnTo>
                        <a:pt x="5964" y="1506"/>
                      </a:lnTo>
                      <a:lnTo>
                        <a:pt x="5946" y="1500"/>
                      </a:lnTo>
                      <a:lnTo>
                        <a:pt x="5922" y="1500"/>
                      </a:lnTo>
                      <a:lnTo>
                        <a:pt x="5904" y="1500"/>
                      </a:lnTo>
                      <a:lnTo>
                        <a:pt x="5880" y="1506"/>
                      </a:lnTo>
                      <a:lnTo>
                        <a:pt x="5862" y="1518"/>
                      </a:lnTo>
                      <a:lnTo>
                        <a:pt x="5850" y="1530"/>
                      </a:lnTo>
                      <a:lnTo>
                        <a:pt x="5838" y="1542"/>
                      </a:lnTo>
                      <a:lnTo>
                        <a:pt x="5832" y="1554"/>
                      </a:lnTo>
                      <a:lnTo>
                        <a:pt x="5820" y="1560"/>
                      </a:lnTo>
                      <a:lnTo>
                        <a:pt x="5808" y="1566"/>
                      </a:lnTo>
                      <a:lnTo>
                        <a:pt x="5796" y="1566"/>
                      </a:lnTo>
                      <a:lnTo>
                        <a:pt x="5778" y="1566"/>
                      </a:lnTo>
                      <a:lnTo>
                        <a:pt x="5766" y="1572"/>
                      </a:lnTo>
                      <a:lnTo>
                        <a:pt x="5760" y="1584"/>
                      </a:lnTo>
                      <a:lnTo>
                        <a:pt x="5754" y="1596"/>
                      </a:lnTo>
                      <a:lnTo>
                        <a:pt x="5742" y="1608"/>
                      </a:lnTo>
                      <a:lnTo>
                        <a:pt x="5724" y="1626"/>
                      </a:lnTo>
                      <a:lnTo>
                        <a:pt x="5706" y="1644"/>
                      </a:lnTo>
                      <a:lnTo>
                        <a:pt x="5670" y="1674"/>
                      </a:lnTo>
                      <a:lnTo>
                        <a:pt x="5652" y="1704"/>
                      </a:lnTo>
                      <a:lnTo>
                        <a:pt x="5646" y="1728"/>
                      </a:lnTo>
                      <a:lnTo>
                        <a:pt x="5646" y="1752"/>
                      </a:lnTo>
                      <a:lnTo>
                        <a:pt x="5646" y="1764"/>
                      </a:lnTo>
                      <a:lnTo>
                        <a:pt x="5646" y="1776"/>
                      </a:lnTo>
                      <a:lnTo>
                        <a:pt x="5652" y="1788"/>
                      </a:lnTo>
                      <a:lnTo>
                        <a:pt x="5652" y="1794"/>
                      </a:lnTo>
                      <a:lnTo>
                        <a:pt x="5664" y="1800"/>
                      </a:lnTo>
                      <a:lnTo>
                        <a:pt x="5676" y="1806"/>
                      </a:lnTo>
                      <a:lnTo>
                        <a:pt x="5694" y="1800"/>
                      </a:lnTo>
                      <a:lnTo>
                        <a:pt x="5706" y="1800"/>
                      </a:lnTo>
                      <a:lnTo>
                        <a:pt x="5712" y="1806"/>
                      </a:lnTo>
                      <a:lnTo>
                        <a:pt x="5712" y="1806"/>
                      </a:lnTo>
                      <a:lnTo>
                        <a:pt x="5712" y="1818"/>
                      </a:lnTo>
                      <a:lnTo>
                        <a:pt x="5712" y="1824"/>
                      </a:lnTo>
                      <a:lnTo>
                        <a:pt x="5706" y="1830"/>
                      </a:lnTo>
                      <a:lnTo>
                        <a:pt x="5700" y="1842"/>
                      </a:lnTo>
                      <a:lnTo>
                        <a:pt x="5694" y="1848"/>
                      </a:lnTo>
                      <a:lnTo>
                        <a:pt x="5688" y="1854"/>
                      </a:lnTo>
                      <a:lnTo>
                        <a:pt x="5664" y="1866"/>
                      </a:lnTo>
                      <a:lnTo>
                        <a:pt x="5634" y="1872"/>
                      </a:lnTo>
                      <a:lnTo>
                        <a:pt x="5586" y="1872"/>
                      </a:lnTo>
                      <a:lnTo>
                        <a:pt x="5538" y="1878"/>
                      </a:lnTo>
                      <a:lnTo>
                        <a:pt x="5508" y="1896"/>
                      </a:lnTo>
                      <a:lnTo>
                        <a:pt x="5472" y="1920"/>
                      </a:lnTo>
                      <a:lnTo>
                        <a:pt x="5454" y="1926"/>
                      </a:lnTo>
                      <a:lnTo>
                        <a:pt x="5442" y="1926"/>
                      </a:lnTo>
                      <a:lnTo>
                        <a:pt x="5430" y="1926"/>
                      </a:lnTo>
                      <a:lnTo>
                        <a:pt x="5418" y="1920"/>
                      </a:lnTo>
                      <a:lnTo>
                        <a:pt x="5406" y="1920"/>
                      </a:lnTo>
                      <a:lnTo>
                        <a:pt x="5400" y="1914"/>
                      </a:lnTo>
                      <a:lnTo>
                        <a:pt x="5388" y="1914"/>
                      </a:lnTo>
                      <a:lnTo>
                        <a:pt x="5382" y="1914"/>
                      </a:lnTo>
                      <a:lnTo>
                        <a:pt x="5364" y="1926"/>
                      </a:lnTo>
                      <a:lnTo>
                        <a:pt x="5352" y="1926"/>
                      </a:lnTo>
                      <a:lnTo>
                        <a:pt x="5340" y="1932"/>
                      </a:lnTo>
                      <a:lnTo>
                        <a:pt x="5322" y="1932"/>
                      </a:lnTo>
                      <a:lnTo>
                        <a:pt x="5298" y="1926"/>
                      </a:lnTo>
                      <a:lnTo>
                        <a:pt x="5274" y="1926"/>
                      </a:lnTo>
                      <a:lnTo>
                        <a:pt x="5262" y="1932"/>
                      </a:lnTo>
                      <a:lnTo>
                        <a:pt x="5256" y="1932"/>
                      </a:lnTo>
                      <a:lnTo>
                        <a:pt x="5250" y="1944"/>
                      </a:lnTo>
                      <a:lnTo>
                        <a:pt x="5244" y="1962"/>
                      </a:lnTo>
                      <a:lnTo>
                        <a:pt x="5244" y="1980"/>
                      </a:lnTo>
                      <a:lnTo>
                        <a:pt x="5226" y="2022"/>
                      </a:lnTo>
                      <a:lnTo>
                        <a:pt x="5196" y="2070"/>
                      </a:lnTo>
                      <a:lnTo>
                        <a:pt x="5172" y="2118"/>
                      </a:lnTo>
                      <a:lnTo>
                        <a:pt x="5148" y="2154"/>
                      </a:lnTo>
                      <a:lnTo>
                        <a:pt x="5136" y="2166"/>
                      </a:lnTo>
                      <a:lnTo>
                        <a:pt x="5130" y="2178"/>
                      </a:lnTo>
                      <a:lnTo>
                        <a:pt x="5118" y="2178"/>
                      </a:lnTo>
                      <a:lnTo>
                        <a:pt x="5112" y="2178"/>
                      </a:lnTo>
                      <a:lnTo>
                        <a:pt x="5106" y="2172"/>
                      </a:lnTo>
                      <a:lnTo>
                        <a:pt x="5100" y="2160"/>
                      </a:lnTo>
                      <a:lnTo>
                        <a:pt x="5088" y="2154"/>
                      </a:lnTo>
                      <a:lnTo>
                        <a:pt x="5082" y="2148"/>
                      </a:lnTo>
                      <a:lnTo>
                        <a:pt x="5076" y="2154"/>
                      </a:lnTo>
                      <a:lnTo>
                        <a:pt x="5070" y="2154"/>
                      </a:lnTo>
                      <a:lnTo>
                        <a:pt x="5070" y="2166"/>
                      </a:lnTo>
                      <a:lnTo>
                        <a:pt x="5070" y="2190"/>
                      </a:lnTo>
                      <a:lnTo>
                        <a:pt x="5076" y="2214"/>
                      </a:lnTo>
                      <a:lnTo>
                        <a:pt x="5082" y="2238"/>
                      </a:lnTo>
                      <a:lnTo>
                        <a:pt x="5088" y="2250"/>
                      </a:lnTo>
                      <a:lnTo>
                        <a:pt x="5088" y="2268"/>
                      </a:lnTo>
                      <a:lnTo>
                        <a:pt x="5088" y="2280"/>
                      </a:lnTo>
                      <a:lnTo>
                        <a:pt x="5076" y="2292"/>
                      </a:lnTo>
                      <a:lnTo>
                        <a:pt x="5058" y="2304"/>
                      </a:lnTo>
                      <a:lnTo>
                        <a:pt x="5040" y="2310"/>
                      </a:lnTo>
                      <a:lnTo>
                        <a:pt x="5034" y="2316"/>
                      </a:lnTo>
                      <a:lnTo>
                        <a:pt x="5028" y="2322"/>
                      </a:lnTo>
                      <a:lnTo>
                        <a:pt x="5022" y="2334"/>
                      </a:lnTo>
                      <a:lnTo>
                        <a:pt x="5016" y="2346"/>
                      </a:lnTo>
                      <a:lnTo>
                        <a:pt x="5004" y="2364"/>
                      </a:lnTo>
                      <a:lnTo>
                        <a:pt x="4992" y="2388"/>
                      </a:lnTo>
                      <a:lnTo>
                        <a:pt x="4986" y="2400"/>
                      </a:lnTo>
                      <a:lnTo>
                        <a:pt x="4974" y="2406"/>
                      </a:lnTo>
                      <a:lnTo>
                        <a:pt x="4968" y="2412"/>
                      </a:lnTo>
                      <a:lnTo>
                        <a:pt x="4968" y="2406"/>
                      </a:lnTo>
                      <a:lnTo>
                        <a:pt x="4962" y="2400"/>
                      </a:lnTo>
                      <a:lnTo>
                        <a:pt x="4962" y="2394"/>
                      </a:lnTo>
                      <a:lnTo>
                        <a:pt x="4962" y="2382"/>
                      </a:lnTo>
                      <a:lnTo>
                        <a:pt x="4962" y="2370"/>
                      </a:lnTo>
                      <a:lnTo>
                        <a:pt x="4962" y="2364"/>
                      </a:lnTo>
                      <a:lnTo>
                        <a:pt x="4956" y="2346"/>
                      </a:lnTo>
                      <a:lnTo>
                        <a:pt x="4950" y="2334"/>
                      </a:lnTo>
                      <a:lnTo>
                        <a:pt x="4944" y="2316"/>
                      </a:lnTo>
                      <a:lnTo>
                        <a:pt x="4944" y="2304"/>
                      </a:lnTo>
                      <a:lnTo>
                        <a:pt x="4950" y="2280"/>
                      </a:lnTo>
                      <a:lnTo>
                        <a:pt x="4950" y="2244"/>
                      </a:lnTo>
                      <a:lnTo>
                        <a:pt x="4950" y="2202"/>
                      </a:lnTo>
                      <a:lnTo>
                        <a:pt x="4950" y="2190"/>
                      </a:lnTo>
                      <a:lnTo>
                        <a:pt x="4944" y="2184"/>
                      </a:lnTo>
                      <a:lnTo>
                        <a:pt x="4938" y="2184"/>
                      </a:lnTo>
                      <a:lnTo>
                        <a:pt x="4932" y="2190"/>
                      </a:lnTo>
                      <a:lnTo>
                        <a:pt x="4920" y="2202"/>
                      </a:lnTo>
                      <a:lnTo>
                        <a:pt x="4914" y="2208"/>
                      </a:lnTo>
                      <a:lnTo>
                        <a:pt x="4908" y="2226"/>
                      </a:lnTo>
                      <a:lnTo>
                        <a:pt x="4896" y="2238"/>
                      </a:lnTo>
                      <a:lnTo>
                        <a:pt x="4884" y="2268"/>
                      </a:lnTo>
                      <a:lnTo>
                        <a:pt x="4878" y="2298"/>
                      </a:lnTo>
                      <a:lnTo>
                        <a:pt x="4884" y="2328"/>
                      </a:lnTo>
                      <a:lnTo>
                        <a:pt x="4896" y="2346"/>
                      </a:lnTo>
                      <a:lnTo>
                        <a:pt x="4902" y="2358"/>
                      </a:lnTo>
                      <a:lnTo>
                        <a:pt x="4902" y="2370"/>
                      </a:lnTo>
                      <a:lnTo>
                        <a:pt x="4902" y="2382"/>
                      </a:lnTo>
                      <a:lnTo>
                        <a:pt x="4902" y="2394"/>
                      </a:lnTo>
                      <a:lnTo>
                        <a:pt x="4896" y="2406"/>
                      </a:lnTo>
                      <a:lnTo>
                        <a:pt x="4896" y="2424"/>
                      </a:lnTo>
                      <a:lnTo>
                        <a:pt x="4896" y="2436"/>
                      </a:lnTo>
                      <a:lnTo>
                        <a:pt x="4902" y="2448"/>
                      </a:lnTo>
                      <a:lnTo>
                        <a:pt x="4902" y="2460"/>
                      </a:lnTo>
                      <a:lnTo>
                        <a:pt x="4902" y="2472"/>
                      </a:lnTo>
                      <a:lnTo>
                        <a:pt x="4896" y="2478"/>
                      </a:lnTo>
                      <a:lnTo>
                        <a:pt x="4884" y="2484"/>
                      </a:lnTo>
                      <a:lnTo>
                        <a:pt x="4878" y="2490"/>
                      </a:lnTo>
                      <a:lnTo>
                        <a:pt x="4878" y="2502"/>
                      </a:lnTo>
                      <a:lnTo>
                        <a:pt x="4878" y="2514"/>
                      </a:lnTo>
                      <a:lnTo>
                        <a:pt x="4890" y="2526"/>
                      </a:lnTo>
                      <a:lnTo>
                        <a:pt x="4902" y="2538"/>
                      </a:lnTo>
                      <a:lnTo>
                        <a:pt x="4920" y="2550"/>
                      </a:lnTo>
                      <a:lnTo>
                        <a:pt x="4938" y="2556"/>
                      </a:lnTo>
                      <a:lnTo>
                        <a:pt x="4950" y="2568"/>
                      </a:lnTo>
                      <a:lnTo>
                        <a:pt x="4956" y="2574"/>
                      </a:lnTo>
                      <a:lnTo>
                        <a:pt x="4950" y="2580"/>
                      </a:lnTo>
                      <a:lnTo>
                        <a:pt x="4944" y="2586"/>
                      </a:lnTo>
                      <a:lnTo>
                        <a:pt x="4932" y="2592"/>
                      </a:lnTo>
                      <a:lnTo>
                        <a:pt x="4920" y="2598"/>
                      </a:lnTo>
                      <a:lnTo>
                        <a:pt x="4902" y="2598"/>
                      </a:lnTo>
                      <a:lnTo>
                        <a:pt x="4890" y="2598"/>
                      </a:lnTo>
                      <a:lnTo>
                        <a:pt x="4878" y="2604"/>
                      </a:lnTo>
                      <a:lnTo>
                        <a:pt x="4872" y="2616"/>
                      </a:lnTo>
                      <a:lnTo>
                        <a:pt x="4866" y="2622"/>
                      </a:lnTo>
                      <a:lnTo>
                        <a:pt x="4866" y="2634"/>
                      </a:lnTo>
                      <a:lnTo>
                        <a:pt x="4872" y="2640"/>
                      </a:lnTo>
                      <a:lnTo>
                        <a:pt x="4884" y="2640"/>
                      </a:lnTo>
                      <a:lnTo>
                        <a:pt x="4896" y="2646"/>
                      </a:lnTo>
                      <a:lnTo>
                        <a:pt x="4896" y="2652"/>
                      </a:lnTo>
                      <a:lnTo>
                        <a:pt x="4890" y="2664"/>
                      </a:lnTo>
                      <a:lnTo>
                        <a:pt x="4884" y="2670"/>
                      </a:lnTo>
                      <a:lnTo>
                        <a:pt x="4872" y="2682"/>
                      </a:lnTo>
                      <a:lnTo>
                        <a:pt x="4860" y="2694"/>
                      </a:lnTo>
                      <a:lnTo>
                        <a:pt x="4842" y="2700"/>
                      </a:lnTo>
                      <a:lnTo>
                        <a:pt x="4782" y="2736"/>
                      </a:lnTo>
                      <a:lnTo>
                        <a:pt x="4710" y="2772"/>
                      </a:lnTo>
                      <a:lnTo>
                        <a:pt x="4686" y="2790"/>
                      </a:lnTo>
                      <a:lnTo>
                        <a:pt x="4668" y="2802"/>
                      </a:lnTo>
                      <a:lnTo>
                        <a:pt x="4656" y="2820"/>
                      </a:lnTo>
                      <a:lnTo>
                        <a:pt x="4638" y="2826"/>
                      </a:lnTo>
                      <a:lnTo>
                        <a:pt x="4626" y="2832"/>
                      </a:lnTo>
                      <a:lnTo>
                        <a:pt x="4578" y="2850"/>
                      </a:lnTo>
                      <a:lnTo>
                        <a:pt x="4518" y="2862"/>
                      </a:lnTo>
                      <a:lnTo>
                        <a:pt x="4506" y="2862"/>
                      </a:lnTo>
                      <a:lnTo>
                        <a:pt x="4494" y="2868"/>
                      </a:lnTo>
                      <a:lnTo>
                        <a:pt x="4488" y="2868"/>
                      </a:lnTo>
                      <a:lnTo>
                        <a:pt x="4482" y="2874"/>
                      </a:lnTo>
                      <a:lnTo>
                        <a:pt x="4476" y="2886"/>
                      </a:lnTo>
                      <a:lnTo>
                        <a:pt x="4470" y="2898"/>
                      </a:lnTo>
                      <a:lnTo>
                        <a:pt x="4458" y="2910"/>
                      </a:lnTo>
                      <a:lnTo>
                        <a:pt x="4446" y="2934"/>
                      </a:lnTo>
                      <a:lnTo>
                        <a:pt x="4410" y="2970"/>
                      </a:lnTo>
                      <a:lnTo>
                        <a:pt x="4368" y="2994"/>
                      </a:lnTo>
                      <a:lnTo>
                        <a:pt x="4326" y="3012"/>
                      </a:lnTo>
                      <a:lnTo>
                        <a:pt x="4296" y="3024"/>
                      </a:lnTo>
                      <a:lnTo>
                        <a:pt x="4278" y="3036"/>
                      </a:lnTo>
                      <a:lnTo>
                        <a:pt x="4266" y="3048"/>
                      </a:lnTo>
                      <a:lnTo>
                        <a:pt x="4260" y="3060"/>
                      </a:lnTo>
                      <a:lnTo>
                        <a:pt x="4254" y="3072"/>
                      </a:lnTo>
                      <a:lnTo>
                        <a:pt x="4248" y="3084"/>
                      </a:lnTo>
                      <a:lnTo>
                        <a:pt x="4230" y="3108"/>
                      </a:lnTo>
                      <a:lnTo>
                        <a:pt x="4218" y="3150"/>
                      </a:lnTo>
                      <a:lnTo>
                        <a:pt x="4200" y="3186"/>
                      </a:lnTo>
                      <a:lnTo>
                        <a:pt x="4194" y="3210"/>
                      </a:lnTo>
                      <a:lnTo>
                        <a:pt x="4188" y="3246"/>
                      </a:lnTo>
                      <a:lnTo>
                        <a:pt x="4176" y="3300"/>
                      </a:lnTo>
                      <a:lnTo>
                        <a:pt x="4164" y="3354"/>
                      </a:lnTo>
                      <a:lnTo>
                        <a:pt x="4158" y="3384"/>
                      </a:lnTo>
                      <a:lnTo>
                        <a:pt x="4146" y="3402"/>
                      </a:lnTo>
                      <a:lnTo>
                        <a:pt x="4140" y="3420"/>
                      </a:lnTo>
                      <a:lnTo>
                        <a:pt x="4152" y="3456"/>
                      </a:lnTo>
                      <a:lnTo>
                        <a:pt x="4158" y="3516"/>
                      </a:lnTo>
                      <a:lnTo>
                        <a:pt x="4158" y="3576"/>
                      </a:lnTo>
                      <a:lnTo>
                        <a:pt x="4158" y="3630"/>
                      </a:lnTo>
                      <a:lnTo>
                        <a:pt x="4170" y="3672"/>
                      </a:lnTo>
                      <a:lnTo>
                        <a:pt x="4182" y="3720"/>
                      </a:lnTo>
                      <a:lnTo>
                        <a:pt x="4188" y="3762"/>
                      </a:lnTo>
                      <a:lnTo>
                        <a:pt x="4188" y="3786"/>
                      </a:lnTo>
                      <a:lnTo>
                        <a:pt x="4182" y="3810"/>
                      </a:lnTo>
                      <a:lnTo>
                        <a:pt x="4170" y="3858"/>
                      </a:lnTo>
                      <a:lnTo>
                        <a:pt x="4152" y="3906"/>
                      </a:lnTo>
                      <a:lnTo>
                        <a:pt x="4140" y="3942"/>
                      </a:lnTo>
                      <a:lnTo>
                        <a:pt x="4128" y="3960"/>
                      </a:lnTo>
                      <a:lnTo>
                        <a:pt x="4110" y="3978"/>
                      </a:lnTo>
                      <a:lnTo>
                        <a:pt x="4086" y="3984"/>
                      </a:lnTo>
                      <a:lnTo>
                        <a:pt x="4068" y="3990"/>
                      </a:lnTo>
                      <a:lnTo>
                        <a:pt x="4056" y="3996"/>
                      </a:lnTo>
                      <a:lnTo>
                        <a:pt x="4050" y="3996"/>
                      </a:lnTo>
                      <a:lnTo>
                        <a:pt x="4044" y="3996"/>
                      </a:lnTo>
                      <a:lnTo>
                        <a:pt x="4038" y="3996"/>
                      </a:lnTo>
                      <a:lnTo>
                        <a:pt x="4038" y="3990"/>
                      </a:lnTo>
                      <a:lnTo>
                        <a:pt x="4038" y="3978"/>
                      </a:lnTo>
                      <a:lnTo>
                        <a:pt x="4032" y="3966"/>
                      </a:lnTo>
                      <a:lnTo>
                        <a:pt x="4032" y="3960"/>
                      </a:lnTo>
                      <a:lnTo>
                        <a:pt x="4026" y="3954"/>
                      </a:lnTo>
                      <a:lnTo>
                        <a:pt x="4014" y="3948"/>
                      </a:lnTo>
                      <a:lnTo>
                        <a:pt x="4008" y="3942"/>
                      </a:lnTo>
                      <a:lnTo>
                        <a:pt x="4002" y="3936"/>
                      </a:lnTo>
                      <a:lnTo>
                        <a:pt x="3996" y="3930"/>
                      </a:lnTo>
                      <a:lnTo>
                        <a:pt x="3996" y="3912"/>
                      </a:lnTo>
                      <a:lnTo>
                        <a:pt x="3996" y="3894"/>
                      </a:lnTo>
                      <a:lnTo>
                        <a:pt x="3990" y="3876"/>
                      </a:lnTo>
                      <a:lnTo>
                        <a:pt x="3984" y="3864"/>
                      </a:lnTo>
                      <a:lnTo>
                        <a:pt x="3978" y="3852"/>
                      </a:lnTo>
                      <a:lnTo>
                        <a:pt x="3972" y="3840"/>
                      </a:lnTo>
                      <a:lnTo>
                        <a:pt x="3972" y="3828"/>
                      </a:lnTo>
                      <a:lnTo>
                        <a:pt x="3972" y="3810"/>
                      </a:lnTo>
                      <a:lnTo>
                        <a:pt x="3972" y="3798"/>
                      </a:lnTo>
                      <a:lnTo>
                        <a:pt x="3972" y="3780"/>
                      </a:lnTo>
                      <a:lnTo>
                        <a:pt x="3966" y="3768"/>
                      </a:lnTo>
                      <a:lnTo>
                        <a:pt x="3960" y="3756"/>
                      </a:lnTo>
                      <a:lnTo>
                        <a:pt x="3948" y="3744"/>
                      </a:lnTo>
                      <a:lnTo>
                        <a:pt x="3930" y="3732"/>
                      </a:lnTo>
                      <a:lnTo>
                        <a:pt x="3918" y="3720"/>
                      </a:lnTo>
                      <a:lnTo>
                        <a:pt x="3918" y="3708"/>
                      </a:lnTo>
                      <a:lnTo>
                        <a:pt x="3918" y="3690"/>
                      </a:lnTo>
                      <a:lnTo>
                        <a:pt x="3918" y="3660"/>
                      </a:lnTo>
                      <a:lnTo>
                        <a:pt x="3918" y="3618"/>
                      </a:lnTo>
                      <a:lnTo>
                        <a:pt x="3924" y="3570"/>
                      </a:lnTo>
                      <a:lnTo>
                        <a:pt x="3942" y="3540"/>
                      </a:lnTo>
                      <a:lnTo>
                        <a:pt x="3960" y="3510"/>
                      </a:lnTo>
                      <a:lnTo>
                        <a:pt x="3954" y="3480"/>
                      </a:lnTo>
                      <a:lnTo>
                        <a:pt x="3942" y="3450"/>
                      </a:lnTo>
                      <a:lnTo>
                        <a:pt x="3924" y="3432"/>
                      </a:lnTo>
                      <a:lnTo>
                        <a:pt x="3912" y="3426"/>
                      </a:lnTo>
                      <a:lnTo>
                        <a:pt x="3900" y="3420"/>
                      </a:lnTo>
                      <a:lnTo>
                        <a:pt x="3900" y="3408"/>
                      </a:lnTo>
                      <a:lnTo>
                        <a:pt x="3894" y="3390"/>
                      </a:lnTo>
                      <a:lnTo>
                        <a:pt x="3894" y="3372"/>
                      </a:lnTo>
                      <a:lnTo>
                        <a:pt x="3894" y="3342"/>
                      </a:lnTo>
                      <a:lnTo>
                        <a:pt x="3888" y="3324"/>
                      </a:lnTo>
                      <a:lnTo>
                        <a:pt x="3882" y="3312"/>
                      </a:lnTo>
                      <a:lnTo>
                        <a:pt x="3870" y="3300"/>
                      </a:lnTo>
                      <a:lnTo>
                        <a:pt x="3858" y="3300"/>
                      </a:lnTo>
                      <a:lnTo>
                        <a:pt x="3846" y="3300"/>
                      </a:lnTo>
                      <a:lnTo>
                        <a:pt x="3834" y="3300"/>
                      </a:lnTo>
                      <a:lnTo>
                        <a:pt x="3822" y="3300"/>
                      </a:lnTo>
                      <a:lnTo>
                        <a:pt x="3816" y="3306"/>
                      </a:lnTo>
                      <a:lnTo>
                        <a:pt x="3786" y="3318"/>
                      </a:lnTo>
                      <a:lnTo>
                        <a:pt x="3750" y="3336"/>
                      </a:lnTo>
                      <a:lnTo>
                        <a:pt x="3714" y="3342"/>
                      </a:lnTo>
                      <a:lnTo>
                        <a:pt x="3696" y="3348"/>
                      </a:lnTo>
                      <a:lnTo>
                        <a:pt x="3684" y="3342"/>
                      </a:lnTo>
                      <a:lnTo>
                        <a:pt x="3678" y="3336"/>
                      </a:lnTo>
                      <a:lnTo>
                        <a:pt x="3678" y="3324"/>
                      </a:lnTo>
                      <a:lnTo>
                        <a:pt x="3672" y="3312"/>
                      </a:lnTo>
                      <a:lnTo>
                        <a:pt x="3666" y="3294"/>
                      </a:lnTo>
                      <a:lnTo>
                        <a:pt x="3660" y="3276"/>
                      </a:lnTo>
                      <a:lnTo>
                        <a:pt x="3636" y="3252"/>
                      </a:lnTo>
                      <a:lnTo>
                        <a:pt x="3606" y="3252"/>
                      </a:lnTo>
                      <a:lnTo>
                        <a:pt x="3576" y="3258"/>
                      </a:lnTo>
                      <a:lnTo>
                        <a:pt x="3546" y="3258"/>
                      </a:lnTo>
                      <a:lnTo>
                        <a:pt x="3516" y="3252"/>
                      </a:lnTo>
                      <a:lnTo>
                        <a:pt x="3480" y="3258"/>
                      </a:lnTo>
                      <a:lnTo>
                        <a:pt x="3450" y="3258"/>
                      </a:lnTo>
                      <a:lnTo>
                        <a:pt x="3426" y="3240"/>
                      </a:lnTo>
                      <a:lnTo>
                        <a:pt x="3414" y="3234"/>
                      </a:lnTo>
                      <a:lnTo>
                        <a:pt x="3408" y="3228"/>
                      </a:lnTo>
                      <a:lnTo>
                        <a:pt x="3402" y="3228"/>
                      </a:lnTo>
                      <a:lnTo>
                        <a:pt x="3396" y="3234"/>
                      </a:lnTo>
                      <a:lnTo>
                        <a:pt x="3390" y="3234"/>
                      </a:lnTo>
                      <a:lnTo>
                        <a:pt x="3378" y="3234"/>
                      </a:lnTo>
                      <a:lnTo>
                        <a:pt x="3366" y="3234"/>
                      </a:lnTo>
                      <a:lnTo>
                        <a:pt x="3330" y="3228"/>
                      </a:lnTo>
                      <a:lnTo>
                        <a:pt x="3294" y="3240"/>
                      </a:lnTo>
                      <a:lnTo>
                        <a:pt x="3264" y="3252"/>
                      </a:lnTo>
                      <a:lnTo>
                        <a:pt x="3252" y="3258"/>
                      </a:lnTo>
                      <a:lnTo>
                        <a:pt x="3246" y="3270"/>
                      </a:lnTo>
                      <a:lnTo>
                        <a:pt x="3246" y="3282"/>
                      </a:lnTo>
                      <a:lnTo>
                        <a:pt x="3246" y="3288"/>
                      </a:lnTo>
                      <a:lnTo>
                        <a:pt x="3258" y="3294"/>
                      </a:lnTo>
                      <a:lnTo>
                        <a:pt x="3264" y="3300"/>
                      </a:lnTo>
                      <a:lnTo>
                        <a:pt x="3270" y="3300"/>
                      </a:lnTo>
                      <a:lnTo>
                        <a:pt x="3276" y="3300"/>
                      </a:lnTo>
                      <a:lnTo>
                        <a:pt x="3276" y="3306"/>
                      </a:lnTo>
                      <a:lnTo>
                        <a:pt x="3276" y="3312"/>
                      </a:lnTo>
                      <a:lnTo>
                        <a:pt x="3270" y="3318"/>
                      </a:lnTo>
                      <a:lnTo>
                        <a:pt x="3264" y="3330"/>
                      </a:lnTo>
                      <a:lnTo>
                        <a:pt x="3252" y="3348"/>
                      </a:lnTo>
                      <a:lnTo>
                        <a:pt x="3240" y="3360"/>
                      </a:lnTo>
                      <a:lnTo>
                        <a:pt x="3234" y="3372"/>
                      </a:lnTo>
                      <a:lnTo>
                        <a:pt x="3228" y="3372"/>
                      </a:lnTo>
                      <a:lnTo>
                        <a:pt x="3222" y="3372"/>
                      </a:lnTo>
                      <a:lnTo>
                        <a:pt x="3222" y="3372"/>
                      </a:lnTo>
                      <a:lnTo>
                        <a:pt x="3216" y="3366"/>
                      </a:lnTo>
                      <a:lnTo>
                        <a:pt x="3216" y="3360"/>
                      </a:lnTo>
                      <a:lnTo>
                        <a:pt x="3210" y="3354"/>
                      </a:lnTo>
                      <a:lnTo>
                        <a:pt x="3204" y="3342"/>
                      </a:lnTo>
                      <a:lnTo>
                        <a:pt x="3192" y="3336"/>
                      </a:lnTo>
                      <a:lnTo>
                        <a:pt x="3180" y="3336"/>
                      </a:lnTo>
                      <a:lnTo>
                        <a:pt x="3174" y="3342"/>
                      </a:lnTo>
                      <a:lnTo>
                        <a:pt x="3174" y="3354"/>
                      </a:lnTo>
                      <a:lnTo>
                        <a:pt x="3174" y="3366"/>
                      </a:lnTo>
                      <a:lnTo>
                        <a:pt x="3168" y="3378"/>
                      </a:lnTo>
                      <a:lnTo>
                        <a:pt x="3162" y="3390"/>
                      </a:lnTo>
                      <a:lnTo>
                        <a:pt x="3156" y="3390"/>
                      </a:lnTo>
                      <a:lnTo>
                        <a:pt x="3144" y="3390"/>
                      </a:lnTo>
                      <a:lnTo>
                        <a:pt x="3132" y="3384"/>
                      </a:lnTo>
                      <a:lnTo>
                        <a:pt x="3126" y="3378"/>
                      </a:lnTo>
                      <a:lnTo>
                        <a:pt x="3114" y="3378"/>
                      </a:lnTo>
                      <a:lnTo>
                        <a:pt x="3108" y="3384"/>
                      </a:lnTo>
                      <a:lnTo>
                        <a:pt x="3096" y="3384"/>
                      </a:lnTo>
                      <a:lnTo>
                        <a:pt x="3084" y="3384"/>
                      </a:lnTo>
                      <a:lnTo>
                        <a:pt x="3066" y="3384"/>
                      </a:lnTo>
                      <a:lnTo>
                        <a:pt x="3054" y="3378"/>
                      </a:lnTo>
                      <a:lnTo>
                        <a:pt x="3048" y="3372"/>
                      </a:lnTo>
                      <a:lnTo>
                        <a:pt x="3042" y="3360"/>
                      </a:lnTo>
                      <a:lnTo>
                        <a:pt x="3042" y="3354"/>
                      </a:lnTo>
                      <a:lnTo>
                        <a:pt x="3042" y="3342"/>
                      </a:lnTo>
                      <a:lnTo>
                        <a:pt x="3042" y="3330"/>
                      </a:lnTo>
                      <a:lnTo>
                        <a:pt x="3036" y="3318"/>
                      </a:lnTo>
                      <a:lnTo>
                        <a:pt x="3036" y="3312"/>
                      </a:lnTo>
                      <a:lnTo>
                        <a:pt x="3030" y="3312"/>
                      </a:lnTo>
                      <a:lnTo>
                        <a:pt x="3018" y="3318"/>
                      </a:lnTo>
                      <a:lnTo>
                        <a:pt x="3006" y="3324"/>
                      </a:lnTo>
                      <a:lnTo>
                        <a:pt x="2994" y="3324"/>
                      </a:lnTo>
                      <a:lnTo>
                        <a:pt x="2988" y="3324"/>
                      </a:lnTo>
                      <a:lnTo>
                        <a:pt x="2988" y="3324"/>
                      </a:lnTo>
                      <a:lnTo>
                        <a:pt x="2988" y="3318"/>
                      </a:lnTo>
                      <a:lnTo>
                        <a:pt x="2982" y="3312"/>
                      </a:lnTo>
                      <a:lnTo>
                        <a:pt x="2976" y="3306"/>
                      </a:lnTo>
                      <a:lnTo>
                        <a:pt x="2970" y="3306"/>
                      </a:lnTo>
                      <a:lnTo>
                        <a:pt x="2946" y="3306"/>
                      </a:lnTo>
                      <a:lnTo>
                        <a:pt x="2916" y="3306"/>
                      </a:lnTo>
                      <a:lnTo>
                        <a:pt x="2874" y="3294"/>
                      </a:lnTo>
                      <a:lnTo>
                        <a:pt x="2826" y="3276"/>
                      </a:lnTo>
                      <a:lnTo>
                        <a:pt x="2784" y="3276"/>
                      </a:lnTo>
                      <a:lnTo>
                        <a:pt x="2742" y="3276"/>
                      </a:lnTo>
                      <a:lnTo>
                        <a:pt x="2718" y="3282"/>
                      </a:lnTo>
                      <a:lnTo>
                        <a:pt x="2706" y="3288"/>
                      </a:lnTo>
                      <a:lnTo>
                        <a:pt x="2694" y="3294"/>
                      </a:lnTo>
                      <a:lnTo>
                        <a:pt x="2682" y="3306"/>
                      </a:lnTo>
                      <a:lnTo>
                        <a:pt x="2670" y="3324"/>
                      </a:lnTo>
                      <a:lnTo>
                        <a:pt x="2646" y="3348"/>
                      </a:lnTo>
                      <a:lnTo>
                        <a:pt x="2622" y="3372"/>
                      </a:lnTo>
                      <a:lnTo>
                        <a:pt x="2580" y="3384"/>
                      </a:lnTo>
                      <a:lnTo>
                        <a:pt x="2526" y="3390"/>
                      </a:lnTo>
                      <a:lnTo>
                        <a:pt x="2466" y="3408"/>
                      </a:lnTo>
                      <a:lnTo>
                        <a:pt x="2412" y="3450"/>
                      </a:lnTo>
                      <a:lnTo>
                        <a:pt x="2370" y="3498"/>
                      </a:lnTo>
                      <a:lnTo>
                        <a:pt x="2340" y="3534"/>
                      </a:lnTo>
                      <a:lnTo>
                        <a:pt x="2316" y="3570"/>
                      </a:lnTo>
                      <a:lnTo>
                        <a:pt x="2310" y="3600"/>
                      </a:lnTo>
                      <a:lnTo>
                        <a:pt x="2316" y="3636"/>
                      </a:lnTo>
                      <a:lnTo>
                        <a:pt x="2322" y="3654"/>
                      </a:lnTo>
                      <a:lnTo>
                        <a:pt x="2322" y="3666"/>
                      </a:lnTo>
                      <a:lnTo>
                        <a:pt x="2316" y="3678"/>
                      </a:lnTo>
                      <a:lnTo>
                        <a:pt x="2310" y="3684"/>
                      </a:lnTo>
                      <a:lnTo>
                        <a:pt x="2298" y="3696"/>
                      </a:lnTo>
                      <a:lnTo>
                        <a:pt x="2292" y="3708"/>
                      </a:lnTo>
                      <a:lnTo>
                        <a:pt x="2280" y="3726"/>
                      </a:lnTo>
                      <a:lnTo>
                        <a:pt x="2274" y="3750"/>
                      </a:lnTo>
                      <a:lnTo>
                        <a:pt x="2274" y="3768"/>
                      </a:lnTo>
                      <a:lnTo>
                        <a:pt x="2268" y="3792"/>
                      </a:lnTo>
                      <a:lnTo>
                        <a:pt x="2268" y="3792"/>
                      </a:lnTo>
                      <a:lnTo>
                        <a:pt x="2226" y="3762"/>
                      </a:lnTo>
                      <a:lnTo>
                        <a:pt x="2184" y="3750"/>
                      </a:lnTo>
                      <a:lnTo>
                        <a:pt x="2148" y="3738"/>
                      </a:lnTo>
                      <a:lnTo>
                        <a:pt x="2100" y="3726"/>
                      </a:lnTo>
                      <a:lnTo>
                        <a:pt x="2070" y="3708"/>
                      </a:lnTo>
                      <a:lnTo>
                        <a:pt x="2052" y="3678"/>
                      </a:lnTo>
                      <a:lnTo>
                        <a:pt x="2052" y="3636"/>
                      </a:lnTo>
                      <a:lnTo>
                        <a:pt x="2052" y="3600"/>
                      </a:lnTo>
                      <a:lnTo>
                        <a:pt x="2058" y="3564"/>
                      </a:lnTo>
                      <a:lnTo>
                        <a:pt x="2064" y="3510"/>
                      </a:lnTo>
                      <a:lnTo>
                        <a:pt x="2064" y="3474"/>
                      </a:lnTo>
                      <a:lnTo>
                        <a:pt x="2046" y="3438"/>
                      </a:lnTo>
                      <a:lnTo>
                        <a:pt x="2028" y="3414"/>
                      </a:lnTo>
                      <a:lnTo>
                        <a:pt x="2022" y="3390"/>
                      </a:lnTo>
                      <a:lnTo>
                        <a:pt x="2016" y="3354"/>
                      </a:lnTo>
                      <a:lnTo>
                        <a:pt x="2016" y="3306"/>
                      </a:lnTo>
                      <a:lnTo>
                        <a:pt x="2004" y="3252"/>
                      </a:lnTo>
                      <a:lnTo>
                        <a:pt x="1986" y="3216"/>
                      </a:lnTo>
                      <a:lnTo>
                        <a:pt x="1950" y="3192"/>
                      </a:lnTo>
                      <a:lnTo>
                        <a:pt x="1914" y="3186"/>
                      </a:lnTo>
                      <a:lnTo>
                        <a:pt x="1884" y="3180"/>
                      </a:lnTo>
                      <a:lnTo>
                        <a:pt x="1848" y="3186"/>
                      </a:lnTo>
                      <a:lnTo>
                        <a:pt x="1824" y="3198"/>
                      </a:lnTo>
                      <a:lnTo>
                        <a:pt x="1806" y="3222"/>
                      </a:lnTo>
                      <a:lnTo>
                        <a:pt x="1794" y="3264"/>
                      </a:lnTo>
                      <a:lnTo>
                        <a:pt x="1782" y="3306"/>
                      </a:lnTo>
                      <a:lnTo>
                        <a:pt x="1758" y="3318"/>
                      </a:lnTo>
                      <a:lnTo>
                        <a:pt x="1728" y="3306"/>
                      </a:lnTo>
                      <a:lnTo>
                        <a:pt x="1686" y="3282"/>
                      </a:lnTo>
                      <a:lnTo>
                        <a:pt x="1650" y="3252"/>
                      </a:lnTo>
                      <a:lnTo>
                        <a:pt x="1614" y="3204"/>
                      </a:lnTo>
                      <a:lnTo>
                        <a:pt x="1602" y="3168"/>
                      </a:lnTo>
                      <a:lnTo>
                        <a:pt x="1608" y="3132"/>
                      </a:lnTo>
                      <a:lnTo>
                        <a:pt x="1614" y="3102"/>
                      </a:lnTo>
                      <a:lnTo>
                        <a:pt x="1614" y="3066"/>
                      </a:lnTo>
                      <a:lnTo>
                        <a:pt x="1608" y="3036"/>
                      </a:lnTo>
                      <a:lnTo>
                        <a:pt x="1590" y="3000"/>
                      </a:lnTo>
                      <a:lnTo>
                        <a:pt x="1548" y="2970"/>
                      </a:lnTo>
                      <a:lnTo>
                        <a:pt x="1524" y="2952"/>
                      </a:lnTo>
                      <a:lnTo>
                        <a:pt x="1506" y="2940"/>
                      </a:lnTo>
                      <a:lnTo>
                        <a:pt x="1494" y="2922"/>
                      </a:lnTo>
                      <a:lnTo>
                        <a:pt x="1488" y="2910"/>
                      </a:lnTo>
                      <a:lnTo>
                        <a:pt x="1482" y="2904"/>
                      </a:lnTo>
                      <a:lnTo>
                        <a:pt x="1482" y="2898"/>
                      </a:lnTo>
                      <a:lnTo>
                        <a:pt x="1482" y="2892"/>
                      </a:lnTo>
                      <a:lnTo>
                        <a:pt x="1416" y="2886"/>
                      </a:lnTo>
                      <a:lnTo>
                        <a:pt x="1350" y="2880"/>
                      </a:lnTo>
                      <a:lnTo>
                        <a:pt x="1296" y="2904"/>
                      </a:lnTo>
                      <a:lnTo>
                        <a:pt x="1230" y="2922"/>
                      </a:lnTo>
                      <a:lnTo>
                        <a:pt x="1116" y="2904"/>
                      </a:lnTo>
                      <a:lnTo>
                        <a:pt x="1050" y="2904"/>
                      </a:lnTo>
                      <a:lnTo>
                        <a:pt x="972" y="2898"/>
                      </a:lnTo>
                      <a:lnTo>
                        <a:pt x="906" y="2862"/>
                      </a:lnTo>
                      <a:lnTo>
                        <a:pt x="852" y="2820"/>
                      </a:lnTo>
                      <a:lnTo>
                        <a:pt x="786" y="2772"/>
                      </a:lnTo>
                      <a:lnTo>
                        <a:pt x="738" y="2736"/>
                      </a:lnTo>
                      <a:lnTo>
                        <a:pt x="684" y="2694"/>
                      </a:lnTo>
                      <a:lnTo>
                        <a:pt x="630" y="2652"/>
                      </a:lnTo>
                      <a:lnTo>
                        <a:pt x="564" y="2652"/>
                      </a:lnTo>
                      <a:lnTo>
                        <a:pt x="498" y="2664"/>
                      </a:lnTo>
                      <a:lnTo>
                        <a:pt x="420" y="2664"/>
                      </a:lnTo>
                      <a:lnTo>
                        <a:pt x="366" y="2658"/>
                      </a:lnTo>
                      <a:lnTo>
                        <a:pt x="366" y="2658"/>
                      </a:lnTo>
                      <a:lnTo>
                        <a:pt x="360" y="2592"/>
                      </a:lnTo>
                      <a:lnTo>
                        <a:pt x="354" y="2526"/>
                      </a:lnTo>
                      <a:lnTo>
                        <a:pt x="342" y="2472"/>
                      </a:lnTo>
                      <a:lnTo>
                        <a:pt x="312" y="2436"/>
                      </a:lnTo>
                      <a:lnTo>
                        <a:pt x="270" y="2400"/>
                      </a:lnTo>
                      <a:lnTo>
                        <a:pt x="234" y="2376"/>
                      </a:lnTo>
                      <a:lnTo>
                        <a:pt x="204" y="2358"/>
                      </a:lnTo>
                      <a:lnTo>
                        <a:pt x="174" y="2346"/>
                      </a:lnTo>
                      <a:lnTo>
                        <a:pt x="162" y="2340"/>
                      </a:lnTo>
                      <a:lnTo>
                        <a:pt x="156" y="2328"/>
                      </a:lnTo>
                      <a:lnTo>
                        <a:pt x="150" y="2310"/>
                      </a:lnTo>
                      <a:lnTo>
                        <a:pt x="144" y="2292"/>
                      </a:lnTo>
                      <a:lnTo>
                        <a:pt x="144" y="2268"/>
                      </a:lnTo>
                      <a:lnTo>
                        <a:pt x="132" y="2208"/>
                      </a:lnTo>
                      <a:lnTo>
                        <a:pt x="102" y="2154"/>
                      </a:lnTo>
                      <a:lnTo>
                        <a:pt x="84" y="2100"/>
                      </a:lnTo>
                      <a:lnTo>
                        <a:pt x="84" y="2052"/>
                      </a:lnTo>
                      <a:lnTo>
                        <a:pt x="84" y="2034"/>
                      </a:lnTo>
                      <a:lnTo>
                        <a:pt x="78" y="2016"/>
                      </a:lnTo>
                      <a:lnTo>
                        <a:pt x="72" y="1998"/>
                      </a:lnTo>
                      <a:lnTo>
                        <a:pt x="60" y="1980"/>
                      </a:lnTo>
                      <a:lnTo>
                        <a:pt x="60" y="1962"/>
                      </a:lnTo>
                      <a:lnTo>
                        <a:pt x="60" y="1938"/>
                      </a:lnTo>
                      <a:lnTo>
                        <a:pt x="66" y="1920"/>
                      </a:lnTo>
                      <a:lnTo>
                        <a:pt x="78" y="1896"/>
                      </a:lnTo>
                      <a:lnTo>
                        <a:pt x="96" y="1872"/>
                      </a:lnTo>
                      <a:lnTo>
                        <a:pt x="102" y="1860"/>
                      </a:lnTo>
                      <a:lnTo>
                        <a:pt x="108" y="1842"/>
                      </a:lnTo>
                      <a:lnTo>
                        <a:pt x="102" y="1830"/>
                      </a:lnTo>
                      <a:lnTo>
                        <a:pt x="96" y="1818"/>
                      </a:lnTo>
                      <a:lnTo>
                        <a:pt x="90" y="1806"/>
                      </a:lnTo>
                      <a:lnTo>
                        <a:pt x="78" y="1800"/>
                      </a:lnTo>
                      <a:lnTo>
                        <a:pt x="72" y="1788"/>
                      </a:lnTo>
                      <a:lnTo>
                        <a:pt x="60" y="1776"/>
                      </a:lnTo>
                      <a:lnTo>
                        <a:pt x="48" y="1758"/>
                      </a:lnTo>
                      <a:lnTo>
                        <a:pt x="36" y="1746"/>
                      </a:lnTo>
                      <a:lnTo>
                        <a:pt x="12" y="1722"/>
                      </a:lnTo>
                      <a:lnTo>
                        <a:pt x="0" y="1692"/>
                      </a:lnTo>
                      <a:lnTo>
                        <a:pt x="6" y="1656"/>
                      </a:lnTo>
                      <a:lnTo>
                        <a:pt x="12" y="1620"/>
                      </a:lnTo>
                      <a:lnTo>
                        <a:pt x="18" y="1602"/>
                      </a:lnTo>
                      <a:lnTo>
                        <a:pt x="18" y="1584"/>
                      </a:lnTo>
                      <a:lnTo>
                        <a:pt x="24" y="1566"/>
                      </a:lnTo>
                      <a:lnTo>
                        <a:pt x="30" y="1554"/>
                      </a:lnTo>
                      <a:lnTo>
                        <a:pt x="42" y="1530"/>
                      </a:lnTo>
                      <a:lnTo>
                        <a:pt x="54" y="1512"/>
                      </a:lnTo>
                      <a:lnTo>
                        <a:pt x="60" y="1500"/>
                      </a:lnTo>
                      <a:lnTo>
                        <a:pt x="60" y="1482"/>
                      </a:lnTo>
                      <a:lnTo>
                        <a:pt x="54" y="1464"/>
                      </a:lnTo>
                      <a:lnTo>
                        <a:pt x="48" y="1446"/>
                      </a:lnTo>
                      <a:lnTo>
                        <a:pt x="36" y="1404"/>
                      </a:lnTo>
                      <a:lnTo>
                        <a:pt x="36" y="1356"/>
                      </a:lnTo>
                      <a:lnTo>
                        <a:pt x="48" y="1308"/>
                      </a:lnTo>
                      <a:lnTo>
                        <a:pt x="72" y="1236"/>
                      </a:lnTo>
                      <a:lnTo>
                        <a:pt x="102" y="1170"/>
                      </a:lnTo>
                      <a:lnTo>
                        <a:pt x="126" y="1104"/>
                      </a:lnTo>
                      <a:lnTo>
                        <a:pt x="144" y="1032"/>
                      </a:lnTo>
                      <a:lnTo>
                        <a:pt x="162" y="978"/>
                      </a:lnTo>
                      <a:lnTo>
                        <a:pt x="192" y="912"/>
                      </a:lnTo>
                      <a:lnTo>
                        <a:pt x="228" y="846"/>
                      </a:lnTo>
                      <a:lnTo>
                        <a:pt x="252" y="798"/>
                      </a:lnTo>
                      <a:lnTo>
                        <a:pt x="288" y="750"/>
                      </a:lnTo>
                      <a:lnTo>
                        <a:pt x="342" y="696"/>
                      </a:lnTo>
                      <a:lnTo>
                        <a:pt x="378" y="648"/>
                      </a:lnTo>
                      <a:lnTo>
                        <a:pt x="408" y="582"/>
                      </a:lnTo>
                      <a:lnTo>
                        <a:pt x="432" y="510"/>
                      </a:lnTo>
                      <a:lnTo>
                        <a:pt x="450" y="480"/>
                      </a:lnTo>
                      <a:lnTo>
                        <a:pt x="474" y="468"/>
                      </a:lnTo>
                      <a:lnTo>
                        <a:pt x="504" y="468"/>
                      </a:lnTo>
                      <a:lnTo>
                        <a:pt x="528" y="468"/>
                      </a:lnTo>
                      <a:lnTo>
                        <a:pt x="534" y="462"/>
                      </a:lnTo>
                      <a:lnTo>
                        <a:pt x="540" y="456"/>
                      </a:lnTo>
                      <a:lnTo>
                        <a:pt x="534" y="444"/>
                      </a:lnTo>
                      <a:lnTo>
                        <a:pt x="522" y="432"/>
                      </a:lnTo>
                      <a:lnTo>
                        <a:pt x="510" y="420"/>
                      </a:lnTo>
                      <a:lnTo>
                        <a:pt x="498" y="402"/>
                      </a:lnTo>
                      <a:lnTo>
                        <a:pt x="486" y="384"/>
                      </a:lnTo>
                      <a:lnTo>
                        <a:pt x="486" y="372"/>
                      </a:lnTo>
                      <a:lnTo>
                        <a:pt x="486" y="354"/>
                      </a:lnTo>
                      <a:lnTo>
                        <a:pt x="486" y="342"/>
                      </a:lnTo>
                      <a:lnTo>
                        <a:pt x="492" y="324"/>
                      </a:lnTo>
                      <a:lnTo>
                        <a:pt x="504" y="312"/>
                      </a:lnTo>
                      <a:lnTo>
                        <a:pt x="510" y="276"/>
                      </a:lnTo>
                      <a:lnTo>
                        <a:pt x="516" y="228"/>
                      </a:lnTo>
                      <a:lnTo>
                        <a:pt x="522" y="180"/>
                      </a:lnTo>
                      <a:lnTo>
                        <a:pt x="522" y="162"/>
                      </a:lnTo>
                      <a:lnTo>
                        <a:pt x="522" y="150"/>
                      </a:lnTo>
                      <a:lnTo>
                        <a:pt x="522" y="138"/>
                      </a:lnTo>
                      <a:lnTo>
                        <a:pt x="528" y="126"/>
                      </a:lnTo>
                      <a:lnTo>
                        <a:pt x="534" y="120"/>
                      </a:lnTo>
                      <a:lnTo>
                        <a:pt x="546" y="102"/>
                      </a:lnTo>
                      <a:lnTo>
                        <a:pt x="564" y="90"/>
                      </a:lnTo>
                      <a:lnTo>
                        <a:pt x="588" y="96"/>
                      </a:lnTo>
                      <a:lnTo>
                        <a:pt x="618" y="108"/>
                      </a:lnTo>
                      <a:lnTo>
                        <a:pt x="654" y="114"/>
                      </a:lnTo>
                      <a:lnTo>
                        <a:pt x="666" y="114"/>
                      </a:lnTo>
                      <a:lnTo>
                        <a:pt x="672" y="120"/>
                      </a:lnTo>
                      <a:lnTo>
                        <a:pt x="678" y="126"/>
                      </a:lnTo>
                      <a:lnTo>
                        <a:pt x="672" y="132"/>
                      </a:lnTo>
                      <a:lnTo>
                        <a:pt x="666" y="144"/>
                      </a:lnTo>
                      <a:lnTo>
                        <a:pt x="660" y="156"/>
                      </a:lnTo>
                      <a:lnTo>
                        <a:pt x="648" y="168"/>
                      </a:lnTo>
                      <a:lnTo>
                        <a:pt x="642" y="180"/>
                      </a:lnTo>
                      <a:lnTo>
                        <a:pt x="636" y="192"/>
                      </a:lnTo>
                      <a:lnTo>
                        <a:pt x="624" y="210"/>
                      </a:lnTo>
                      <a:lnTo>
                        <a:pt x="624" y="222"/>
                      </a:lnTo>
                      <a:lnTo>
                        <a:pt x="624" y="234"/>
                      </a:lnTo>
                      <a:lnTo>
                        <a:pt x="624" y="246"/>
                      </a:lnTo>
                      <a:lnTo>
                        <a:pt x="630" y="252"/>
                      </a:lnTo>
                      <a:lnTo>
                        <a:pt x="642" y="252"/>
                      </a:lnTo>
                      <a:lnTo>
                        <a:pt x="654" y="246"/>
                      </a:lnTo>
                      <a:lnTo>
                        <a:pt x="666" y="240"/>
                      </a:lnTo>
                      <a:lnTo>
                        <a:pt x="702" y="198"/>
                      </a:lnTo>
                      <a:lnTo>
                        <a:pt x="732" y="156"/>
                      </a:lnTo>
                      <a:lnTo>
                        <a:pt x="756" y="126"/>
                      </a:lnTo>
                      <a:lnTo>
                        <a:pt x="756" y="114"/>
                      </a:lnTo>
                      <a:lnTo>
                        <a:pt x="762" y="96"/>
                      </a:lnTo>
                      <a:lnTo>
                        <a:pt x="762" y="78"/>
                      </a:lnTo>
                      <a:lnTo>
                        <a:pt x="756" y="54"/>
                      </a:lnTo>
                      <a:lnTo>
                        <a:pt x="756" y="36"/>
                      </a:lnTo>
                      <a:lnTo>
                        <a:pt x="744" y="18"/>
                      </a:lnTo>
                      <a:lnTo>
                        <a:pt x="738" y="0"/>
                      </a:lnTo>
                      <a:close/>
                      <a:moveTo>
                        <a:pt x="738" y="0"/>
                      </a:moveTo>
                      <a:lnTo>
                        <a:pt x="738" y="0"/>
                      </a:lnTo>
                      <a:lnTo>
                        <a:pt x="738" y="0"/>
                      </a:lnTo>
                      <a:lnTo>
                        <a:pt x="73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4" name="Freeform 287">
                  <a:extLst>
                    <a:ext uri="{FF2B5EF4-FFF2-40B4-BE49-F238E27FC236}">
                      <a16:creationId xmlns:a16="http://schemas.microsoft.com/office/drawing/2014/main" id="{67CC897F-E9CC-4991-88DF-FF2AE87BC3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523" y="-8712"/>
                  <a:ext cx="3990" cy="3960"/>
                </a:xfrm>
                <a:custGeom>
                  <a:avLst/>
                  <a:gdLst>
                    <a:gd name="T0" fmla="*/ 2700 w 3990"/>
                    <a:gd name="T1" fmla="*/ 36 h 3960"/>
                    <a:gd name="T2" fmla="*/ 2958 w 3990"/>
                    <a:gd name="T3" fmla="*/ 84 h 3960"/>
                    <a:gd name="T4" fmla="*/ 2970 w 3990"/>
                    <a:gd name="T5" fmla="*/ 186 h 3960"/>
                    <a:gd name="T6" fmla="*/ 3114 w 3990"/>
                    <a:gd name="T7" fmla="*/ 204 h 3960"/>
                    <a:gd name="T8" fmla="*/ 3294 w 3990"/>
                    <a:gd name="T9" fmla="*/ 372 h 3960"/>
                    <a:gd name="T10" fmla="*/ 3612 w 3990"/>
                    <a:gd name="T11" fmla="*/ 558 h 3960"/>
                    <a:gd name="T12" fmla="*/ 3864 w 3990"/>
                    <a:gd name="T13" fmla="*/ 714 h 3960"/>
                    <a:gd name="T14" fmla="*/ 3102 w 3990"/>
                    <a:gd name="T15" fmla="*/ 3036 h 3960"/>
                    <a:gd name="T16" fmla="*/ 3492 w 3990"/>
                    <a:gd name="T17" fmla="*/ 3762 h 3960"/>
                    <a:gd name="T18" fmla="*/ 3312 w 3990"/>
                    <a:gd name="T19" fmla="*/ 3840 h 3960"/>
                    <a:gd name="T20" fmla="*/ 3384 w 3990"/>
                    <a:gd name="T21" fmla="*/ 3606 h 3960"/>
                    <a:gd name="T22" fmla="*/ 3312 w 3990"/>
                    <a:gd name="T23" fmla="*/ 3522 h 3960"/>
                    <a:gd name="T24" fmla="*/ 3318 w 3990"/>
                    <a:gd name="T25" fmla="*/ 3354 h 3960"/>
                    <a:gd name="T26" fmla="*/ 3276 w 3990"/>
                    <a:gd name="T27" fmla="*/ 3156 h 3960"/>
                    <a:gd name="T28" fmla="*/ 3174 w 3990"/>
                    <a:gd name="T29" fmla="*/ 3096 h 3960"/>
                    <a:gd name="T30" fmla="*/ 3054 w 3990"/>
                    <a:gd name="T31" fmla="*/ 3090 h 3960"/>
                    <a:gd name="T32" fmla="*/ 2952 w 3990"/>
                    <a:gd name="T33" fmla="*/ 2820 h 3960"/>
                    <a:gd name="T34" fmla="*/ 2556 w 3990"/>
                    <a:gd name="T35" fmla="*/ 2610 h 3960"/>
                    <a:gd name="T36" fmla="*/ 2424 w 3990"/>
                    <a:gd name="T37" fmla="*/ 2448 h 3960"/>
                    <a:gd name="T38" fmla="*/ 2268 w 3990"/>
                    <a:gd name="T39" fmla="*/ 2550 h 3960"/>
                    <a:gd name="T40" fmla="*/ 1902 w 3990"/>
                    <a:gd name="T41" fmla="*/ 2538 h 3960"/>
                    <a:gd name="T42" fmla="*/ 2172 w 3990"/>
                    <a:gd name="T43" fmla="*/ 2340 h 3960"/>
                    <a:gd name="T44" fmla="*/ 1950 w 3990"/>
                    <a:gd name="T45" fmla="*/ 2370 h 3960"/>
                    <a:gd name="T46" fmla="*/ 1650 w 3990"/>
                    <a:gd name="T47" fmla="*/ 2556 h 3960"/>
                    <a:gd name="T48" fmla="*/ 1686 w 3990"/>
                    <a:gd name="T49" fmla="*/ 2676 h 3960"/>
                    <a:gd name="T50" fmla="*/ 1362 w 3990"/>
                    <a:gd name="T51" fmla="*/ 2862 h 3960"/>
                    <a:gd name="T52" fmla="*/ 1074 w 3990"/>
                    <a:gd name="T53" fmla="*/ 3000 h 3960"/>
                    <a:gd name="T54" fmla="*/ 798 w 3990"/>
                    <a:gd name="T55" fmla="*/ 3096 h 3960"/>
                    <a:gd name="T56" fmla="*/ 312 w 3990"/>
                    <a:gd name="T57" fmla="*/ 3186 h 3960"/>
                    <a:gd name="T58" fmla="*/ 6 w 3990"/>
                    <a:gd name="T59" fmla="*/ 3240 h 3960"/>
                    <a:gd name="T60" fmla="*/ 342 w 3990"/>
                    <a:gd name="T61" fmla="*/ 3108 h 3960"/>
                    <a:gd name="T62" fmla="*/ 642 w 3990"/>
                    <a:gd name="T63" fmla="*/ 3036 h 3960"/>
                    <a:gd name="T64" fmla="*/ 1176 w 3990"/>
                    <a:gd name="T65" fmla="*/ 2658 h 3960"/>
                    <a:gd name="T66" fmla="*/ 1158 w 3990"/>
                    <a:gd name="T67" fmla="*/ 2568 h 3960"/>
                    <a:gd name="T68" fmla="*/ 1074 w 3990"/>
                    <a:gd name="T69" fmla="*/ 2634 h 3960"/>
                    <a:gd name="T70" fmla="*/ 828 w 3990"/>
                    <a:gd name="T71" fmla="*/ 2466 h 3960"/>
                    <a:gd name="T72" fmla="*/ 906 w 3990"/>
                    <a:gd name="T73" fmla="*/ 2148 h 3960"/>
                    <a:gd name="T74" fmla="*/ 726 w 3990"/>
                    <a:gd name="T75" fmla="*/ 2160 h 3960"/>
                    <a:gd name="T76" fmla="*/ 822 w 3990"/>
                    <a:gd name="T77" fmla="*/ 1968 h 3960"/>
                    <a:gd name="T78" fmla="*/ 888 w 3990"/>
                    <a:gd name="T79" fmla="*/ 1968 h 3960"/>
                    <a:gd name="T80" fmla="*/ 822 w 3990"/>
                    <a:gd name="T81" fmla="*/ 1884 h 3960"/>
                    <a:gd name="T82" fmla="*/ 846 w 3990"/>
                    <a:gd name="T83" fmla="*/ 1704 h 3960"/>
                    <a:gd name="T84" fmla="*/ 1050 w 3990"/>
                    <a:gd name="T85" fmla="*/ 1500 h 3960"/>
                    <a:gd name="T86" fmla="*/ 1440 w 3990"/>
                    <a:gd name="T87" fmla="*/ 1458 h 3960"/>
                    <a:gd name="T88" fmla="*/ 1632 w 3990"/>
                    <a:gd name="T89" fmla="*/ 1266 h 3960"/>
                    <a:gd name="T90" fmla="*/ 1518 w 3990"/>
                    <a:gd name="T91" fmla="*/ 1266 h 3960"/>
                    <a:gd name="T92" fmla="*/ 1206 w 3990"/>
                    <a:gd name="T93" fmla="*/ 1158 h 3960"/>
                    <a:gd name="T94" fmla="*/ 1158 w 3990"/>
                    <a:gd name="T95" fmla="*/ 894 h 3960"/>
                    <a:gd name="T96" fmla="*/ 1284 w 3990"/>
                    <a:gd name="T97" fmla="*/ 774 h 3960"/>
                    <a:gd name="T98" fmla="*/ 1620 w 3990"/>
                    <a:gd name="T99" fmla="*/ 768 h 3960"/>
                    <a:gd name="T100" fmla="*/ 1740 w 3990"/>
                    <a:gd name="T101" fmla="*/ 954 h 3960"/>
                    <a:gd name="T102" fmla="*/ 1698 w 3990"/>
                    <a:gd name="T103" fmla="*/ 870 h 3960"/>
                    <a:gd name="T104" fmla="*/ 1746 w 3990"/>
                    <a:gd name="T105" fmla="*/ 756 h 3960"/>
                    <a:gd name="T106" fmla="*/ 1890 w 3990"/>
                    <a:gd name="T107" fmla="*/ 846 h 3960"/>
                    <a:gd name="T108" fmla="*/ 1818 w 3990"/>
                    <a:gd name="T109" fmla="*/ 768 h 3960"/>
                    <a:gd name="T110" fmla="*/ 1710 w 3990"/>
                    <a:gd name="T111" fmla="*/ 528 h 3960"/>
                    <a:gd name="T112" fmla="*/ 1674 w 3990"/>
                    <a:gd name="T113" fmla="*/ 264 h 3960"/>
                    <a:gd name="T114" fmla="*/ 1806 w 3990"/>
                    <a:gd name="T115" fmla="*/ 234 h 3960"/>
                    <a:gd name="T116" fmla="*/ 2184 w 3990"/>
                    <a:gd name="T117" fmla="*/ 78 h 3960"/>
                    <a:gd name="T118" fmla="*/ 2394 w 3990"/>
                    <a:gd name="T119" fmla="*/ 54 h 3960"/>
                    <a:gd name="T120" fmla="*/ 2556 w 3990"/>
                    <a:gd name="T121" fmla="*/ 108 h 39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990" h="3960">
                      <a:moveTo>
                        <a:pt x="2598" y="0"/>
                      </a:moveTo>
                      <a:lnTo>
                        <a:pt x="2622" y="0"/>
                      </a:lnTo>
                      <a:lnTo>
                        <a:pt x="2646" y="0"/>
                      </a:lnTo>
                      <a:lnTo>
                        <a:pt x="2664" y="0"/>
                      </a:lnTo>
                      <a:lnTo>
                        <a:pt x="2676" y="0"/>
                      </a:lnTo>
                      <a:lnTo>
                        <a:pt x="2676" y="6"/>
                      </a:lnTo>
                      <a:lnTo>
                        <a:pt x="2676" y="6"/>
                      </a:lnTo>
                      <a:lnTo>
                        <a:pt x="2670" y="18"/>
                      </a:lnTo>
                      <a:lnTo>
                        <a:pt x="2664" y="24"/>
                      </a:lnTo>
                      <a:lnTo>
                        <a:pt x="2664" y="30"/>
                      </a:lnTo>
                      <a:lnTo>
                        <a:pt x="2670" y="36"/>
                      </a:lnTo>
                      <a:lnTo>
                        <a:pt x="2676" y="36"/>
                      </a:lnTo>
                      <a:lnTo>
                        <a:pt x="2688" y="36"/>
                      </a:lnTo>
                      <a:lnTo>
                        <a:pt x="2700" y="36"/>
                      </a:lnTo>
                      <a:lnTo>
                        <a:pt x="2718" y="36"/>
                      </a:lnTo>
                      <a:lnTo>
                        <a:pt x="2754" y="36"/>
                      </a:lnTo>
                      <a:lnTo>
                        <a:pt x="2790" y="30"/>
                      </a:lnTo>
                      <a:lnTo>
                        <a:pt x="2826" y="12"/>
                      </a:lnTo>
                      <a:lnTo>
                        <a:pt x="2856" y="0"/>
                      </a:lnTo>
                      <a:lnTo>
                        <a:pt x="2892" y="12"/>
                      </a:lnTo>
                      <a:lnTo>
                        <a:pt x="2928" y="30"/>
                      </a:lnTo>
                      <a:lnTo>
                        <a:pt x="2958" y="54"/>
                      </a:lnTo>
                      <a:lnTo>
                        <a:pt x="2970" y="66"/>
                      </a:lnTo>
                      <a:lnTo>
                        <a:pt x="2976" y="72"/>
                      </a:lnTo>
                      <a:lnTo>
                        <a:pt x="2976" y="78"/>
                      </a:lnTo>
                      <a:lnTo>
                        <a:pt x="2976" y="84"/>
                      </a:lnTo>
                      <a:lnTo>
                        <a:pt x="2964" y="84"/>
                      </a:lnTo>
                      <a:lnTo>
                        <a:pt x="2958" y="84"/>
                      </a:lnTo>
                      <a:lnTo>
                        <a:pt x="2946" y="90"/>
                      </a:lnTo>
                      <a:lnTo>
                        <a:pt x="2940" y="96"/>
                      </a:lnTo>
                      <a:lnTo>
                        <a:pt x="2922" y="108"/>
                      </a:lnTo>
                      <a:lnTo>
                        <a:pt x="2916" y="120"/>
                      </a:lnTo>
                      <a:lnTo>
                        <a:pt x="2910" y="138"/>
                      </a:lnTo>
                      <a:lnTo>
                        <a:pt x="2910" y="162"/>
                      </a:lnTo>
                      <a:lnTo>
                        <a:pt x="2910" y="180"/>
                      </a:lnTo>
                      <a:lnTo>
                        <a:pt x="2910" y="186"/>
                      </a:lnTo>
                      <a:lnTo>
                        <a:pt x="2922" y="198"/>
                      </a:lnTo>
                      <a:lnTo>
                        <a:pt x="2934" y="198"/>
                      </a:lnTo>
                      <a:lnTo>
                        <a:pt x="2946" y="198"/>
                      </a:lnTo>
                      <a:lnTo>
                        <a:pt x="2952" y="198"/>
                      </a:lnTo>
                      <a:lnTo>
                        <a:pt x="2964" y="192"/>
                      </a:lnTo>
                      <a:lnTo>
                        <a:pt x="2970" y="186"/>
                      </a:lnTo>
                      <a:lnTo>
                        <a:pt x="2976" y="180"/>
                      </a:lnTo>
                      <a:lnTo>
                        <a:pt x="2982" y="174"/>
                      </a:lnTo>
                      <a:lnTo>
                        <a:pt x="2982" y="168"/>
                      </a:lnTo>
                      <a:lnTo>
                        <a:pt x="2994" y="162"/>
                      </a:lnTo>
                      <a:lnTo>
                        <a:pt x="3006" y="162"/>
                      </a:lnTo>
                      <a:lnTo>
                        <a:pt x="3024" y="162"/>
                      </a:lnTo>
                      <a:lnTo>
                        <a:pt x="3036" y="162"/>
                      </a:lnTo>
                      <a:lnTo>
                        <a:pt x="3042" y="168"/>
                      </a:lnTo>
                      <a:lnTo>
                        <a:pt x="3054" y="180"/>
                      </a:lnTo>
                      <a:lnTo>
                        <a:pt x="3060" y="192"/>
                      </a:lnTo>
                      <a:lnTo>
                        <a:pt x="3072" y="204"/>
                      </a:lnTo>
                      <a:lnTo>
                        <a:pt x="3084" y="210"/>
                      </a:lnTo>
                      <a:lnTo>
                        <a:pt x="3096" y="210"/>
                      </a:lnTo>
                      <a:lnTo>
                        <a:pt x="3114" y="204"/>
                      </a:lnTo>
                      <a:lnTo>
                        <a:pt x="3132" y="198"/>
                      </a:lnTo>
                      <a:lnTo>
                        <a:pt x="3150" y="204"/>
                      </a:lnTo>
                      <a:lnTo>
                        <a:pt x="3168" y="228"/>
                      </a:lnTo>
                      <a:lnTo>
                        <a:pt x="3186" y="264"/>
                      </a:lnTo>
                      <a:lnTo>
                        <a:pt x="3204" y="294"/>
                      </a:lnTo>
                      <a:lnTo>
                        <a:pt x="3210" y="312"/>
                      </a:lnTo>
                      <a:lnTo>
                        <a:pt x="3216" y="324"/>
                      </a:lnTo>
                      <a:lnTo>
                        <a:pt x="3222" y="336"/>
                      </a:lnTo>
                      <a:lnTo>
                        <a:pt x="3228" y="342"/>
                      </a:lnTo>
                      <a:lnTo>
                        <a:pt x="3234" y="348"/>
                      </a:lnTo>
                      <a:lnTo>
                        <a:pt x="3252" y="354"/>
                      </a:lnTo>
                      <a:lnTo>
                        <a:pt x="3270" y="360"/>
                      </a:lnTo>
                      <a:lnTo>
                        <a:pt x="3282" y="366"/>
                      </a:lnTo>
                      <a:lnTo>
                        <a:pt x="3294" y="372"/>
                      </a:lnTo>
                      <a:lnTo>
                        <a:pt x="3312" y="366"/>
                      </a:lnTo>
                      <a:lnTo>
                        <a:pt x="3324" y="366"/>
                      </a:lnTo>
                      <a:lnTo>
                        <a:pt x="3342" y="360"/>
                      </a:lnTo>
                      <a:lnTo>
                        <a:pt x="3354" y="354"/>
                      </a:lnTo>
                      <a:lnTo>
                        <a:pt x="3360" y="354"/>
                      </a:lnTo>
                      <a:lnTo>
                        <a:pt x="3372" y="354"/>
                      </a:lnTo>
                      <a:lnTo>
                        <a:pt x="3384" y="366"/>
                      </a:lnTo>
                      <a:lnTo>
                        <a:pt x="3408" y="384"/>
                      </a:lnTo>
                      <a:lnTo>
                        <a:pt x="3456" y="420"/>
                      </a:lnTo>
                      <a:lnTo>
                        <a:pt x="3510" y="462"/>
                      </a:lnTo>
                      <a:lnTo>
                        <a:pt x="3558" y="492"/>
                      </a:lnTo>
                      <a:lnTo>
                        <a:pt x="3588" y="516"/>
                      </a:lnTo>
                      <a:lnTo>
                        <a:pt x="3600" y="534"/>
                      </a:lnTo>
                      <a:lnTo>
                        <a:pt x="3612" y="558"/>
                      </a:lnTo>
                      <a:lnTo>
                        <a:pt x="3630" y="576"/>
                      </a:lnTo>
                      <a:lnTo>
                        <a:pt x="3660" y="606"/>
                      </a:lnTo>
                      <a:lnTo>
                        <a:pt x="3702" y="630"/>
                      </a:lnTo>
                      <a:lnTo>
                        <a:pt x="3738" y="642"/>
                      </a:lnTo>
                      <a:lnTo>
                        <a:pt x="3768" y="642"/>
                      </a:lnTo>
                      <a:lnTo>
                        <a:pt x="3816" y="642"/>
                      </a:lnTo>
                      <a:lnTo>
                        <a:pt x="3834" y="648"/>
                      </a:lnTo>
                      <a:lnTo>
                        <a:pt x="3852" y="654"/>
                      </a:lnTo>
                      <a:lnTo>
                        <a:pt x="3858" y="660"/>
                      </a:lnTo>
                      <a:lnTo>
                        <a:pt x="3864" y="666"/>
                      </a:lnTo>
                      <a:lnTo>
                        <a:pt x="3864" y="672"/>
                      </a:lnTo>
                      <a:lnTo>
                        <a:pt x="3864" y="684"/>
                      </a:lnTo>
                      <a:lnTo>
                        <a:pt x="3864" y="696"/>
                      </a:lnTo>
                      <a:lnTo>
                        <a:pt x="3864" y="714"/>
                      </a:lnTo>
                      <a:lnTo>
                        <a:pt x="3882" y="756"/>
                      </a:lnTo>
                      <a:lnTo>
                        <a:pt x="3912" y="792"/>
                      </a:lnTo>
                      <a:lnTo>
                        <a:pt x="3942" y="822"/>
                      </a:lnTo>
                      <a:lnTo>
                        <a:pt x="3966" y="846"/>
                      </a:lnTo>
                      <a:lnTo>
                        <a:pt x="3990" y="864"/>
                      </a:lnTo>
                      <a:lnTo>
                        <a:pt x="3990" y="864"/>
                      </a:lnTo>
                      <a:lnTo>
                        <a:pt x="2934" y="2676"/>
                      </a:lnTo>
                      <a:lnTo>
                        <a:pt x="2934" y="2742"/>
                      </a:lnTo>
                      <a:lnTo>
                        <a:pt x="2988" y="2754"/>
                      </a:lnTo>
                      <a:lnTo>
                        <a:pt x="3054" y="2748"/>
                      </a:lnTo>
                      <a:lnTo>
                        <a:pt x="3084" y="2814"/>
                      </a:lnTo>
                      <a:lnTo>
                        <a:pt x="3078" y="2886"/>
                      </a:lnTo>
                      <a:lnTo>
                        <a:pt x="3078" y="2976"/>
                      </a:lnTo>
                      <a:lnTo>
                        <a:pt x="3102" y="3036"/>
                      </a:lnTo>
                      <a:lnTo>
                        <a:pt x="3150" y="3036"/>
                      </a:lnTo>
                      <a:lnTo>
                        <a:pt x="3210" y="3018"/>
                      </a:lnTo>
                      <a:lnTo>
                        <a:pt x="3306" y="2982"/>
                      </a:lnTo>
                      <a:lnTo>
                        <a:pt x="3372" y="3012"/>
                      </a:lnTo>
                      <a:lnTo>
                        <a:pt x="3378" y="3096"/>
                      </a:lnTo>
                      <a:lnTo>
                        <a:pt x="3390" y="3174"/>
                      </a:lnTo>
                      <a:lnTo>
                        <a:pt x="3438" y="3222"/>
                      </a:lnTo>
                      <a:lnTo>
                        <a:pt x="3456" y="3270"/>
                      </a:lnTo>
                      <a:lnTo>
                        <a:pt x="3462" y="3366"/>
                      </a:lnTo>
                      <a:lnTo>
                        <a:pt x="3432" y="3444"/>
                      </a:lnTo>
                      <a:lnTo>
                        <a:pt x="3414" y="3516"/>
                      </a:lnTo>
                      <a:lnTo>
                        <a:pt x="3426" y="3600"/>
                      </a:lnTo>
                      <a:lnTo>
                        <a:pt x="3450" y="3690"/>
                      </a:lnTo>
                      <a:lnTo>
                        <a:pt x="3492" y="3762"/>
                      </a:lnTo>
                      <a:lnTo>
                        <a:pt x="3492" y="3852"/>
                      </a:lnTo>
                      <a:lnTo>
                        <a:pt x="3444" y="3918"/>
                      </a:lnTo>
                      <a:lnTo>
                        <a:pt x="3372" y="3960"/>
                      </a:lnTo>
                      <a:lnTo>
                        <a:pt x="3372" y="3960"/>
                      </a:lnTo>
                      <a:lnTo>
                        <a:pt x="3372" y="3942"/>
                      </a:lnTo>
                      <a:lnTo>
                        <a:pt x="3366" y="3930"/>
                      </a:lnTo>
                      <a:lnTo>
                        <a:pt x="3360" y="3918"/>
                      </a:lnTo>
                      <a:lnTo>
                        <a:pt x="3354" y="3906"/>
                      </a:lnTo>
                      <a:lnTo>
                        <a:pt x="3342" y="3894"/>
                      </a:lnTo>
                      <a:lnTo>
                        <a:pt x="3330" y="3882"/>
                      </a:lnTo>
                      <a:lnTo>
                        <a:pt x="3324" y="3870"/>
                      </a:lnTo>
                      <a:lnTo>
                        <a:pt x="3312" y="3858"/>
                      </a:lnTo>
                      <a:lnTo>
                        <a:pt x="3312" y="3846"/>
                      </a:lnTo>
                      <a:lnTo>
                        <a:pt x="3312" y="3840"/>
                      </a:lnTo>
                      <a:lnTo>
                        <a:pt x="3312" y="3828"/>
                      </a:lnTo>
                      <a:lnTo>
                        <a:pt x="3318" y="3816"/>
                      </a:lnTo>
                      <a:lnTo>
                        <a:pt x="3324" y="3804"/>
                      </a:lnTo>
                      <a:lnTo>
                        <a:pt x="3330" y="3786"/>
                      </a:lnTo>
                      <a:lnTo>
                        <a:pt x="3330" y="3774"/>
                      </a:lnTo>
                      <a:lnTo>
                        <a:pt x="3330" y="3756"/>
                      </a:lnTo>
                      <a:lnTo>
                        <a:pt x="3330" y="3744"/>
                      </a:lnTo>
                      <a:lnTo>
                        <a:pt x="3330" y="3726"/>
                      </a:lnTo>
                      <a:lnTo>
                        <a:pt x="3330" y="3702"/>
                      </a:lnTo>
                      <a:lnTo>
                        <a:pt x="3342" y="3678"/>
                      </a:lnTo>
                      <a:lnTo>
                        <a:pt x="3360" y="3654"/>
                      </a:lnTo>
                      <a:lnTo>
                        <a:pt x="3372" y="3636"/>
                      </a:lnTo>
                      <a:lnTo>
                        <a:pt x="3378" y="3624"/>
                      </a:lnTo>
                      <a:lnTo>
                        <a:pt x="3384" y="3606"/>
                      </a:lnTo>
                      <a:lnTo>
                        <a:pt x="3384" y="3594"/>
                      </a:lnTo>
                      <a:lnTo>
                        <a:pt x="3372" y="3582"/>
                      </a:lnTo>
                      <a:lnTo>
                        <a:pt x="3366" y="3576"/>
                      </a:lnTo>
                      <a:lnTo>
                        <a:pt x="3354" y="3576"/>
                      </a:lnTo>
                      <a:lnTo>
                        <a:pt x="3348" y="3576"/>
                      </a:lnTo>
                      <a:lnTo>
                        <a:pt x="3336" y="3576"/>
                      </a:lnTo>
                      <a:lnTo>
                        <a:pt x="3330" y="3576"/>
                      </a:lnTo>
                      <a:lnTo>
                        <a:pt x="3318" y="3570"/>
                      </a:lnTo>
                      <a:lnTo>
                        <a:pt x="3306" y="3558"/>
                      </a:lnTo>
                      <a:lnTo>
                        <a:pt x="3294" y="3546"/>
                      </a:lnTo>
                      <a:lnTo>
                        <a:pt x="3294" y="3540"/>
                      </a:lnTo>
                      <a:lnTo>
                        <a:pt x="3294" y="3534"/>
                      </a:lnTo>
                      <a:lnTo>
                        <a:pt x="3300" y="3528"/>
                      </a:lnTo>
                      <a:lnTo>
                        <a:pt x="3312" y="3522"/>
                      </a:lnTo>
                      <a:lnTo>
                        <a:pt x="3318" y="3516"/>
                      </a:lnTo>
                      <a:lnTo>
                        <a:pt x="3324" y="3504"/>
                      </a:lnTo>
                      <a:lnTo>
                        <a:pt x="3324" y="3492"/>
                      </a:lnTo>
                      <a:lnTo>
                        <a:pt x="3318" y="3474"/>
                      </a:lnTo>
                      <a:lnTo>
                        <a:pt x="3312" y="3456"/>
                      </a:lnTo>
                      <a:lnTo>
                        <a:pt x="3300" y="3438"/>
                      </a:lnTo>
                      <a:lnTo>
                        <a:pt x="3294" y="3426"/>
                      </a:lnTo>
                      <a:lnTo>
                        <a:pt x="3288" y="3408"/>
                      </a:lnTo>
                      <a:lnTo>
                        <a:pt x="3282" y="3390"/>
                      </a:lnTo>
                      <a:lnTo>
                        <a:pt x="3288" y="3378"/>
                      </a:lnTo>
                      <a:lnTo>
                        <a:pt x="3300" y="3366"/>
                      </a:lnTo>
                      <a:lnTo>
                        <a:pt x="3306" y="3360"/>
                      </a:lnTo>
                      <a:lnTo>
                        <a:pt x="3312" y="3354"/>
                      </a:lnTo>
                      <a:lnTo>
                        <a:pt x="3318" y="3354"/>
                      </a:lnTo>
                      <a:lnTo>
                        <a:pt x="3318" y="3342"/>
                      </a:lnTo>
                      <a:lnTo>
                        <a:pt x="3324" y="3330"/>
                      </a:lnTo>
                      <a:lnTo>
                        <a:pt x="3324" y="3312"/>
                      </a:lnTo>
                      <a:lnTo>
                        <a:pt x="3318" y="3294"/>
                      </a:lnTo>
                      <a:lnTo>
                        <a:pt x="3312" y="3282"/>
                      </a:lnTo>
                      <a:lnTo>
                        <a:pt x="3306" y="3270"/>
                      </a:lnTo>
                      <a:lnTo>
                        <a:pt x="3294" y="3270"/>
                      </a:lnTo>
                      <a:lnTo>
                        <a:pt x="3282" y="3264"/>
                      </a:lnTo>
                      <a:lnTo>
                        <a:pt x="3264" y="3258"/>
                      </a:lnTo>
                      <a:lnTo>
                        <a:pt x="3252" y="3252"/>
                      </a:lnTo>
                      <a:lnTo>
                        <a:pt x="3240" y="3240"/>
                      </a:lnTo>
                      <a:lnTo>
                        <a:pt x="3246" y="3216"/>
                      </a:lnTo>
                      <a:lnTo>
                        <a:pt x="3264" y="3186"/>
                      </a:lnTo>
                      <a:lnTo>
                        <a:pt x="3276" y="3156"/>
                      </a:lnTo>
                      <a:lnTo>
                        <a:pt x="3282" y="3138"/>
                      </a:lnTo>
                      <a:lnTo>
                        <a:pt x="3282" y="3132"/>
                      </a:lnTo>
                      <a:lnTo>
                        <a:pt x="3276" y="3126"/>
                      </a:lnTo>
                      <a:lnTo>
                        <a:pt x="3270" y="3126"/>
                      </a:lnTo>
                      <a:lnTo>
                        <a:pt x="3258" y="3126"/>
                      </a:lnTo>
                      <a:lnTo>
                        <a:pt x="3240" y="3132"/>
                      </a:lnTo>
                      <a:lnTo>
                        <a:pt x="3228" y="3138"/>
                      </a:lnTo>
                      <a:lnTo>
                        <a:pt x="3216" y="3138"/>
                      </a:lnTo>
                      <a:lnTo>
                        <a:pt x="3210" y="3138"/>
                      </a:lnTo>
                      <a:lnTo>
                        <a:pt x="3204" y="3132"/>
                      </a:lnTo>
                      <a:lnTo>
                        <a:pt x="3198" y="3126"/>
                      </a:lnTo>
                      <a:lnTo>
                        <a:pt x="3192" y="3114"/>
                      </a:lnTo>
                      <a:lnTo>
                        <a:pt x="3186" y="3102"/>
                      </a:lnTo>
                      <a:lnTo>
                        <a:pt x="3174" y="3096"/>
                      </a:lnTo>
                      <a:lnTo>
                        <a:pt x="3168" y="3096"/>
                      </a:lnTo>
                      <a:lnTo>
                        <a:pt x="3162" y="3096"/>
                      </a:lnTo>
                      <a:lnTo>
                        <a:pt x="3162" y="3102"/>
                      </a:lnTo>
                      <a:lnTo>
                        <a:pt x="3156" y="3114"/>
                      </a:lnTo>
                      <a:lnTo>
                        <a:pt x="3156" y="3126"/>
                      </a:lnTo>
                      <a:lnTo>
                        <a:pt x="3156" y="3138"/>
                      </a:lnTo>
                      <a:lnTo>
                        <a:pt x="3150" y="3156"/>
                      </a:lnTo>
                      <a:lnTo>
                        <a:pt x="3144" y="3162"/>
                      </a:lnTo>
                      <a:lnTo>
                        <a:pt x="3132" y="3168"/>
                      </a:lnTo>
                      <a:lnTo>
                        <a:pt x="3114" y="3162"/>
                      </a:lnTo>
                      <a:lnTo>
                        <a:pt x="3102" y="3156"/>
                      </a:lnTo>
                      <a:lnTo>
                        <a:pt x="3090" y="3138"/>
                      </a:lnTo>
                      <a:lnTo>
                        <a:pt x="3066" y="3114"/>
                      </a:lnTo>
                      <a:lnTo>
                        <a:pt x="3054" y="3090"/>
                      </a:lnTo>
                      <a:lnTo>
                        <a:pt x="3048" y="3042"/>
                      </a:lnTo>
                      <a:lnTo>
                        <a:pt x="3036" y="2994"/>
                      </a:lnTo>
                      <a:lnTo>
                        <a:pt x="3012" y="2958"/>
                      </a:lnTo>
                      <a:lnTo>
                        <a:pt x="2988" y="2928"/>
                      </a:lnTo>
                      <a:lnTo>
                        <a:pt x="2970" y="2916"/>
                      </a:lnTo>
                      <a:lnTo>
                        <a:pt x="2964" y="2898"/>
                      </a:lnTo>
                      <a:lnTo>
                        <a:pt x="2958" y="2880"/>
                      </a:lnTo>
                      <a:lnTo>
                        <a:pt x="2964" y="2862"/>
                      </a:lnTo>
                      <a:lnTo>
                        <a:pt x="2964" y="2850"/>
                      </a:lnTo>
                      <a:lnTo>
                        <a:pt x="2964" y="2838"/>
                      </a:lnTo>
                      <a:lnTo>
                        <a:pt x="2964" y="2832"/>
                      </a:lnTo>
                      <a:lnTo>
                        <a:pt x="2964" y="2826"/>
                      </a:lnTo>
                      <a:lnTo>
                        <a:pt x="2958" y="2820"/>
                      </a:lnTo>
                      <a:lnTo>
                        <a:pt x="2952" y="2820"/>
                      </a:lnTo>
                      <a:lnTo>
                        <a:pt x="2934" y="2820"/>
                      </a:lnTo>
                      <a:lnTo>
                        <a:pt x="2916" y="2826"/>
                      </a:lnTo>
                      <a:lnTo>
                        <a:pt x="2856" y="2826"/>
                      </a:lnTo>
                      <a:lnTo>
                        <a:pt x="2796" y="2802"/>
                      </a:lnTo>
                      <a:lnTo>
                        <a:pt x="2754" y="2772"/>
                      </a:lnTo>
                      <a:lnTo>
                        <a:pt x="2712" y="2748"/>
                      </a:lnTo>
                      <a:lnTo>
                        <a:pt x="2664" y="2742"/>
                      </a:lnTo>
                      <a:lnTo>
                        <a:pt x="2616" y="2736"/>
                      </a:lnTo>
                      <a:lnTo>
                        <a:pt x="2586" y="2718"/>
                      </a:lnTo>
                      <a:lnTo>
                        <a:pt x="2562" y="2688"/>
                      </a:lnTo>
                      <a:lnTo>
                        <a:pt x="2544" y="2658"/>
                      </a:lnTo>
                      <a:lnTo>
                        <a:pt x="2550" y="2634"/>
                      </a:lnTo>
                      <a:lnTo>
                        <a:pt x="2556" y="2622"/>
                      </a:lnTo>
                      <a:lnTo>
                        <a:pt x="2556" y="2610"/>
                      </a:lnTo>
                      <a:lnTo>
                        <a:pt x="2550" y="2604"/>
                      </a:lnTo>
                      <a:lnTo>
                        <a:pt x="2538" y="2598"/>
                      </a:lnTo>
                      <a:lnTo>
                        <a:pt x="2526" y="2586"/>
                      </a:lnTo>
                      <a:lnTo>
                        <a:pt x="2502" y="2580"/>
                      </a:lnTo>
                      <a:lnTo>
                        <a:pt x="2484" y="2568"/>
                      </a:lnTo>
                      <a:lnTo>
                        <a:pt x="2478" y="2556"/>
                      </a:lnTo>
                      <a:lnTo>
                        <a:pt x="2472" y="2544"/>
                      </a:lnTo>
                      <a:lnTo>
                        <a:pt x="2466" y="2526"/>
                      </a:lnTo>
                      <a:lnTo>
                        <a:pt x="2466" y="2508"/>
                      </a:lnTo>
                      <a:lnTo>
                        <a:pt x="2466" y="2490"/>
                      </a:lnTo>
                      <a:lnTo>
                        <a:pt x="2466" y="2472"/>
                      </a:lnTo>
                      <a:lnTo>
                        <a:pt x="2454" y="2460"/>
                      </a:lnTo>
                      <a:lnTo>
                        <a:pt x="2442" y="2454"/>
                      </a:lnTo>
                      <a:lnTo>
                        <a:pt x="2424" y="2448"/>
                      </a:lnTo>
                      <a:lnTo>
                        <a:pt x="2406" y="2448"/>
                      </a:lnTo>
                      <a:lnTo>
                        <a:pt x="2376" y="2454"/>
                      </a:lnTo>
                      <a:lnTo>
                        <a:pt x="2358" y="2454"/>
                      </a:lnTo>
                      <a:lnTo>
                        <a:pt x="2340" y="2460"/>
                      </a:lnTo>
                      <a:lnTo>
                        <a:pt x="2322" y="2466"/>
                      </a:lnTo>
                      <a:lnTo>
                        <a:pt x="2304" y="2472"/>
                      </a:lnTo>
                      <a:lnTo>
                        <a:pt x="2298" y="2478"/>
                      </a:lnTo>
                      <a:lnTo>
                        <a:pt x="2298" y="2490"/>
                      </a:lnTo>
                      <a:lnTo>
                        <a:pt x="2292" y="2508"/>
                      </a:lnTo>
                      <a:lnTo>
                        <a:pt x="2292" y="2526"/>
                      </a:lnTo>
                      <a:lnTo>
                        <a:pt x="2292" y="2538"/>
                      </a:lnTo>
                      <a:lnTo>
                        <a:pt x="2286" y="2550"/>
                      </a:lnTo>
                      <a:lnTo>
                        <a:pt x="2280" y="2550"/>
                      </a:lnTo>
                      <a:lnTo>
                        <a:pt x="2268" y="2550"/>
                      </a:lnTo>
                      <a:lnTo>
                        <a:pt x="2250" y="2550"/>
                      </a:lnTo>
                      <a:lnTo>
                        <a:pt x="2226" y="2550"/>
                      </a:lnTo>
                      <a:lnTo>
                        <a:pt x="2178" y="2556"/>
                      </a:lnTo>
                      <a:lnTo>
                        <a:pt x="2148" y="2574"/>
                      </a:lnTo>
                      <a:lnTo>
                        <a:pt x="2112" y="2598"/>
                      </a:lnTo>
                      <a:lnTo>
                        <a:pt x="2070" y="2616"/>
                      </a:lnTo>
                      <a:lnTo>
                        <a:pt x="2016" y="2628"/>
                      </a:lnTo>
                      <a:lnTo>
                        <a:pt x="1956" y="2640"/>
                      </a:lnTo>
                      <a:lnTo>
                        <a:pt x="1896" y="2646"/>
                      </a:lnTo>
                      <a:lnTo>
                        <a:pt x="1872" y="2640"/>
                      </a:lnTo>
                      <a:lnTo>
                        <a:pt x="1872" y="2622"/>
                      </a:lnTo>
                      <a:lnTo>
                        <a:pt x="1878" y="2592"/>
                      </a:lnTo>
                      <a:lnTo>
                        <a:pt x="1890" y="2568"/>
                      </a:lnTo>
                      <a:lnTo>
                        <a:pt x="1902" y="2538"/>
                      </a:lnTo>
                      <a:lnTo>
                        <a:pt x="1908" y="2520"/>
                      </a:lnTo>
                      <a:lnTo>
                        <a:pt x="1908" y="2508"/>
                      </a:lnTo>
                      <a:lnTo>
                        <a:pt x="1920" y="2490"/>
                      </a:lnTo>
                      <a:lnTo>
                        <a:pt x="1932" y="2472"/>
                      </a:lnTo>
                      <a:lnTo>
                        <a:pt x="1950" y="2454"/>
                      </a:lnTo>
                      <a:lnTo>
                        <a:pt x="1968" y="2442"/>
                      </a:lnTo>
                      <a:lnTo>
                        <a:pt x="1992" y="2430"/>
                      </a:lnTo>
                      <a:lnTo>
                        <a:pt x="2016" y="2412"/>
                      </a:lnTo>
                      <a:lnTo>
                        <a:pt x="2052" y="2376"/>
                      </a:lnTo>
                      <a:lnTo>
                        <a:pt x="2076" y="2358"/>
                      </a:lnTo>
                      <a:lnTo>
                        <a:pt x="2118" y="2346"/>
                      </a:lnTo>
                      <a:lnTo>
                        <a:pt x="2148" y="2346"/>
                      </a:lnTo>
                      <a:lnTo>
                        <a:pt x="2166" y="2346"/>
                      </a:lnTo>
                      <a:lnTo>
                        <a:pt x="2172" y="2340"/>
                      </a:lnTo>
                      <a:lnTo>
                        <a:pt x="2178" y="2334"/>
                      </a:lnTo>
                      <a:lnTo>
                        <a:pt x="2178" y="2322"/>
                      </a:lnTo>
                      <a:lnTo>
                        <a:pt x="2172" y="2310"/>
                      </a:lnTo>
                      <a:lnTo>
                        <a:pt x="2172" y="2292"/>
                      </a:lnTo>
                      <a:lnTo>
                        <a:pt x="2172" y="2280"/>
                      </a:lnTo>
                      <a:lnTo>
                        <a:pt x="2166" y="2274"/>
                      </a:lnTo>
                      <a:lnTo>
                        <a:pt x="2166" y="2262"/>
                      </a:lnTo>
                      <a:lnTo>
                        <a:pt x="2166" y="2262"/>
                      </a:lnTo>
                      <a:lnTo>
                        <a:pt x="2160" y="2262"/>
                      </a:lnTo>
                      <a:lnTo>
                        <a:pt x="2130" y="2268"/>
                      </a:lnTo>
                      <a:lnTo>
                        <a:pt x="2082" y="2286"/>
                      </a:lnTo>
                      <a:lnTo>
                        <a:pt x="2034" y="2304"/>
                      </a:lnTo>
                      <a:lnTo>
                        <a:pt x="1992" y="2334"/>
                      </a:lnTo>
                      <a:lnTo>
                        <a:pt x="1950" y="2370"/>
                      </a:lnTo>
                      <a:lnTo>
                        <a:pt x="1908" y="2400"/>
                      </a:lnTo>
                      <a:lnTo>
                        <a:pt x="1884" y="2412"/>
                      </a:lnTo>
                      <a:lnTo>
                        <a:pt x="1872" y="2430"/>
                      </a:lnTo>
                      <a:lnTo>
                        <a:pt x="1860" y="2448"/>
                      </a:lnTo>
                      <a:lnTo>
                        <a:pt x="1848" y="2460"/>
                      </a:lnTo>
                      <a:lnTo>
                        <a:pt x="1830" y="2478"/>
                      </a:lnTo>
                      <a:lnTo>
                        <a:pt x="1812" y="2490"/>
                      </a:lnTo>
                      <a:lnTo>
                        <a:pt x="1770" y="2520"/>
                      </a:lnTo>
                      <a:lnTo>
                        <a:pt x="1728" y="2544"/>
                      </a:lnTo>
                      <a:lnTo>
                        <a:pt x="1692" y="2550"/>
                      </a:lnTo>
                      <a:lnTo>
                        <a:pt x="1674" y="2544"/>
                      </a:lnTo>
                      <a:lnTo>
                        <a:pt x="1662" y="2544"/>
                      </a:lnTo>
                      <a:lnTo>
                        <a:pt x="1656" y="2550"/>
                      </a:lnTo>
                      <a:lnTo>
                        <a:pt x="1650" y="2556"/>
                      </a:lnTo>
                      <a:lnTo>
                        <a:pt x="1644" y="2562"/>
                      </a:lnTo>
                      <a:lnTo>
                        <a:pt x="1638" y="2574"/>
                      </a:lnTo>
                      <a:lnTo>
                        <a:pt x="1632" y="2580"/>
                      </a:lnTo>
                      <a:lnTo>
                        <a:pt x="1620" y="2592"/>
                      </a:lnTo>
                      <a:lnTo>
                        <a:pt x="1620" y="2604"/>
                      </a:lnTo>
                      <a:lnTo>
                        <a:pt x="1620" y="2616"/>
                      </a:lnTo>
                      <a:lnTo>
                        <a:pt x="1620" y="2628"/>
                      </a:lnTo>
                      <a:lnTo>
                        <a:pt x="1632" y="2634"/>
                      </a:lnTo>
                      <a:lnTo>
                        <a:pt x="1644" y="2646"/>
                      </a:lnTo>
                      <a:lnTo>
                        <a:pt x="1662" y="2646"/>
                      </a:lnTo>
                      <a:lnTo>
                        <a:pt x="1674" y="2652"/>
                      </a:lnTo>
                      <a:lnTo>
                        <a:pt x="1686" y="2658"/>
                      </a:lnTo>
                      <a:lnTo>
                        <a:pt x="1686" y="2664"/>
                      </a:lnTo>
                      <a:lnTo>
                        <a:pt x="1686" y="2676"/>
                      </a:lnTo>
                      <a:lnTo>
                        <a:pt x="1686" y="2682"/>
                      </a:lnTo>
                      <a:lnTo>
                        <a:pt x="1686" y="2694"/>
                      </a:lnTo>
                      <a:lnTo>
                        <a:pt x="1680" y="2706"/>
                      </a:lnTo>
                      <a:lnTo>
                        <a:pt x="1674" y="2718"/>
                      </a:lnTo>
                      <a:lnTo>
                        <a:pt x="1662" y="2736"/>
                      </a:lnTo>
                      <a:lnTo>
                        <a:pt x="1650" y="2748"/>
                      </a:lnTo>
                      <a:lnTo>
                        <a:pt x="1638" y="2760"/>
                      </a:lnTo>
                      <a:lnTo>
                        <a:pt x="1614" y="2766"/>
                      </a:lnTo>
                      <a:lnTo>
                        <a:pt x="1584" y="2766"/>
                      </a:lnTo>
                      <a:lnTo>
                        <a:pt x="1536" y="2778"/>
                      </a:lnTo>
                      <a:lnTo>
                        <a:pt x="1494" y="2808"/>
                      </a:lnTo>
                      <a:lnTo>
                        <a:pt x="1464" y="2832"/>
                      </a:lnTo>
                      <a:lnTo>
                        <a:pt x="1422" y="2850"/>
                      </a:lnTo>
                      <a:lnTo>
                        <a:pt x="1362" y="2862"/>
                      </a:lnTo>
                      <a:lnTo>
                        <a:pt x="1302" y="2868"/>
                      </a:lnTo>
                      <a:lnTo>
                        <a:pt x="1278" y="2868"/>
                      </a:lnTo>
                      <a:lnTo>
                        <a:pt x="1260" y="2874"/>
                      </a:lnTo>
                      <a:lnTo>
                        <a:pt x="1254" y="2880"/>
                      </a:lnTo>
                      <a:lnTo>
                        <a:pt x="1242" y="2886"/>
                      </a:lnTo>
                      <a:lnTo>
                        <a:pt x="1236" y="2898"/>
                      </a:lnTo>
                      <a:lnTo>
                        <a:pt x="1224" y="2910"/>
                      </a:lnTo>
                      <a:lnTo>
                        <a:pt x="1188" y="2940"/>
                      </a:lnTo>
                      <a:lnTo>
                        <a:pt x="1164" y="2958"/>
                      </a:lnTo>
                      <a:lnTo>
                        <a:pt x="1140" y="2976"/>
                      </a:lnTo>
                      <a:lnTo>
                        <a:pt x="1128" y="2982"/>
                      </a:lnTo>
                      <a:lnTo>
                        <a:pt x="1110" y="2982"/>
                      </a:lnTo>
                      <a:lnTo>
                        <a:pt x="1092" y="2994"/>
                      </a:lnTo>
                      <a:lnTo>
                        <a:pt x="1074" y="3000"/>
                      </a:lnTo>
                      <a:lnTo>
                        <a:pt x="1062" y="3012"/>
                      </a:lnTo>
                      <a:lnTo>
                        <a:pt x="1044" y="3030"/>
                      </a:lnTo>
                      <a:lnTo>
                        <a:pt x="1020" y="3036"/>
                      </a:lnTo>
                      <a:lnTo>
                        <a:pt x="996" y="3042"/>
                      </a:lnTo>
                      <a:lnTo>
                        <a:pt x="972" y="3036"/>
                      </a:lnTo>
                      <a:lnTo>
                        <a:pt x="948" y="3036"/>
                      </a:lnTo>
                      <a:lnTo>
                        <a:pt x="936" y="3042"/>
                      </a:lnTo>
                      <a:lnTo>
                        <a:pt x="924" y="3042"/>
                      </a:lnTo>
                      <a:lnTo>
                        <a:pt x="918" y="3054"/>
                      </a:lnTo>
                      <a:lnTo>
                        <a:pt x="906" y="3066"/>
                      </a:lnTo>
                      <a:lnTo>
                        <a:pt x="888" y="3084"/>
                      </a:lnTo>
                      <a:lnTo>
                        <a:pt x="870" y="3090"/>
                      </a:lnTo>
                      <a:lnTo>
                        <a:pt x="846" y="3096"/>
                      </a:lnTo>
                      <a:lnTo>
                        <a:pt x="798" y="3096"/>
                      </a:lnTo>
                      <a:lnTo>
                        <a:pt x="750" y="3102"/>
                      </a:lnTo>
                      <a:lnTo>
                        <a:pt x="720" y="3114"/>
                      </a:lnTo>
                      <a:lnTo>
                        <a:pt x="702" y="3126"/>
                      </a:lnTo>
                      <a:lnTo>
                        <a:pt x="684" y="3138"/>
                      </a:lnTo>
                      <a:lnTo>
                        <a:pt x="660" y="3150"/>
                      </a:lnTo>
                      <a:lnTo>
                        <a:pt x="618" y="3156"/>
                      </a:lnTo>
                      <a:lnTo>
                        <a:pt x="570" y="3156"/>
                      </a:lnTo>
                      <a:lnTo>
                        <a:pt x="522" y="3150"/>
                      </a:lnTo>
                      <a:lnTo>
                        <a:pt x="480" y="3144"/>
                      </a:lnTo>
                      <a:lnTo>
                        <a:pt x="438" y="3144"/>
                      </a:lnTo>
                      <a:lnTo>
                        <a:pt x="402" y="3162"/>
                      </a:lnTo>
                      <a:lnTo>
                        <a:pt x="378" y="3180"/>
                      </a:lnTo>
                      <a:lnTo>
                        <a:pt x="348" y="3186"/>
                      </a:lnTo>
                      <a:lnTo>
                        <a:pt x="312" y="3186"/>
                      </a:lnTo>
                      <a:lnTo>
                        <a:pt x="270" y="3180"/>
                      </a:lnTo>
                      <a:lnTo>
                        <a:pt x="240" y="3186"/>
                      </a:lnTo>
                      <a:lnTo>
                        <a:pt x="204" y="3198"/>
                      </a:lnTo>
                      <a:lnTo>
                        <a:pt x="174" y="3210"/>
                      </a:lnTo>
                      <a:lnTo>
                        <a:pt x="150" y="3222"/>
                      </a:lnTo>
                      <a:lnTo>
                        <a:pt x="126" y="3240"/>
                      </a:lnTo>
                      <a:lnTo>
                        <a:pt x="84" y="3252"/>
                      </a:lnTo>
                      <a:lnTo>
                        <a:pt x="30" y="3270"/>
                      </a:lnTo>
                      <a:lnTo>
                        <a:pt x="12" y="3270"/>
                      </a:lnTo>
                      <a:lnTo>
                        <a:pt x="0" y="3270"/>
                      </a:lnTo>
                      <a:lnTo>
                        <a:pt x="0" y="3264"/>
                      </a:lnTo>
                      <a:lnTo>
                        <a:pt x="0" y="3258"/>
                      </a:lnTo>
                      <a:lnTo>
                        <a:pt x="0" y="3252"/>
                      </a:lnTo>
                      <a:lnTo>
                        <a:pt x="6" y="3240"/>
                      </a:lnTo>
                      <a:lnTo>
                        <a:pt x="12" y="3234"/>
                      </a:lnTo>
                      <a:lnTo>
                        <a:pt x="24" y="3222"/>
                      </a:lnTo>
                      <a:lnTo>
                        <a:pt x="36" y="3216"/>
                      </a:lnTo>
                      <a:lnTo>
                        <a:pt x="42" y="3204"/>
                      </a:lnTo>
                      <a:lnTo>
                        <a:pt x="54" y="3198"/>
                      </a:lnTo>
                      <a:lnTo>
                        <a:pt x="96" y="3180"/>
                      </a:lnTo>
                      <a:lnTo>
                        <a:pt x="138" y="3162"/>
                      </a:lnTo>
                      <a:lnTo>
                        <a:pt x="168" y="3144"/>
                      </a:lnTo>
                      <a:lnTo>
                        <a:pt x="204" y="3132"/>
                      </a:lnTo>
                      <a:lnTo>
                        <a:pt x="246" y="3120"/>
                      </a:lnTo>
                      <a:lnTo>
                        <a:pt x="294" y="3120"/>
                      </a:lnTo>
                      <a:lnTo>
                        <a:pt x="312" y="3120"/>
                      </a:lnTo>
                      <a:lnTo>
                        <a:pt x="330" y="3114"/>
                      </a:lnTo>
                      <a:lnTo>
                        <a:pt x="342" y="3108"/>
                      </a:lnTo>
                      <a:lnTo>
                        <a:pt x="354" y="3102"/>
                      </a:lnTo>
                      <a:lnTo>
                        <a:pt x="372" y="3084"/>
                      </a:lnTo>
                      <a:lnTo>
                        <a:pt x="390" y="3078"/>
                      </a:lnTo>
                      <a:lnTo>
                        <a:pt x="408" y="3072"/>
                      </a:lnTo>
                      <a:lnTo>
                        <a:pt x="426" y="3072"/>
                      </a:lnTo>
                      <a:lnTo>
                        <a:pt x="444" y="3072"/>
                      </a:lnTo>
                      <a:lnTo>
                        <a:pt x="456" y="3072"/>
                      </a:lnTo>
                      <a:lnTo>
                        <a:pt x="474" y="3066"/>
                      </a:lnTo>
                      <a:lnTo>
                        <a:pt x="504" y="3054"/>
                      </a:lnTo>
                      <a:lnTo>
                        <a:pt x="534" y="3054"/>
                      </a:lnTo>
                      <a:lnTo>
                        <a:pt x="570" y="3072"/>
                      </a:lnTo>
                      <a:lnTo>
                        <a:pt x="594" y="3084"/>
                      </a:lnTo>
                      <a:lnTo>
                        <a:pt x="618" y="3072"/>
                      </a:lnTo>
                      <a:lnTo>
                        <a:pt x="642" y="3036"/>
                      </a:lnTo>
                      <a:lnTo>
                        <a:pt x="684" y="2988"/>
                      </a:lnTo>
                      <a:lnTo>
                        <a:pt x="726" y="2952"/>
                      </a:lnTo>
                      <a:lnTo>
                        <a:pt x="780" y="2934"/>
                      </a:lnTo>
                      <a:lnTo>
                        <a:pt x="846" y="2916"/>
                      </a:lnTo>
                      <a:lnTo>
                        <a:pt x="912" y="2910"/>
                      </a:lnTo>
                      <a:lnTo>
                        <a:pt x="972" y="2892"/>
                      </a:lnTo>
                      <a:lnTo>
                        <a:pt x="1032" y="2862"/>
                      </a:lnTo>
                      <a:lnTo>
                        <a:pt x="1074" y="2814"/>
                      </a:lnTo>
                      <a:lnTo>
                        <a:pt x="1110" y="2760"/>
                      </a:lnTo>
                      <a:lnTo>
                        <a:pt x="1134" y="2718"/>
                      </a:lnTo>
                      <a:lnTo>
                        <a:pt x="1146" y="2688"/>
                      </a:lnTo>
                      <a:lnTo>
                        <a:pt x="1152" y="2682"/>
                      </a:lnTo>
                      <a:lnTo>
                        <a:pt x="1164" y="2670"/>
                      </a:lnTo>
                      <a:lnTo>
                        <a:pt x="1176" y="2658"/>
                      </a:lnTo>
                      <a:lnTo>
                        <a:pt x="1194" y="2652"/>
                      </a:lnTo>
                      <a:lnTo>
                        <a:pt x="1212" y="2640"/>
                      </a:lnTo>
                      <a:lnTo>
                        <a:pt x="1230" y="2634"/>
                      </a:lnTo>
                      <a:lnTo>
                        <a:pt x="1236" y="2622"/>
                      </a:lnTo>
                      <a:lnTo>
                        <a:pt x="1236" y="2616"/>
                      </a:lnTo>
                      <a:lnTo>
                        <a:pt x="1230" y="2604"/>
                      </a:lnTo>
                      <a:lnTo>
                        <a:pt x="1224" y="2598"/>
                      </a:lnTo>
                      <a:lnTo>
                        <a:pt x="1212" y="2592"/>
                      </a:lnTo>
                      <a:lnTo>
                        <a:pt x="1194" y="2598"/>
                      </a:lnTo>
                      <a:lnTo>
                        <a:pt x="1182" y="2598"/>
                      </a:lnTo>
                      <a:lnTo>
                        <a:pt x="1170" y="2598"/>
                      </a:lnTo>
                      <a:lnTo>
                        <a:pt x="1164" y="2592"/>
                      </a:lnTo>
                      <a:lnTo>
                        <a:pt x="1158" y="2580"/>
                      </a:lnTo>
                      <a:lnTo>
                        <a:pt x="1158" y="2568"/>
                      </a:lnTo>
                      <a:lnTo>
                        <a:pt x="1158" y="2556"/>
                      </a:lnTo>
                      <a:lnTo>
                        <a:pt x="1152" y="2544"/>
                      </a:lnTo>
                      <a:lnTo>
                        <a:pt x="1152" y="2538"/>
                      </a:lnTo>
                      <a:lnTo>
                        <a:pt x="1146" y="2532"/>
                      </a:lnTo>
                      <a:lnTo>
                        <a:pt x="1140" y="2532"/>
                      </a:lnTo>
                      <a:lnTo>
                        <a:pt x="1128" y="2532"/>
                      </a:lnTo>
                      <a:lnTo>
                        <a:pt x="1122" y="2538"/>
                      </a:lnTo>
                      <a:lnTo>
                        <a:pt x="1116" y="2544"/>
                      </a:lnTo>
                      <a:lnTo>
                        <a:pt x="1104" y="2550"/>
                      </a:lnTo>
                      <a:lnTo>
                        <a:pt x="1098" y="2556"/>
                      </a:lnTo>
                      <a:lnTo>
                        <a:pt x="1092" y="2568"/>
                      </a:lnTo>
                      <a:lnTo>
                        <a:pt x="1086" y="2586"/>
                      </a:lnTo>
                      <a:lnTo>
                        <a:pt x="1080" y="2616"/>
                      </a:lnTo>
                      <a:lnTo>
                        <a:pt x="1074" y="2634"/>
                      </a:lnTo>
                      <a:lnTo>
                        <a:pt x="1056" y="2634"/>
                      </a:lnTo>
                      <a:lnTo>
                        <a:pt x="1032" y="2616"/>
                      </a:lnTo>
                      <a:lnTo>
                        <a:pt x="1008" y="2580"/>
                      </a:lnTo>
                      <a:lnTo>
                        <a:pt x="984" y="2550"/>
                      </a:lnTo>
                      <a:lnTo>
                        <a:pt x="960" y="2514"/>
                      </a:lnTo>
                      <a:lnTo>
                        <a:pt x="936" y="2490"/>
                      </a:lnTo>
                      <a:lnTo>
                        <a:pt x="918" y="2484"/>
                      </a:lnTo>
                      <a:lnTo>
                        <a:pt x="900" y="2490"/>
                      </a:lnTo>
                      <a:lnTo>
                        <a:pt x="882" y="2496"/>
                      </a:lnTo>
                      <a:lnTo>
                        <a:pt x="852" y="2496"/>
                      </a:lnTo>
                      <a:lnTo>
                        <a:pt x="834" y="2496"/>
                      </a:lnTo>
                      <a:lnTo>
                        <a:pt x="828" y="2484"/>
                      </a:lnTo>
                      <a:lnTo>
                        <a:pt x="828" y="2478"/>
                      </a:lnTo>
                      <a:lnTo>
                        <a:pt x="828" y="2466"/>
                      </a:lnTo>
                      <a:lnTo>
                        <a:pt x="834" y="2454"/>
                      </a:lnTo>
                      <a:lnTo>
                        <a:pt x="834" y="2436"/>
                      </a:lnTo>
                      <a:lnTo>
                        <a:pt x="840" y="2424"/>
                      </a:lnTo>
                      <a:lnTo>
                        <a:pt x="840" y="2406"/>
                      </a:lnTo>
                      <a:lnTo>
                        <a:pt x="852" y="2358"/>
                      </a:lnTo>
                      <a:lnTo>
                        <a:pt x="882" y="2322"/>
                      </a:lnTo>
                      <a:lnTo>
                        <a:pt x="906" y="2286"/>
                      </a:lnTo>
                      <a:lnTo>
                        <a:pt x="918" y="2232"/>
                      </a:lnTo>
                      <a:lnTo>
                        <a:pt x="930" y="2166"/>
                      </a:lnTo>
                      <a:lnTo>
                        <a:pt x="936" y="2154"/>
                      </a:lnTo>
                      <a:lnTo>
                        <a:pt x="930" y="2148"/>
                      </a:lnTo>
                      <a:lnTo>
                        <a:pt x="924" y="2142"/>
                      </a:lnTo>
                      <a:lnTo>
                        <a:pt x="918" y="2142"/>
                      </a:lnTo>
                      <a:lnTo>
                        <a:pt x="906" y="2148"/>
                      </a:lnTo>
                      <a:lnTo>
                        <a:pt x="894" y="2154"/>
                      </a:lnTo>
                      <a:lnTo>
                        <a:pt x="882" y="2166"/>
                      </a:lnTo>
                      <a:lnTo>
                        <a:pt x="864" y="2184"/>
                      </a:lnTo>
                      <a:lnTo>
                        <a:pt x="852" y="2196"/>
                      </a:lnTo>
                      <a:lnTo>
                        <a:pt x="840" y="2208"/>
                      </a:lnTo>
                      <a:lnTo>
                        <a:pt x="828" y="2214"/>
                      </a:lnTo>
                      <a:lnTo>
                        <a:pt x="822" y="2214"/>
                      </a:lnTo>
                      <a:lnTo>
                        <a:pt x="810" y="2208"/>
                      </a:lnTo>
                      <a:lnTo>
                        <a:pt x="798" y="2202"/>
                      </a:lnTo>
                      <a:lnTo>
                        <a:pt x="786" y="2196"/>
                      </a:lnTo>
                      <a:lnTo>
                        <a:pt x="774" y="2190"/>
                      </a:lnTo>
                      <a:lnTo>
                        <a:pt x="750" y="2184"/>
                      </a:lnTo>
                      <a:lnTo>
                        <a:pt x="738" y="2172"/>
                      </a:lnTo>
                      <a:lnTo>
                        <a:pt x="726" y="2160"/>
                      </a:lnTo>
                      <a:lnTo>
                        <a:pt x="726" y="2148"/>
                      </a:lnTo>
                      <a:lnTo>
                        <a:pt x="726" y="2130"/>
                      </a:lnTo>
                      <a:lnTo>
                        <a:pt x="732" y="2112"/>
                      </a:lnTo>
                      <a:lnTo>
                        <a:pt x="738" y="2070"/>
                      </a:lnTo>
                      <a:lnTo>
                        <a:pt x="726" y="2028"/>
                      </a:lnTo>
                      <a:lnTo>
                        <a:pt x="720" y="1992"/>
                      </a:lnTo>
                      <a:lnTo>
                        <a:pt x="720" y="1980"/>
                      </a:lnTo>
                      <a:lnTo>
                        <a:pt x="732" y="1974"/>
                      </a:lnTo>
                      <a:lnTo>
                        <a:pt x="744" y="1968"/>
                      </a:lnTo>
                      <a:lnTo>
                        <a:pt x="762" y="1968"/>
                      </a:lnTo>
                      <a:lnTo>
                        <a:pt x="780" y="1968"/>
                      </a:lnTo>
                      <a:lnTo>
                        <a:pt x="798" y="1968"/>
                      </a:lnTo>
                      <a:lnTo>
                        <a:pt x="810" y="1968"/>
                      </a:lnTo>
                      <a:lnTo>
                        <a:pt x="822" y="1968"/>
                      </a:lnTo>
                      <a:lnTo>
                        <a:pt x="828" y="1974"/>
                      </a:lnTo>
                      <a:lnTo>
                        <a:pt x="828" y="1980"/>
                      </a:lnTo>
                      <a:lnTo>
                        <a:pt x="828" y="1992"/>
                      </a:lnTo>
                      <a:lnTo>
                        <a:pt x="828" y="1998"/>
                      </a:lnTo>
                      <a:lnTo>
                        <a:pt x="828" y="2010"/>
                      </a:lnTo>
                      <a:lnTo>
                        <a:pt x="828" y="2022"/>
                      </a:lnTo>
                      <a:lnTo>
                        <a:pt x="840" y="2028"/>
                      </a:lnTo>
                      <a:lnTo>
                        <a:pt x="846" y="2034"/>
                      </a:lnTo>
                      <a:lnTo>
                        <a:pt x="858" y="2034"/>
                      </a:lnTo>
                      <a:lnTo>
                        <a:pt x="864" y="2028"/>
                      </a:lnTo>
                      <a:lnTo>
                        <a:pt x="870" y="2016"/>
                      </a:lnTo>
                      <a:lnTo>
                        <a:pt x="876" y="2004"/>
                      </a:lnTo>
                      <a:lnTo>
                        <a:pt x="882" y="1986"/>
                      </a:lnTo>
                      <a:lnTo>
                        <a:pt x="888" y="1968"/>
                      </a:lnTo>
                      <a:lnTo>
                        <a:pt x="894" y="1950"/>
                      </a:lnTo>
                      <a:lnTo>
                        <a:pt x="900" y="1932"/>
                      </a:lnTo>
                      <a:lnTo>
                        <a:pt x="900" y="1920"/>
                      </a:lnTo>
                      <a:lnTo>
                        <a:pt x="900" y="1914"/>
                      </a:lnTo>
                      <a:lnTo>
                        <a:pt x="894" y="1908"/>
                      </a:lnTo>
                      <a:lnTo>
                        <a:pt x="882" y="1914"/>
                      </a:lnTo>
                      <a:lnTo>
                        <a:pt x="870" y="1914"/>
                      </a:lnTo>
                      <a:lnTo>
                        <a:pt x="858" y="1920"/>
                      </a:lnTo>
                      <a:lnTo>
                        <a:pt x="846" y="1920"/>
                      </a:lnTo>
                      <a:lnTo>
                        <a:pt x="834" y="1920"/>
                      </a:lnTo>
                      <a:lnTo>
                        <a:pt x="834" y="1914"/>
                      </a:lnTo>
                      <a:lnTo>
                        <a:pt x="828" y="1902"/>
                      </a:lnTo>
                      <a:lnTo>
                        <a:pt x="828" y="1896"/>
                      </a:lnTo>
                      <a:lnTo>
                        <a:pt x="822" y="1884"/>
                      </a:lnTo>
                      <a:lnTo>
                        <a:pt x="816" y="1878"/>
                      </a:lnTo>
                      <a:lnTo>
                        <a:pt x="804" y="1872"/>
                      </a:lnTo>
                      <a:lnTo>
                        <a:pt x="786" y="1854"/>
                      </a:lnTo>
                      <a:lnTo>
                        <a:pt x="780" y="1830"/>
                      </a:lnTo>
                      <a:lnTo>
                        <a:pt x="786" y="1800"/>
                      </a:lnTo>
                      <a:lnTo>
                        <a:pt x="786" y="1770"/>
                      </a:lnTo>
                      <a:lnTo>
                        <a:pt x="786" y="1752"/>
                      </a:lnTo>
                      <a:lnTo>
                        <a:pt x="786" y="1746"/>
                      </a:lnTo>
                      <a:lnTo>
                        <a:pt x="792" y="1734"/>
                      </a:lnTo>
                      <a:lnTo>
                        <a:pt x="798" y="1728"/>
                      </a:lnTo>
                      <a:lnTo>
                        <a:pt x="816" y="1728"/>
                      </a:lnTo>
                      <a:lnTo>
                        <a:pt x="828" y="1722"/>
                      </a:lnTo>
                      <a:lnTo>
                        <a:pt x="834" y="1716"/>
                      </a:lnTo>
                      <a:lnTo>
                        <a:pt x="846" y="1704"/>
                      </a:lnTo>
                      <a:lnTo>
                        <a:pt x="852" y="1692"/>
                      </a:lnTo>
                      <a:lnTo>
                        <a:pt x="858" y="1674"/>
                      </a:lnTo>
                      <a:lnTo>
                        <a:pt x="876" y="1662"/>
                      </a:lnTo>
                      <a:lnTo>
                        <a:pt x="894" y="1638"/>
                      </a:lnTo>
                      <a:lnTo>
                        <a:pt x="912" y="1614"/>
                      </a:lnTo>
                      <a:lnTo>
                        <a:pt x="924" y="1596"/>
                      </a:lnTo>
                      <a:lnTo>
                        <a:pt x="942" y="1584"/>
                      </a:lnTo>
                      <a:lnTo>
                        <a:pt x="972" y="1572"/>
                      </a:lnTo>
                      <a:lnTo>
                        <a:pt x="990" y="1560"/>
                      </a:lnTo>
                      <a:lnTo>
                        <a:pt x="1008" y="1548"/>
                      </a:lnTo>
                      <a:lnTo>
                        <a:pt x="1014" y="1536"/>
                      </a:lnTo>
                      <a:lnTo>
                        <a:pt x="1020" y="1530"/>
                      </a:lnTo>
                      <a:lnTo>
                        <a:pt x="1032" y="1512"/>
                      </a:lnTo>
                      <a:lnTo>
                        <a:pt x="1050" y="1500"/>
                      </a:lnTo>
                      <a:lnTo>
                        <a:pt x="1068" y="1488"/>
                      </a:lnTo>
                      <a:lnTo>
                        <a:pt x="1092" y="1470"/>
                      </a:lnTo>
                      <a:lnTo>
                        <a:pt x="1110" y="1458"/>
                      </a:lnTo>
                      <a:lnTo>
                        <a:pt x="1128" y="1458"/>
                      </a:lnTo>
                      <a:lnTo>
                        <a:pt x="1152" y="1464"/>
                      </a:lnTo>
                      <a:lnTo>
                        <a:pt x="1194" y="1470"/>
                      </a:lnTo>
                      <a:lnTo>
                        <a:pt x="1254" y="1476"/>
                      </a:lnTo>
                      <a:lnTo>
                        <a:pt x="1284" y="1476"/>
                      </a:lnTo>
                      <a:lnTo>
                        <a:pt x="1308" y="1464"/>
                      </a:lnTo>
                      <a:lnTo>
                        <a:pt x="1338" y="1458"/>
                      </a:lnTo>
                      <a:lnTo>
                        <a:pt x="1368" y="1458"/>
                      </a:lnTo>
                      <a:lnTo>
                        <a:pt x="1410" y="1458"/>
                      </a:lnTo>
                      <a:lnTo>
                        <a:pt x="1428" y="1458"/>
                      </a:lnTo>
                      <a:lnTo>
                        <a:pt x="1440" y="1458"/>
                      </a:lnTo>
                      <a:lnTo>
                        <a:pt x="1452" y="1452"/>
                      </a:lnTo>
                      <a:lnTo>
                        <a:pt x="1464" y="1446"/>
                      </a:lnTo>
                      <a:lnTo>
                        <a:pt x="1470" y="1440"/>
                      </a:lnTo>
                      <a:lnTo>
                        <a:pt x="1482" y="1434"/>
                      </a:lnTo>
                      <a:lnTo>
                        <a:pt x="1500" y="1416"/>
                      </a:lnTo>
                      <a:lnTo>
                        <a:pt x="1542" y="1380"/>
                      </a:lnTo>
                      <a:lnTo>
                        <a:pt x="1560" y="1338"/>
                      </a:lnTo>
                      <a:lnTo>
                        <a:pt x="1572" y="1308"/>
                      </a:lnTo>
                      <a:lnTo>
                        <a:pt x="1572" y="1302"/>
                      </a:lnTo>
                      <a:lnTo>
                        <a:pt x="1578" y="1290"/>
                      </a:lnTo>
                      <a:lnTo>
                        <a:pt x="1590" y="1284"/>
                      </a:lnTo>
                      <a:lnTo>
                        <a:pt x="1608" y="1278"/>
                      </a:lnTo>
                      <a:lnTo>
                        <a:pt x="1626" y="1272"/>
                      </a:lnTo>
                      <a:lnTo>
                        <a:pt x="1632" y="1266"/>
                      </a:lnTo>
                      <a:lnTo>
                        <a:pt x="1638" y="1260"/>
                      </a:lnTo>
                      <a:lnTo>
                        <a:pt x="1644" y="1248"/>
                      </a:lnTo>
                      <a:lnTo>
                        <a:pt x="1650" y="1242"/>
                      </a:lnTo>
                      <a:lnTo>
                        <a:pt x="1650" y="1230"/>
                      </a:lnTo>
                      <a:lnTo>
                        <a:pt x="1650" y="1224"/>
                      </a:lnTo>
                      <a:lnTo>
                        <a:pt x="1638" y="1218"/>
                      </a:lnTo>
                      <a:lnTo>
                        <a:pt x="1632" y="1218"/>
                      </a:lnTo>
                      <a:lnTo>
                        <a:pt x="1608" y="1224"/>
                      </a:lnTo>
                      <a:lnTo>
                        <a:pt x="1590" y="1224"/>
                      </a:lnTo>
                      <a:lnTo>
                        <a:pt x="1572" y="1230"/>
                      </a:lnTo>
                      <a:lnTo>
                        <a:pt x="1554" y="1236"/>
                      </a:lnTo>
                      <a:lnTo>
                        <a:pt x="1536" y="1248"/>
                      </a:lnTo>
                      <a:lnTo>
                        <a:pt x="1524" y="1260"/>
                      </a:lnTo>
                      <a:lnTo>
                        <a:pt x="1518" y="1266"/>
                      </a:lnTo>
                      <a:lnTo>
                        <a:pt x="1512" y="1272"/>
                      </a:lnTo>
                      <a:lnTo>
                        <a:pt x="1512" y="1278"/>
                      </a:lnTo>
                      <a:lnTo>
                        <a:pt x="1506" y="1278"/>
                      </a:lnTo>
                      <a:lnTo>
                        <a:pt x="1500" y="1272"/>
                      </a:lnTo>
                      <a:lnTo>
                        <a:pt x="1494" y="1266"/>
                      </a:lnTo>
                      <a:lnTo>
                        <a:pt x="1482" y="1254"/>
                      </a:lnTo>
                      <a:lnTo>
                        <a:pt x="1446" y="1236"/>
                      </a:lnTo>
                      <a:lnTo>
                        <a:pt x="1422" y="1224"/>
                      </a:lnTo>
                      <a:lnTo>
                        <a:pt x="1392" y="1218"/>
                      </a:lnTo>
                      <a:lnTo>
                        <a:pt x="1356" y="1212"/>
                      </a:lnTo>
                      <a:lnTo>
                        <a:pt x="1308" y="1200"/>
                      </a:lnTo>
                      <a:lnTo>
                        <a:pt x="1260" y="1194"/>
                      </a:lnTo>
                      <a:lnTo>
                        <a:pt x="1224" y="1182"/>
                      </a:lnTo>
                      <a:lnTo>
                        <a:pt x="1206" y="1158"/>
                      </a:lnTo>
                      <a:lnTo>
                        <a:pt x="1200" y="1122"/>
                      </a:lnTo>
                      <a:lnTo>
                        <a:pt x="1194" y="1086"/>
                      </a:lnTo>
                      <a:lnTo>
                        <a:pt x="1176" y="1050"/>
                      </a:lnTo>
                      <a:lnTo>
                        <a:pt x="1164" y="1032"/>
                      </a:lnTo>
                      <a:lnTo>
                        <a:pt x="1158" y="1014"/>
                      </a:lnTo>
                      <a:lnTo>
                        <a:pt x="1158" y="1002"/>
                      </a:lnTo>
                      <a:lnTo>
                        <a:pt x="1158" y="990"/>
                      </a:lnTo>
                      <a:lnTo>
                        <a:pt x="1164" y="978"/>
                      </a:lnTo>
                      <a:lnTo>
                        <a:pt x="1170" y="966"/>
                      </a:lnTo>
                      <a:lnTo>
                        <a:pt x="1176" y="948"/>
                      </a:lnTo>
                      <a:lnTo>
                        <a:pt x="1182" y="936"/>
                      </a:lnTo>
                      <a:lnTo>
                        <a:pt x="1176" y="918"/>
                      </a:lnTo>
                      <a:lnTo>
                        <a:pt x="1170" y="906"/>
                      </a:lnTo>
                      <a:lnTo>
                        <a:pt x="1158" y="894"/>
                      </a:lnTo>
                      <a:lnTo>
                        <a:pt x="1140" y="888"/>
                      </a:lnTo>
                      <a:lnTo>
                        <a:pt x="1116" y="882"/>
                      </a:lnTo>
                      <a:lnTo>
                        <a:pt x="1104" y="870"/>
                      </a:lnTo>
                      <a:lnTo>
                        <a:pt x="1098" y="864"/>
                      </a:lnTo>
                      <a:lnTo>
                        <a:pt x="1098" y="852"/>
                      </a:lnTo>
                      <a:lnTo>
                        <a:pt x="1098" y="840"/>
                      </a:lnTo>
                      <a:lnTo>
                        <a:pt x="1104" y="834"/>
                      </a:lnTo>
                      <a:lnTo>
                        <a:pt x="1110" y="822"/>
                      </a:lnTo>
                      <a:lnTo>
                        <a:pt x="1122" y="810"/>
                      </a:lnTo>
                      <a:lnTo>
                        <a:pt x="1140" y="804"/>
                      </a:lnTo>
                      <a:lnTo>
                        <a:pt x="1164" y="804"/>
                      </a:lnTo>
                      <a:lnTo>
                        <a:pt x="1200" y="804"/>
                      </a:lnTo>
                      <a:lnTo>
                        <a:pt x="1242" y="798"/>
                      </a:lnTo>
                      <a:lnTo>
                        <a:pt x="1284" y="774"/>
                      </a:lnTo>
                      <a:lnTo>
                        <a:pt x="1320" y="756"/>
                      </a:lnTo>
                      <a:lnTo>
                        <a:pt x="1362" y="744"/>
                      </a:lnTo>
                      <a:lnTo>
                        <a:pt x="1428" y="732"/>
                      </a:lnTo>
                      <a:lnTo>
                        <a:pt x="1476" y="726"/>
                      </a:lnTo>
                      <a:lnTo>
                        <a:pt x="1506" y="726"/>
                      </a:lnTo>
                      <a:lnTo>
                        <a:pt x="1536" y="732"/>
                      </a:lnTo>
                      <a:lnTo>
                        <a:pt x="1584" y="738"/>
                      </a:lnTo>
                      <a:lnTo>
                        <a:pt x="1614" y="738"/>
                      </a:lnTo>
                      <a:lnTo>
                        <a:pt x="1626" y="744"/>
                      </a:lnTo>
                      <a:lnTo>
                        <a:pt x="1638" y="744"/>
                      </a:lnTo>
                      <a:lnTo>
                        <a:pt x="1638" y="750"/>
                      </a:lnTo>
                      <a:lnTo>
                        <a:pt x="1632" y="756"/>
                      </a:lnTo>
                      <a:lnTo>
                        <a:pt x="1626" y="762"/>
                      </a:lnTo>
                      <a:lnTo>
                        <a:pt x="1620" y="768"/>
                      </a:lnTo>
                      <a:lnTo>
                        <a:pt x="1608" y="774"/>
                      </a:lnTo>
                      <a:lnTo>
                        <a:pt x="1602" y="780"/>
                      </a:lnTo>
                      <a:lnTo>
                        <a:pt x="1590" y="798"/>
                      </a:lnTo>
                      <a:lnTo>
                        <a:pt x="1584" y="810"/>
                      </a:lnTo>
                      <a:lnTo>
                        <a:pt x="1590" y="822"/>
                      </a:lnTo>
                      <a:lnTo>
                        <a:pt x="1596" y="834"/>
                      </a:lnTo>
                      <a:lnTo>
                        <a:pt x="1608" y="846"/>
                      </a:lnTo>
                      <a:lnTo>
                        <a:pt x="1632" y="870"/>
                      </a:lnTo>
                      <a:lnTo>
                        <a:pt x="1656" y="894"/>
                      </a:lnTo>
                      <a:lnTo>
                        <a:pt x="1680" y="924"/>
                      </a:lnTo>
                      <a:lnTo>
                        <a:pt x="1692" y="936"/>
                      </a:lnTo>
                      <a:lnTo>
                        <a:pt x="1710" y="948"/>
                      </a:lnTo>
                      <a:lnTo>
                        <a:pt x="1722" y="954"/>
                      </a:lnTo>
                      <a:lnTo>
                        <a:pt x="1740" y="954"/>
                      </a:lnTo>
                      <a:lnTo>
                        <a:pt x="1752" y="954"/>
                      </a:lnTo>
                      <a:lnTo>
                        <a:pt x="1758" y="954"/>
                      </a:lnTo>
                      <a:lnTo>
                        <a:pt x="1764" y="948"/>
                      </a:lnTo>
                      <a:lnTo>
                        <a:pt x="1776" y="936"/>
                      </a:lnTo>
                      <a:lnTo>
                        <a:pt x="1776" y="930"/>
                      </a:lnTo>
                      <a:lnTo>
                        <a:pt x="1776" y="918"/>
                      </a:lnTo>
                      <a:lnTo>
                        <a:pt x="1770" y="912"/>
                      </a:lnTo>
                      <a:lnTo>
                        <a:pt x="1758" y="900"/>
                      </a:lnTo>
                      <a:lnTo>
                        <a:pt x="1746" y="894"/>
                      </a:lnTo>
                      <a:lnTo>
                        <a:pt x="1728" y="888"/>
                      </a:lnTo>
                      <a:lnTo>
                        <a:pt x="1716" y="888"/>
                      </a:lnTo>
                      <a:lnTo>
                        <a:pt x="1704" y="888"/>
                      </a:lnTo>
                      <a:lnTo>
                        <a:pt x="1698" y="882"/>
                      </a:lnTo>
                      <a:lnTo>
                        <a:pt x="1698" y="870"/>
                      </a:lnTo>
                      <a:lnTo>
                        <a:pt x="1698" y="858"/>
                      </a:lnTo>
                      <a:lnTo>
                        <a:pt x="1704" y="852"/>
                      </a:lnTo>
                      <a:lnTo>
                        <a:pt x="1710" y="846"/>
                      </a:lnTo>
                      <a:lnTo>
                        <a:pt x="1716" y="840"/>
                      </a:lnTo>
                      <a:lnTo>
                        <a:pt x="1722" y="828"/>
                      </a:lnTo>
                      <a:lnTo>
                        <a:pt x="1722" y="822"/>
                      </a:lnTo>
                      <a:lnTo>
                        <a:pt x="1728" y="810"/>
                      </a:lnTo>
                      <a:lnTo>
                        <a:pt x="1728" y="798"/>
                      </a:lnTo>
                      <a:lnTo>
                        <a:pt x="1728" y="792"/>
                      </a:lnTo>
                      <a:lnTo>
                        <a:pt x="1728" y="780"/>
                      </a:lnTo>
                      <a:lnTo>
                        <a:pt x="1728" y="768"/>
                      </a:lnTo>
                      <a:lnTo>
                        <a:pt x="1734" y="762"/>
                      </a:lnTo>
                      <a:lnTo>
                        <a:pt x="1740" y="756"/>
                      </a:lnTo>
                      <a:lnTo>
                        <a:pt x="1746" y="756"/>
                      </a:lnTo>
                      <a:lnTo>
                        <a:pt x="1752" y="768"/>
                      </a:lnTo>
                      <a:lnTo>
                        <a:pt x="1758" y="780"/>
                      </a:lnTo>
                      <a:lnTo>
                        <a:pt x="1758" y="792"/>
                      </a:lnTo>
                      <a:lnTo>
                        <a:pt x="1758" y="804"/>
                      </a:lnTo>
                      <a:lnTo>
                        <a:pt x="1764" y="816"/>
                      </a:lnTo>
                      <a:lnTo>
                        <a:pt x="1770" y="828"/>
                      </a:lnTo>
                      <a:lnTo>
                        <a:pt x="1776" y="834"/>
                      </a:lnTo>
                      <a:lnTo>
                        <a:pt x="1794" y="840"/>
                      </a:lnTo>
                      <a:lnTo>
                        <a:pt x="1812" y="846"/>
                      </a:lnTo>
                      <a:lnTo>
                        <a:pt x="1836" y="852"/>
                      </a:lnTo>
                      <a:lnTo>
                        <a:pt x="1854" y="858"/>
                      </a:lnTo>
                      <a:lnTo>
                        <a:pt x="1872" y="858"/>
                      </a:lnTo>
                      <a:lnTo>
                        <a:pt x="1884" y="852"/>
                      </a:lnTo>
                      <a:lnTo>
                        <a:pt x="1890" y="846"/>
                      </a:lnTo>
                      <a:lnTo>
                        <a:pt x="1896" y="834"/>
                      </a:lnTo>
                      <a:lnTo>
                        <a:pt x="1902" y="828"/>
                      </a:lnTo>
                      <a:lnTo>
                        <a:pt x="1908" y="816"/>
                      </a:lnTo>
                      <a:lnTo>
                        <a:pt x="1908" y="810"/>
                      </a:lnTo>
                      <a:lnTo>
                        <a:pt x="1908" y="804"/>
                      </a:lnTo>
                      <a:lnTo>
                        <a:pt x="1908" y="798"/>
                      </a:lnTo>
                      <a:lnTo>
                        <a:pt x="1902" y="792"/>
                      </a:lnTo>
                      <a:lnTo>
                        <a:pt x="1896" y="792"/>
                      </a:lnTo>
                      <a:lnTo>
                        <a:pt x="1878" y="786"/>
                      </a:lnTo>
                      <a:lnTo>
                        <a:pt x="1854" y="786"/>
                      </a:lnTo>
                      <a:lnTo>
                        <a:pt x="1836" y="786"/>
                      </a:lnTo>
                      <a:lnTo>
                        <a:pt x="1824" y="786"/>
                      </a:lnTo>
                      <a:lnTo>
                        <a:pt x="1818" y="780"/>
                      </a:lnTo>
                      <a:lnTo>
                        <a:pt x="1818" y="768"/>
                      </a:lnTo>
                      <a:lnTo>
                        <a:pt x="1818" y="762"/>
                      </a:lnTo>
                      <a:lnTo>
                        <a:pt x="1818" y="750"/>
                      </a:lnTo>
                      <a:lnTo>
                        <a:pt x="1818" y="732"/>
                      </a:lnTo>
                      <a:lnTo>
                        <a:pt x="1818" y="720"/>
                      </a:lnTo>
                      <a:lnTo>
                        <a:pt x="1806" y="702"/>
                      </a:lnTo>
                      <a:lnTo>
                        <a:pt x="1782" y="696"/>
                      </a:lnTo>
                      <a:lnTo>
                        <a:pt x="1752" y="696"/>
                      </a:lnTo>
                      <a:lnTo>
                        <a:pt x="1722" y="696"/>
                      </a:lnTo>
                      <a:lnTo>
                        <a:pt x="1704" y="690"/>
                      </a:lnTo>
                      <a:lnTo>
                        <a:pt x="1698" y="660"/>
                      </a:lnTo>
                      <a:lnTo>
                        <a:pt x="1698" y="624"/>
                      </a:lnTo>
                      <a:lnTo>
                        <a:pt x="1710" y="576"/>
                      </a:lnTo>
                      <a:lnTo>
                        <a:pt x="1716" y="546"/>
                      </a:lnTo>
                      <a:lnTo>
                        <a:pt x="1710" y="528"/>
                      </a:lnTo>
                      <a:lnTo>
                        <a:pt x="1704" y="510"/>
                      </a:lnTo>
                      <a:lnTo>
                        <a:pt x="1686" y="498"/>
                      </a:lnTo>
                      <a:lnTo>
                        <a:pt x="1674" y="468"/>
                      </a:lnTo>
                      <a:lnTo>
                        <a:pt x="1650" y="414"/>
                      </a:lnTo>
                      <a:lnTo>
                        <a:pt x="1632" y="366"/>
                      </a:lnTo>
                      <a:lnTo>
                        <a:pt x="1602" y="336"/>
                      </a:lnTo>
                      <a:lnTo>
                        <a:pt x="1590" y="330"/>
                      </a:lnTo>
                      <a:lnTo>
                        <a:pt x="1590" y="318"/>
                      </a:lnTo>
                      <a:lnTo>
                        <a:pt x="1596" y="312"/>
                      </a:lnTo>
                      <a:lnTo>
                        <a:pt x="1608" y="300"/>
                      </a:lnTo>
                      <a:lnTo>
                        <a:pt x="1620" y="294"/>
                      </a:lnTo>
                      <a:lnTo>
                        <a:pt x="1638" y="282"/>
                      </a:lnTo>
                      <a:lnTo>
                        <a:pt x="1656" y="270"/>
                      </a:lnTo>
                      <a:lnTo>
                        <a:pt x="1674" y="264"/>
                      </a:lnTo>
                      <a:lnTo>
                        <a:pt x="1686" y="258"/>
                      </a:lnTo>
                      <a:lnTo>
                        <a:pt x="1698" y="252"/>
                      </a:lnTo>
                      <a:lnTo>
                        <a:pt x="1704" y="246"/>
                      </a:lnTo>
                      <a:lnTo>
                        <a:pt x="1710" y="246"/>
                      </a:lnTo>
                      <a:lnTo>
                        <a:pt x="1716" y="240"/>
                      </a:lnTo>
                      <a:lnTo>
                        <a:pt x="1728" y="234"/>
                      </a:lnTo>
                      <a:lnTo>
                        <a:pt x="1734" y="222"/>
                      </a:lnTo>
                      <a:lnTo>
                        <a:pt x="1740" y="216"/>
                      </a:lnTo>
                      <a:lnTo>
                        <a:pt x="1746" y="210"/>
                      </a:lnTo>
                      <a:lnTo>
                        <a:pt x="1752" y="210"/>
                      </a:lnTo>
                      <a:lnTo>
                        <a:pt x="1758" y="210"/>
                      </a:lnTo>
                      <a:lnTo>
                        <a:pt x="1764" y="210"/>
                      </a:lnTo>
                      <a:lnTo>
                        <a:pt x="1782" y="222"/>
                      </a:lnTo>
                      <a:lnTo>
                        <a:pt x="1806" y="234"/>
                      </a:lnTo>
                      <a:lnTo>
                        <a:pt x="1842" y="246"/>
                      </a:lnTo>
                      <a:lnTo>
                        <a:pt x="1884" y="246"/>
                      </a:lnTo>
                      <a:lnTo>
                        <a:pt x="1950" y="240"/>
                      </a:lnTo>
                      <a:lnTo>
                        <a:pt x="2004" y="234"/>
                      </a:lnTo>
                      <a:lnTo>
                        <a:pt x="2040" y="210"/>
                      </a:lnTo>
                      <a:lnTo>
                        <a:pt x="2070" y="180"/>
                      </a:lnTo>
                      <a:lnTo>
                        <a:pt x="2094" y="150"/>
                      </a:lnTo>
                      <a:lnTo>
                        <a:pt x="2118" y="120"/>
                      </a:lnTo>
                      <a:lnTo>
                        <a:pt x="2130" y="102"/>
                      </a:lnTo>
                      <a:lnTo>
                        <a:pt x="2142" y="84"/>
                      </a:lnTo>
                      <a:lnTo>
                        <a:pt x="2154" y="78"/>
                      </a:lnTo>
                      <a:lnTo>
                        <a:pt x="2160" y="72"/>
                      </a:lnTo>
                      <a:lnTo>
                        <a:pt x="2172" y="72"/>
                      </a:lnTo>
                      <a:lnTo>
                        <a:pt x="2184" y="78"/>
                      </a:lnTo>
                      <a:lnTo>
                        <a:pt x="2202" y="84"/>
                      </a:lnTo>
                      <a:lnTo>
                        <a:pt x="2220" y="78"/>
                      </a:lnTo>
                      <a:lnTo>
                        <a:pt x="2232" y="72"/>
                      </a:lnTo>
                      <a:lnTo>
                        <a:pt x="2250" y="60"/>
                      </a:lnTo>
                      <a:lnTo>
                        <a:pt x="2262" y="48"/>
                      </a:lnTo>
                      <a:lnTo>
                        <a:pt x="2268" y="36"/>
                      </a:lnTo>
                      <a:lnTo>
                        <a:pt x="2286" y="30"/>
                      </a:lnTo>
                      <a:lnTo>
                        <a:pt x="2304" y="30"/>
                      </a:lnTo>
                      <a:lnTo>
                        <a:pt x="2322" y="30"/>
                      </a:lnTo>
                      <a:lnTo>
                        <a:pt x="2340" y="36"/>
                      </a:lnTo>
                      <a:lnTo>
                        <a:pt x="2352" y="42"/>
                      </a:lnTo>
                      <a:lnTo>
                        <a:pt x="2364" y="54"/>
                      </a:lnTo>
                      <a:lnTo>
                        <a:pt x="2382" y="60"/>
                      </a:lnTo>
                      <a:lnTo>
                        <a:pt x="2394" y="54"/>
                      </a:lnTo>
                      <a:lnTo>
                        <a:pt x="2406" y="42"/>
                      </a:lnTo>
                      <a:lnTo>
                        <a:pt x="2418" y="36"/>
                      </a:lnTo>
                      <a:lnTo>
                        <a:pt x="2430" y="36"/>
                      </a:lnTo>
                      <a:lnTo>
                        <a:pt x="2442" y="42"/>
                      </a:lnTo>
                      <a:lnTo>
                        <a:pt x="2460" y="54"/>
                      </a:lnTo>
                      <a:lnTo>
                        <a:pt x="2478" y="72"/>
                      </a:lnTo>
                      <a:lnTo>
                        <a:pt x="2490" y="84"/>
                      </a:lnTo>
                      <a:lnTo>
                        <a:pt x="2502" y="96"/>
                      </a:lnTo>
                      <a:lnTo>
                        <a:pt x="2508" y="102"/>
                      </a:lnTo>
                      <a:lnTo>
                        <a:pt x="2514" y="102"/>
                      </a:lnTo>
                      <a:lnTo>
                        <a:pt x="2520" y="102"/>
                      </a:lnTo>
                      <a:lnTo>
                        <a:pt x="2532" y="108"/>
                      </a:lnTo>
                      <a:lnTo>
                        <a:pt x="2544" y="108"/>
                      </a:lnTo>
                      <a:lnTo>
                        <a:pt x="2556" y="108"/>
                      </a:lnTo>
                      <a:lnTo>
                        <a:pt x="2556" y="102"/>
                      </a:lnTo>
                      <a:lnTo>
                        <a:pt x="2562" y="96"/>
                      </a:lnTo>
                      <a:lnTo>
                        <a:pt x="2562" y="90"/>
                      </a:lnTo>
                      <a:lnTo>
                        <a:pt x="2556" y="78"/>
                      </a:lnTo>
                      <a:lnTo>
                        <a:pt x="2550" y="66"/>
                      </a:lnTo>
                      <a:lnTo>
                        <a:pt x="2550" y="54"/>
                      </a:lnTo>
                      <a:lnTo>
                        <a:pt x="2544" y="42"/>
                      </a:lnTo>
                      <a:lnTo>
                        <a:pt x="2544" y="30"/>
                      </a:lnTo>
                      <a:lnTo>
                        <a:pt x="2550" y="18"/>
                      </a:lnTo>
                      <a:lnTo>
                        <a:pt x="2562" y="6"/>
                      </a:lnTo>
                      <a:lnTo>
                        <a:pt x="2580" y="0"/>
                      </a:lnTo>
                      <a:lnTo>
                        <a:pt x="259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5" name="Freeform 288">
                  <a:extLst>
                    <a:ext uri="{FF2B5EF4-FFF2-40B4-BE49-F238E27FC236}">
                      <a16:creationId xmlns:a16="http://schemas.microsoft.com/office/drawing/2014/main" id="{917A6FD8-DC5F-476A-85C1-B9837D0498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589" y="-7848"/>
                  <a:ext cx="7500" cy="5988"/>
                </a:xfrm>
                <a:custGeom>
                  <a:avLst/>
                  <a:gdLst>
                    <a:gd name="T0" fmla="*/ 1458 w 7500"/>
                    <a:gd name="T1" fmla="*/ 324 h 5988"/>
                    <a:gd name="T2" fmla="*/ 1668 w 7500"/>
                    <a:gd name="T3" fmla="*/ 234 h 5988"/>
                    <a:gd name="T4" fmla="*/ 1962 w 7500"/>
                    <a:gd name="T5" fmla="*/ 240 h 5988"/>
                    <a:gd name="T6" fmla="*/ 2028 w 7500"/>
                    <a:gd name="T7" fmla="*/ 282 h 5988"/>
                    <a:gd name="T8" fmla="*/ 2304 w 7500"/>
                    <a:gd name="T9" fmla="*/ 234 h 5988"/>
                    <a:gd name="T10" fmla="*/ 2424 w 7500"/>
                    <a:gd name="T11" fmla="*/ 378 h 5988"/>
                    <a:gd name="T12" fmla="*/ 2502 w 7500"/>
                    <a:gd name="T13" fmla="*/ 528 h 5988"/>
                    <a:gd name="T14" fmla="*/ 3066 w 7500"/>
                    <a:gd name="T15" fmla="*/ 810 h 5988"/>
                    <a:gd name="T16" fmla="*/ 3030 w 7500"/>
                    <a:gd name="T17" fmla="*/ 1074 h 5988"/>
                    <a:gd name="T18" fmla="*/ 3510 w 7500"/>
                    <a:gd name="T19" fmla="*/ 1194 h 5988"/>
                    <a:gd name="T20" fmla="*/ 3594 w 7500"/>
                    <a:gd name="T21" fmla="*/ 1422 h 5988"/>
                    <a:gd name="T22" fmla="*/ 3828 w 7500"/>
                    <a:gd name="T23" fmla="*/ 1170 h 5988"/>
                    <a:gd name="T24" fmla="*/ 3954 w 7500"/>
                    <a:gd name="T25" fmla="*/ 1236 h 5988"/>
                    <a:gd name="T26" fmla="*/ 4272 w 7500"/>
                    <a:gd name="T27" fmla="*/ 1392 h 5988"/>
                    <a:gd name="T28" fmla="*/ 4500 w 7500"/>
                    <a:gd name="T29" fmla="*/ 1386 h 5988"/>
                    <a:gd name="T30" fmla="*/ 4650 w 7500"/>
                    <a:gd name="T31" fmla="*/ 1572 h 5988"/>
                    <a:gd name="T32" fmla="*/ 4722 w 7500"/>
                    <a:gd name="T33" fmla="*/ 1554 h 5988"/>
                    <a:gd name="T34" fmla="*/ 4968 w 7500"/>
                    <a:gd name="T35" fmla="*/ 1194 h 5988"/>
                    <a:gd name="T36" fmla="*/ 4920 w 7500"/>
                    <a:gd name="T37" fmla="*/ 798 h 5988"/>
                    <a:gd name="T38" fmla="*/ 5196 w 7500"/>
                    <a:gd name="T39" fmla="*/ 780 h 5988"/>
                    <a:gd name="T40" fmla="*/ 5220 w 7500"/>
                    <a:gd name="T41" fmla="*/ 1164 h 5988"/>
                    <a:gd name="T42" fmla="*/ 5202 w 7500"/>
                    <a:gd name="T43" fmla="*/ 1332 h 5988"/>
                    <a:gd name="T44" fmla="*/ 5364 w 7500"/>
                    <a:gd name="T45" fmla="*/ 1350 h 5988"/>
                    <a:gd name="T46" fmla="*/ 5388 w 7500"/>
                    <a:gd name="T47" fmla="*/ 1668 h 5988"/>
                    <a:gd name="T48" fmla="*/ 5634 w 7500"/>
                    <a:gd name="T49" fmla="*/ 1530 h 5988"/>
                    <a:gd name="T50" fmla="*/ 5940 w 7500"/>
                    <a:gd name="T51" fmla="*/ 1446 h 5988"/>
                    <a:gd name="T52" fmla="*/ 5790 w 7500"/>
                    <a:gd name="T53" fmla="*/ 1884 h 5988"/>
                    <a:gd name="T54" fmla="*/ 5616 w 7500"/>
                    <a:gd name="T55" fmla="*/ 1974 h 5988"/>
                    <a:gd name="T56" fmla="*/ 5244 w 7500"/>
                    <a:gd name="T57" fmla="*/ 2052 h 5988"/>
                    <a:gd name="T58" fmla="*/ 5226 w 7500"/>
                    <a:gd name="T59" fmla="*/ 2154 h 5988"/>
                    <a:gd name="T60" fmla="*/ 4590 w 7500"/>
                    <a:gd name="T61" fmla="*/ 2196 h 5988"/>
                    <a:gd name="T62" fmla="*/ 4740 w 7500"/>
                    <a:gd name="T63" fmla="*/ 2460 h 5988"/>
                    <a:gd name="T64" fmla="*/ 4278 w 7500"/>
                    <a:gd name="T65" fmla="*/ 2778 h 5988"/>
                    <a:gd name="T66" fmla="*/ 4266 w 7500"/>
                    <a:gd name="T67" fmla="*/ 3234 h 5988"/>
                    <a:gd name="T68" fmla="*/ 4614 w 7500"/>
                    <a:gd name="T69" fmla="*/ 3714 h 5988"/>
                    <a:gd name="T70" fmla="*/ 4878 w 7500"/>
                    <a:gd name="T71" fmla="*/ 3894 h 5988"/>
                    <a:gd name="T72" fmla="*/ 4986 w 7500"/>
                    <a:gd name="T73" fmla="*/ 4086 h 5988"/>
                    <a:gd name="T74" fmla="*/ 4968 w 7500"/>
                    <a:gd name="T75" fmla="*/ 4338 h 5988"/>
                    <a:gd name="T76" fmla="*/ 5118 w 7500"/>
                    <a:gd name="T77" fmla="*/ 4518 h 5988"/>
                    <a:gd name="T78" fmla="*/ 5298 w 7500"/>
                    <a:gd name="T79" fmla="*/ 4044 h 5988"/>
                    <a:gd name="T80" fmla="*/ 5826 w 7500"/>
                    <a:gd name="T81" fmla="*/ 3048 h 5988"/>
                    <a:gd name="T82" fmla="*/ 6216 w 7500"/>
                    <a:gd name="T83" fmla="*/ 2892 h 5988"/>
                    <a:gd name="T84" fmla="*/ 6528 w 7500"/>
                    <a:gd name="T85" fmla="*/ 3204 h 5988"/>
                    <a:gd name="T86" fmla="*/ 6534 w 7500"/>
                    <a:gd name="T87" fmla="*/ 3516 h 5988"/>
                    <a:gd name="T88" fmla="*/ 6828 w 7500"/>
                    <a:gd name="T89" fmla="*/ 3522 h 5988"/>
                    <a:gd name="T90" fmla="*/ 7062 w 7500"/>
                    <a:gd name="T91" fmla="*/ 3660 h 5988"/>
                    <a:gd name="T92" fmla="*/ 7146 w 7500"/>
                    <a:gd name="T93" fmla="*/ 4110 h 5988"/>
                    <a:gd name="T94" fmla="*/ 7278 w 7500"/>
                    <a:gd name="T95" fmla="*/ 4392 h 5988"/>
                    <a:gd name="T96" fmla="*/ 7494 w 7500"/>
                    <a:gd name="T97" fmla="*/ 4566 h 5988"/>
                    <a:gd name="T98" fmla="*/ 7050 w 7500"/>
                    <a:gd name="T99" fmla="*/ 4914 h 5988"/>
                    <a:gd name="T100" fmla="*/ 6204 w 7500"/>
                    <a:gd name="T101" fmla="*/ 5052 h 5988"/>
                    <a:gd name="T102" fmla="*/ 6210 w 7500"/>
                    <a:gd name="T103" fmla="*/ 5112 h 5988"/>
                    <a:gd name="T104" fmla="*/ 6348 w 7500"/>
                    <a:gd name="T105" fmla="*/ 5256 h 5988"/>
                    <a:gd name="T106" fmla="*/ 6492 w 7500"/>
                    <a:gd name="T107" fmla="*/ 5520 h 5988"/>
                    <a:gd name="T108" fmla="*/ 6708 w 7500"/>
                    <a:gd name="T109" fmla="*/ 5670 h 5988"/>
                    <a:gd name="T110" fmla="*/ 6366 w 7500"/>
                    <a:gd name="T111" fmla="*/ 5658 h 5988"/>
                    <a:gd name="T112" fmla="*/ 5868 w 7500"/>
                    <a:gd name="T113" fmla="*/ 5370 h 5988"/>
                    <a:gd name="T114" fmla="*/ 4518 w 7500"/>
                    <a:gd name="T115" fmla="*/ 5460 h 5988"/>
                    <a:gd name="T116" fmla="*/ 690 w 7500"/>
                    <a:gd name="T117" fmla="*/ 4068 h 5988"/>
                    <a:gd name="T118" fmla="*/ 546 w 7500"/>
                    <a:gd name="T119" fmla="*/ 3936 h 5988"/>
                    <a:gd name="T120" fmla="*/ 504 w 7500"/>
                    <a:gd name="T121" fmla="*/ 3606 h 5988"/>
                    <a:gd name="T122" fmla="*/ 438 w 7500"/>
                    <a:gd name="T123" fmla="*/ 3336 h 5988"/>
                    <a:gd name="T124" fmla="*/ 216 w 7500"/>
                    <a:gd name="T125" fmla="*/ 2172 h 59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500" h="5988">
                      <a:moveTo>
                        <a:pt x="1056" y="0"/>
                      </a:moveTo>
                      <a:lnTo>
                        <a:pt x="1056" y="0"/>
                      </a:lnTo>
                      <a:lnTo>
                        <a:pt x="1074" y="6"/>
                      </a:lnTo>
                      <a:lnTo>
                        <a:pt x="1098" y="12"/>
                      </a:lnTo>
                      <a:lnTo>
                        <a:pt x="1122" y="18"/>
                      </a:lnTo>
                      <a:lnTo>
                        <a:pt x="1146" y="24"/>
                      </a:lnTo>
                      <a:lnTo>
                        <a:pt x="1158" y="30"/>
                      </a:lnTo>
                      <a:lnTo>
                        <a:pt x="1170" y="36"/>
                      </a:lnTo>
                      <a:lnTo>
                        <a:pt x="1176" y="48"/>
                      </a:lnTo>
                      <a:lnTo>
                        <a:pt x="1182" y="54"/>
                      </a:lnTo>
                      <a:lnTo>
                        <a:pt x="1182" y="66"/>
                      </a:lnTo>
                      <a:lnTo>
                        <a:pt x="1188" y="78"/>
                      </a:lnTo>
                      <a:lnTo>
                        <a:pt x="1206" y="102"/>
                      </a:lnTo>
                      <a:lnTo>
                        <a:pt x="1230" y="132"/>
                      </a:lnTo>
                      <a:lnTo>
                        <a:pt x="1248" y="156"/>
                      </a:lnTo>
                      <a:lnTo>
                        <a:pt x="1254" y="180"/>
                      </a:lnTo>
                      <a:lnTo>
                        <a:pt x="1248" y="192"/>
                      </a:lnTo>
                      <a:lnTo>
                        <a:pt x="1248" y="204"/>
                      </a:lnTo>
                      <a:lnTo>
                        <a:pt x="1254" y="210"/>
                      </a:lnTo>
                      <a:lnTo>
                        <a:pt x="1260" y="210"/>
                      </a:lnTo>
                      <a:lnTo>
                        <a:pt x="1272" y="216"/>
                      </a:lnTo>
                      <a:lnTo>
                        <a:pt x="1284" y="222"/>
                      </a:lnTo>
                      <a:lnTo>
                        <a:pt x="1308" y="240"/>
                      </a:lnTo>
                      <a:lnTo>
                        <a:pt x="1350" y="264"/>
                      </a:lnTo>
                      <a:lnTo>
                        <a:pt x="1392" y="300"/>
                      </a:lnTo>
                      <a:lnTo>
                        <a:pt x="1434" y="318"/>
                      </a:lnTo>
                      <a:lnTo>
                        <a:pt x="1446" y="324"/>
                      </a:lnTo>
                      <a:lnTo>
                        <a:pt x="1458" y="324"/>
                      </a:lnTo>
                      <a:lnTo>
                        <a:pt x="1464" y="324"/>
                      </a:lnTo>
                      <a:lnTo>
                        <a:pt x="1464" y="312"/>
                      </a:lnTo>
                      <a:lnTo>
                        <a:pt x="1464" y="306"/>
                      </a:lnTo>
                      <a:lnTo>
                        <a:pt x="1464" y="294"/>
                      </a:lnTo>
                      <a:lnTo>
                        <a:pt x="1458" y="282"/>
                      </a:lnTo>
                      <a:lnTo>
                        <a:pt x="1458" y="264"/>
                      </a:lnTo>
                      <a:lnTo>
                        <a:pt x="1452" y="252"/>
                      </a:lnTo>
                      <a:lnTo>
                        <a:pt x="1452" y="234"/>
                      </a:lnTo>
                      <a:lnTo>
                        <a:pt x="1458" y="222"/>
                      </a:lnTo>
                      <a:lnTo>
                        <a:pt x="1470" y="216"/>
                      </a:lnTo>
                      <a:lnTo>
                        <a:pt x="1482" y="216"/>
                      </a:lnTo>
                      <a:lnTo>
                        <a:pt x="1494" y="216"/>
                      </a:lnTo>
                      <a:lnTo>
                        <a:pt x="1506" y="222"/>
                      </a:lnTo>
                      <a:lnTo>
                        <a:pt x="1518" y="228"/>
                      </a:lnTo>
                      <a:lnTo>
                        <a:pt x="1536" y="222"/>
                      </a:lnTo>
                      <a:lnTo>
                        <a:pt x="1554" y="216"/>
                      </a:lnTo>
                      <a:lnTo>
                        <a:pt x="1578" y="204"/>
                      </a:lnTo>
                      <a:lnTo>
                        <a:pt x="1590" y="198"/>
                      </a:lnTo>
                      <a:lnTo>
                        <a:pt x="1602" y="192"/>
                      </a:lnTo>
                      <a:lnTo>
                        <a:pt x="1614" y="186"/>
                      </a:lnTo>
                      <a:lnTo>
                        <a:pt x="1626" y="186"/>
                      </a:lnTo>
                      <a:lnTo>
                        <a:pt x="1632" y="192"/>
                      </a:lnTo>
                      <a:lnTo>
                        <a:pt x="1632" y="198"/>
                      </a:lnTo>
                      <a:lnTo>
                        <a:pt x="1632" y="210"/>
                      </a:lnTo>
                      <a:lnTo>
                        <a:pt x="1638" y="216"/>
                      </a:lnTo>
                      <a:lnTo>
                        <a:pt x="1644" y="222"/>
                      </a:lnTo>
                      <a:lnTo>
                        <a:pt x="1656" y="228"/>
                      </a:lnTo>
                      <a:lnTo>
                        <a:pt x="1668" y="234"/>
                      </a:lnTo>
                      <a:lnTo>
                        <a:pt x="1692" y="240"/>
                      </a:lnTo>
                      <a:lnTo>
                        <a:pt x="1710" y="240"/>
                      </a:lnTo>
                      <a:lnTo>
                        <a:pt x="1722" y="240"/>
                      </a:lnTo>
                      <a:lnTo>
                        <a:pt x="1734" y="240"/>
                      </a:lnTo>
                      <a:lnTo>
                        <a:pt x="1746" y="234"/>
                      </a:lnTo>
                      <a:lnTo>
                        <a:pt x="1752" y="222"/>
                      </a:lnTo>
                      <a:lnTo>
                        <a:pt x="1764" y="210"/>
                      </a:lnTo>
                      <a:lnTo>
                        <a:pt x="1776" y="198"/>
                      </a:lnTo>
                      <a:lnTo>
                        <a:pt x="1800" y="180"/>
                      </a:lnTo>
                      <a:lnTo>
                        <a:pt x="1830" y="180"/>
                      </a:lnTo>
                      <a:lnTo>
                        <a:pt x="1866" y="192"/>
                      </a:lnTo>
                      <a:lnTo>
                        <a:pt x="1902" y="198"/>
                      </a:lnTo>
                      <a:lnTo>
                        <a:pt x="1938" y="192"/>
                      </a:lnTo>
                      <a:lnTo>
                        <a:pt x="1968" y="180"/>
                      </a:lnTo>
                      <a:lnTo>
                        <a:pt x="2010" y="168"/>
                      </a:lnTo>
                      <a:lnTo>
                        <a:pt x="2028" y="162"/>
                      </a:lnTo>
                      <a:lnTo>
                        <a:pt x="2040" y="162"/>
                      </a:lnTo>
                      <a:lnTo>
                        <a:pt x="2046" y="162"/>
                      </a:lnTo>
                      <a:lnTo>
                        <a:pt x="2046" y="168"/>
                      </a:lnTo>
                      <a:lnTo>
                        <a:pt x="2046" y="174"/>
                      </a:lnTo>
                      <a:lnTo>
                        <a:pt x="2040" y="186"/>
                      </a:lnTo>
                      <a:lnTo>
                        <a:pt x="2028" y="198"/>
                      </a:lnTo>
                      <a:lnTo>
                        <a:pt x="2016" y="210"/>
                      </a:lnTo>
                      <a:lnTo>
                        <a:pt x="2004" y="216"/>
                      </a:lnTo>
                      <a:lnTo>
                        <a:pt x="1998" y="222"/>
                      </a:lnTo>
                      <a:lnTo>
                        <a:pt x="1986" y="228"/>
                      </a:lnTo>
                      <a:lnTo>
                        <a:pt x="1980" y="234"/>
                      </a:lnTo>
                      <a:lnTo>
                        <a:pt x="1962" y="240"/>
                      </a:lnTo>
                      <a:lnTo>
                        <a:pt x="1932" y="258"/>
                      </a:lnTo>
                      <a:lnTo>
                        <a:pt x="1896" y="258"/>
                      </a:lnTo>
                      <a:lnTo>
                        <a:pt x="1860" y="264"/>
                      </a:lnTo>
                      <a:lnTo>
                        <a:pt x="1824" y="276"/>
                      </a:lnTo>
                      <a:lnTo>
                        <a:pt x="1782" y="294"/>
                      </a:lnTo>
                      <a:lnTo>
                        <a:pt x="1734" y="312"/>
                      </a:lnTo>
                      <a:lnTo>
                        <a:pt x="1692" y="324"/>
                      </a:lnTo>
                      <a:lnTo>
                        <a:pt x="1662" y="342"/>
                      </a:lnTo>
                      <a:lnTo>
                        <a:pt x="1638" y="366"/>
                      </a:lnTo>
                      <a:lnTo>
                        <a:pt x="1632" y="372"/>
                      </a:lnTo>
                      <a:lnTo>
                        <a:pt x="1632" y="384"/>
                      </a:lnTo>
                      <a:lnTo>
                        <a:pt x="1638" y="390"/>
                      </a:lnTo>
                      <a:lnTo>
                        <a:pt x="1656" y="396"/>
                      </a:lnTo>
                      <a:lnTo>
                        <a:pt x="1668" y="396"/>
                      </a:lnTo>
                      <a:lnTo>
                        <a:pt x="1686" y="396"/>
                      </a:lnTo>
                      <a:lnTo>
                        <a:pt x="1704" y="396"/>
                      </a:lnTo>
                      <a:lnTo>
                        <a:pt x="1716" y="390"/>
                      </a:lnTo>
                      <a:lnTo>
                        <a:pt x="1746" y="372"/>
                      </a:lnTo>
                      <a:lnTo>
                        <a:pt x="1782" y="366"/>
                      </a:lnTo>
                      <a:lnTo>
                        <a:pt x="1818" y="348"/>
                      </a:lnTo>
                      <a:lnTo>
                        <a:pt x="1836" y="336"/>
                      </a:lnTo>
                      <a:lnTo>
                        <a:pt x="1854" y="330"/>
                      </a:lnTo>
                      <a:lnTo>
                        <a:pt x="1872" y="324"/>
                      </a:lnTo>
                      <a:lnTo>
                        <a:pt x="1890" y="318"/>
                      </a:lnTo>
                      <a:lnTo>
                        <a:pt x="1938" y="312"/>
                      </a:lnTo>
                      <a:lnTo>
                        <a:pt x="1986" y="294"/>
                      </a:lnTo>
                      <a:lnTo>
                        <a:pt x="2010" y="288"/>
                      </a:lnTo>
                      <a:lnTo>
                        <a:pt x="2028" y="282"/>
                      </a:lnTo>
                      <a:lnTo>
                        <a:pt x="2040" y="276"/>
                      </a:lnTo>
                      <a:lnTo>
                        <a:pt x="2058" y="276"/>
                      </a:lnTo>
                      <a:lnTo>
                        <a:pt x="2070" y="288"/>
                      </a:lnTo>
                      <a:lnTo>
                        <a:pt x="2082" y="300"/>
                      </a:lnTo>
                      <a:lnTo>
                        <a:pt x="2088" y="306"/>
                      </a:lnTo>
                      <a:lnTo>
                        <a:pt x="2100" y="306"/>
                      </a:lnTo>
                      <a:lnTo>
                        <a:pt x="2106" y="306"/>
                      </a:lnTo>
                      <a:lnTo>
                        <a:pt x="2112" y="300"/>
                      </a:lnTo>
                      <a:lnTo>
                        <a:pt x="2130" y="288"/>
                      </a:lnTo>
                      <a:lnTo>
                        <a:pt x="2142" y="276"/>
                      </a:lnTo>
                      <a:lnTo>
                        <a:pt x="2154" y="276"/>
                      </a:lnTo>
                      <a:lnTo>
                        <a:pt x="2166" y="276"/>
                      </a:lnTo>
                      <a:lnTo>
                        <a:pt x="2178" y="276"/>
                      </a:lnTo>
                      <a:lnTo>
                        <a:pt x="2184" y="270"/>
                      </a:lnTo>
                      <a:lnTo>
                        <a:pt x="2196" y="264"/>
                      </a:lnTo>
                      <a:lnTo>
                        <a:pt x="2208" y="246"/>
                      </a:lnTo>
                      <a:lnTo>
                        <a:pt x="2220" y="234"/>
                      </a:lnTo>
                      <a:lnTo>
                        <a:pt x="2232" y="216"/>
                      </a:lnTo>
                      <a:lnTo>
                        <a:pt x="2238" y="198"/>
                      </a:lnTo>
                      <a:lnTo>
                        <a:pt x="2244" y="180"/>
                      </a:lnTo>
                      <a:lnTo>
                        <a:pt x="2244" y="162"/>
                      </a:lnTo>
                      <a:lnTo>
                        <a:pt x="2250" y="156"/>
                      </a:lnTo>
                      <a:lnTo>
                        <a:pt x="2262" y="156"/>
                      </a:lnTo>
                      <a:lnTo>
                        <a:pt x="2268" y="162"/>
                      </a:lnTo>
                      <a:lnTo>
                        <a:pt x="2280" y="174"/>
                      </a:lnTo>
                      <a:lnTo>
                        <a:pt x="2292" y="198"/>
                      </a:lnTo>
                      <a:lnTo>
                        <a:pt x="2298" y="216"/>
                      </a:lnTo>
                      <a:lnTo>
                        <a:pt x="2304" y="234"/>
                      </a:lnTo>
                      <a:lnTo>
                        <a:pt x="2304" y="246"/>
                      </a:lnTo>
                      <a:lnTo>
                        <a:pt x="2298" y="252"/>
                      </a:lnTo>
                      <a:lnTo>
                        <a:pt x="2292" y="264"/>
                      </a:lnTo>
                      <a:lnTo>
                        <a:pt x="2280" y="276"/>
                      </a:lnTo>
                      <a:lnTo>
                        <a:pt x="2274" y="288"/>
                      </a:lnTo>
                      <a:lnTo>
                        <a:pt x="2256" y="318"/>
                      </a:lnTo>
                      <a:lnTo>
                        <a:pt x="2250" y="354"/>
                      </a:lnTo>
                      <a:lnTo>
                        <a:pt x="2262" y="396"/>
                      </a:lnTo>
                      <a:lnTo>
                        <a:pt x="2268" y="420"/>
                      </a:lnTo>
                      <a:lnTo>
                        <a:pt x="2280" y="432"/>
                      </a:lnTo>
                      <a:lnTo>
                        <a:pt x="2292" y="444"/>
                      </a:lnTo>
                      <a:lnTo>
                        <a:pt x="2304" y="456"/>
                      </a:lnTo>
                      <a:lnTo>
                        <a:pt x="2316" y="468"/>
                      </a:lnTo>
                      <a:lnTo>
                        <a:pt x="2328" y="474"/>
                      </a:lnTo>
                      <a:lnTo>
                        <a:pt x="2340" y="486"/>
                      </a:lnTo>
                      <a:lnTo>
                        <a:pt x="2352" y="492"/>
                      </a:lnTo>
                      <a:lnTo>
                        <a:pt x="2358" y="498"/>
                      </a:lnTo>
                      <a:lnTo>
                        <a:pt x="2358" y="492"/>
                      </a:lnTo>
                      <a:lnTo>
                        <a:pt x="2358" y="492"/>
                      </a:lnTo>
                      <a:lnTo>
                        <a:pt x="2364" y="486"/>
                      </a:lnTo>
                      <a:lnTo>
                        <a:pt x="2364" y="474"/>
                      </a:lnTo>
                      <a:lnTo>
                        <a:pt x="2370" y="462"/>
                      </a:lnTo>
                      <a:lnTo>
                        <a:pt x="2376" y="444"/>
                      </a:lnTo>
                      <a:lnTo>
                        <a:pt x="2388" y="426"/>
                      </a:lnTo>
                      <a:lnTo>
                        <a:pt x="2400" y="408"/>
                      </a:lnTo>
                      <a:lnTo>
                        <a:pt x="2412" y="396"/>
                      </a:lnTo>
                      <a:lnTo>
                        <a:pt x="2418" y="384"/>
                      </a:lnTo>
                      <a:lnTo>
                        <a:pt x="2424" y="378"/>
                      </a:lnTo>
                      <a:lnTo>
                        <a:pt x="2436" y="372"/>
                      </a:lnTo>
                      <a:lnTo>
                        <a:pt x="2454" y="360"/>
                      </a:lnTo>
                      <a:lnTo>
                        <a:pt x="2466" y="360"/>
                      </a:lnTo>
                      <a:lnTo>
                        <a:pt x="2472" y="360"/>
                      </a:lnTo>
                      <a:lnTo>
                        <a:pt x="2478" y="366"/>
                      </a:lnTo>
                      <a:lnTo>
                        <a:pt x="2478" y="378"/>
                      </a:lnTo>
                      <a:lnTo>
                        <a:pt x="2478" y="390"/>
                      </a:lnTo>
                      <a:lnTo>
                        <a:pt x="2478" y="408"/>
                      </a:lnTo>
                      <a:lnTo>
                        <a:pt x="2478" y="420"/>
                      </a:lnTo>
                      <a:lnTo>
                        <a:pt x="2478" y="432"/>
                      </a:lnTo>
                      <a:lnTo>
                        <a:pt x="2472" y="444"/>
                      </a:lnTo>
                      <a:lnTo>
                        <a:pt x="2466" y="450"/>
                      </a:lnTo>
                      <a:lnTo>
                        <a:pt x="2460" y="462"/>
                      </a:lnTo>
                      <a:lnTo>
                        <a:pt x="2448" y="474"/>
                      </a:lnTo>
                      <a:lnTo>
                        <a:pt x="2442" y="492"/>
                      </a:lnTo>
                      <a:lnTo>
                        <a:pt x="2436" y="498"/>
                      </a:lnTo>
                      <a:lnTo>
                        <a:pt x="2436" y="510"/>
                      </a:lnTo>
                      <a:lnTo>
                        <a:pt x="2442" y="516"/>
                      </a:lnTo>
                      <a:lnTo>
                        <a:pt x="2454" y="528"/>
                      </a:lnTo>
                      <a:lnTo>
                        <a:pt x="2472" y="546"/>
                      </a:lnTo>
                      <a:lnTo>
                        <a:pt x="2484" y="558"/>
                      </a:lnTo>
                      <a:lnTo>
                        <a:pt x="2490" y="564"/>
                      </a:lnTo>
                      <a:lnTo>
                        <a:pt x="2496" y="564"/>
                      </a:lnTo>
                      <a:lnTo>
                        <a:pt x="2502" y="564"/>
                      </a:lnTo>
                      <a:lnTo>
                        <a:pt x="2502" y="558"/>
                      </a:lnTo>
                      <a:lnTo>
                        <a:pt x="2502" y="552"/>
                      </a:lnTo>
                      <a:lnTo>
                        <a:pt x="2502" y="540"/>
                      </a:lnTo>
                      <a:lnTo>
                        <a:pt x="2502" y="528"/>
                      </a:lnTo>
                      <a:lnTo>
                        <a:pt x="2520" y="498"/>
                      </a:lnTo>
                      <a:lnTo>
                        <a:pt x="2556" y="468"/>
                      </a:lnTo>
                      <a:lnTo>
                        <a:pt x="2598" y="456"/>
                      </a:lnTo>
                      <a:lnTo>
                        <a:pt x="2658" y="468"/>
                      </a:lnTo>
                      <a:lnTo>
                        <a:pt x="2706" y="504"/>
                      </a:lnTo>
                      <a:lnTo>
                        <a:pt x="2730" y="540"/>
                      </a:lnTo>
                      <a:lnTo>
                        <a:pt x="2766" y="582"/>
                      </a:lnTo>
                      <a:lnTo>
                        <a:pt x="2802" y="624"/>
                      </a:lnTo>
                      <a:lnTo>
                        <a:pt x="2832" y="654"/>
                      </a:lnTo>
                      <a:lnTo>
                        <a:pt x="2844" y="660"/>
                      </a:lnTo>
                      <a:lnTo>
                        <a:pt x="2850" y="666"/>
                      </a:lnTo>
                      <a:lnTo>
                        <a:pt x="2856" y="666"/>
                      </a:lnTo>
                      <a:lnTo>
                        <a:pt x="2862" y="672"/>
                      </a:lnTo>
                      <a:lnTo>
                        <a:pt x="2874" y="684"/>
                      </a:lnTo>
                      <a:lnTo>
                        <a:pt x="2880" y="696"/>
                      </a:lnTo>
                      <a:lnTo>
                        <a:pt x="2886" y="720"/>
                      </a:lnTo>
                      <a:lnTo>
                        <a:pt x="2892" y="738"/>
                      </a:lnTo>
                      <a:lnTo>
                        <a:pt x="2898" y="750"/>
                      </a:lnTo>
                      <a:lnTo>
                        <a:pt x="2904" y="762"/>
                      </a:lnTo>
                      <a:lnTo>
                        <a:pt x="2910" y="768"/>
                      </a:lnTo>
                      <a:lnTo>
                        <a:pt x="2922" y="768"/>
                      </a:lnTo>
                      <a:lnTo>
                        <a:pt x="2934" y="774"/>
                      </a:lnTo>
                      <a:lnTo>
                        <a:pt x="2958" y="786"/>
                      </a:lnTo>
                      <a:lnTo>
                        <a:pt x="2994" y="804"/>
                      </a:lnTo>
                      <a:lnTo>
                        <a:pt x="3024" y="816"/>
                      </a:lnTo>
                      <a:lnTo>
                        <a:pt x="3048" y="822"/>
                      </a:lnTo>
                      <a:lnTo>
                        <a:pt x="3060" y="816"/>
                      </a:lnTo>
                      <a:lnTo>
                        <a:pt x="3066" y="810"/>
                      </a:lnTo>
                      <a:lnTo>
                        <a:pt x="3072" y="804"/>
                      </a:lnTo>
                      <a:lnTo>
                        <a:pt x="3078" y="804"/>
                      </a:lnTo>
                      <a:lnTo>
                        <a:pt x="3090" y="804"/>
                      </a:lnTo>
                      <a:lnTo>
                        <a:pt x="3102" y="810"/>
                      </a:lnTo>
                      <a:lnTo>
                        <a:pt x="3114" y="816"/>
                      </a:lnTo>
                      <a:lnTo>
                        <a:pt x="3138" y="852"/>
                      </a:lnTo>
                      <a:lnTo>
                        <a:pt x="3150" y="906"/>
                      </a:lnTo>
                      <a:lnTo>
                        <a:pt x="3162" y="960"/>
                      </a:lnTo>
                      <a:lnTo>
                        <a:pt x="3162" y="978"/>
                      </a:lnTo>
                      <a:lnTo>
                        <a:pt x="3162" y="990"/>
                      </a:lnTo>
                      <a:lnTo>
                        <a:pt x="3156" y="996"/>
                      </a:lnTo>
                      <a:lnTo>
                        <a:pt x="3150" y="996"/>
                      </a:lnTo>
                      <a:lnTo>
                        <a:pt x="3138" y="1002"/>
                      </a:lnTo>
                      <a:lnTo>
                        <a:pt x="3126" y="1002"/>
                      </a:lnTo>
                      <a:lnTo>
                        <a:pt x="3108" y="1002"/>
                      </a:lnTo>
                      <a:lnTo>
                        <a:pt x="3096" y="1002"/>
                      </a:lnTo>
                      <a:lnTo>
                        <a:pt x="3084" y="996"/>
                      </a:lnTo>
                      <a:lnTo>
                        <a:pt x="3066" y="1002"/>
                      </a:lnTo>
                      <a:lnTo>
                        <a:pt x="3060" y="1002"/>
                      </a:lnTo>
                      <a:lnTo>
                        <a:pt x="3054" y="1008"/>
                      </a:lnTo>
                      <a:lnTo>
                        <a:pt x="3048" y="1014"/>
                      </a:lnTo>
                      <a:lnTo>
                        <a:pt x="3048" y="1020"/>
                      </a:lnTo>
                      <a:lnTo>
                        <a:pt x="3042" y="1032"/>
                      </a:lnTo>
                      <a:lnTo>
                        <a:pt x="3030" y="1044"/>
                      </a:lnTo>
                      <a:lnTo>
                        <a:pt x="3024" y="1050"/>
                      </a:lnTo>
                      <a:lnTo>
                        <a:pt x="3018" y="1062"/>
                      </a:lnTo>
                      <a:lnTo>
                        <a:pt x="3024" y="1068"/>
                      </a:lnTo>
                      <a:lnTo>
                        <a:pt x="3030" y="1074"/>
                      </a:lnTo>
                      <a:lnTo>
                        <a:pt x="3042" y="1086"/>
                      </a:lnTo>
                      <a:lnTo>
                        <a:pt x="3054" y="1092"/>
                      </a:lnTo>
                      <a:lnTo>
                        <a:pt x="3072" y="1104"/>
                      </a:lnTo>
                      <a:lnTo>
                        <a:pt x="3090" y="1116"/>
                      </a:lnTo>
                      <a:lnTo>
                        <a:pt x="3102" y="1122"/>
                      </a:lnTo>
                      <a:lnTo>
                        <a:pt x="3114" y="1128"/>
                      </a:lnTo>
                      <a:lnTo>
                        <a:pt x="3126" y="1134"/>
                      </a:lnTo>
                      <a:lnTo>
                        <a:pt x="3144" y="1134"/>
                      </a:lnTo>
                      <a:lnTo>
                        <a:pt x="3168" y="1128"/>
                      </a:lnTo>
                      <a:lnTo>
                        <a:pt x="3180" y="1128"/>
                      </a:lnTo>
                      <a:lnTo>
                        <a:pt x="3198" y="1128"/>
                      </a:lnTo>
                      <a:lnTo>
                        <a:pt x="3204" y="1128"/>
                      </a:lnTo>
                      <a:lnTo>
                        <a:pt x="3216" y="1122"/>
                      </a:lnTo>
                      <a:lnTo>
                        <a:pt x="3228" y="1128"/>
                      </a:lnTo>
                      <a:lnTo>
                        <a:pt x="3240" y="1134"/>
                      </a:lnTo>
                      <a:lnTo>
                        <a:pt x="3258" y="1140"/>
                      </a:lnTo>
                      <a:lnTo>
                        <a:pt x="3312" y="1158"/>
                      </a:lnTo>
                      <a:lnTo>
                        <a:pt x="3354" y="1164"/>
                      </a:lnTo>
                      <a:lnTo>
                        <a:pt x="3390" y="1164"/>
                      </a:lnTo>
                      <a:lnTo>
                        <a:pt x="3408" y="1170"/>
                      </a:lnTo>
                      <a:lnTo>
                        <a:pt x="3420" y="1170"/>
                      </a:lnTo>
                      <a:lnTo>
                        <a:pt x="3444" y="1170"/>
                      </a:lnTo>
                      <a:lnTo>
                        <a:pt x="3468" y="1170"/>
                      </a:lnTo>
                      <a:lnTo>
                        <a:pt x="3468" y="1170"/>
                      </a:lnTo>
                      <a:lnTo>
                        <a:pt x="3480" y="1170"/>
                      </a:lnTo>
                      <a:lnTo>
                        <a:pt x="3486" y="1176"/>
                      </a:lnTo>
                      <a:lnTo>
                        <a:pt x="3498" y="1182"/>
                      </a:lnTo>
                      <a:lnTo>
                        <a:pt x="3510" y="1194"/>
                      </a:lnTo>
                      <a:lnTo>
                        <a:pt x="3522" y="1206"/>
                      </a:lnTo>
                      <a:lnTo>
                        <a:pt x="3528" y="1224"/>
                      </a:lnTo>
                      <a:lnTo>
                        <a:pt x="3534" y="1248"/>
                      </a:lnTo>
                      <a:lnTo>
                        <a:pt x="3546" y="1272"/>
                      </a:lnTo>
                      <a:lnTo>
                        <a:pt x="3552" y="1284"/>
                      </a:lnTo>
                      <a:lnTo>
                        <a:pt x="3558" y="1302"/>
                      </a:lnTo>
                      <a:lnTo>
                        <a:pt x="3570" y="1314"/>
                      </a:lnTo>
                      <a:lnTo>
                        <a:pt x="3582" y="1326"/>
                      </a:lnTo>
                      <a:lnTo>
                        <a:pt x="3582" y="1332"/>
                      </a:lnTo>
                      <a:lnTo>
                        <a:pt x="3582" y="1338"/>
                      </a:lnTo>
                      <a:lnTo>
                        <a:pt x="3576" y="1344"/>
                      </a:lnTo>
                      <a:lnTo>
                        <a:pt x="3570" y="1350"/>
                      </a:lnTo>
                      <a:lnTo>
                        <a:pt x="3570" y="1350"/>
                      </a:lnTo>
                      <a:lnTo>
                        <a:pt x="3564" y="1350"/>
                      </a:lnTo>
                      <a:lnTo>
                        <a:pt x="3558" y="1350"/>
                      </a:lnTo>
                      <a:lnTo>
                        <a:pt x="3552" y="1356"/>
                      </a:lnTo>
                      <a:lnTo>
                        <a:pt x="3552" y="1362"/>
                      </a:lnTo>
                      <a:lnTo>
                        <a:pt x="3546" y="1380"/>
                      </a:lnTo>
                      <a:lnTo>
                        <a:pt x="3546" y="1398"/>
                      </a:lnTo>
                      <a:lnTo>
                        <a:pt x="3552" y="1422"/>
                      </a:lnTo>
                      <a:lnTo>
                        <a:pt x="3558" y="1446"/>
                      </a:lnTo>
                      <a:lnTo>
                        <a:pt x="3564" y="1458"/>
                      </a:lnTo>
                      <a:lnTo>
                        <a:pt x="3570" y="1470"/>
                      </a:lnTo>
                      <a:lnTo>
                        <a:pt x="3576" y="1470"/>
                      </a:lnTo>
                      <a:lnTo>
                        <a:pt x="3582" y="1470"/>
                      </a:lnTo>
                      <a:lnTo>
                        <a:pt x="3588" y="1458"/>
                      </a:lnTo>
                      <a:lnTo>
                        <a:pt x="3588" y="1440"/>
                      </a:lnTo>
                      <a:lnTo>
                        <a:pt x="3594" y="1422"/>
                      </a:lnTo>
                      <a:lnTo>
                        <a:pt x="3600" y="1410"/>
                      </a:lnTo>
                      <a:lnTo>
                        <a:pt x="3612" y="1398"/>
                      </a:lnTo>
                      <a:lnTo>
                        <a:pt x="3624" y="1398"/>
                      </a:lnTo>
                      <a:lnTo>
                        <a:pt x="3636" y="1404"/>
                      </a:lnTo>
                      <a:lnTo>
                        <a:pt x="3654" y="1416"/>
                      </a:lnTo>
                      <a:lnTo>
                        <a:pt x="3666" y="1416"/>
                      </a:lnTo>
                      <a:lnTo>
                        <a:pt x="3672" y="1392"/>
                      </a:lnTo>
                      <a:lnTo>
                        <a:pt x="3672" y="1362"/>
                      </a:lnTo>
                      <a:lnTo>
                        <a:pt x="3666" y="1326"/>
                      </a:lnTo>
                      <a:lnTo>
                        <a:pt x="3660" y="1308"/>
                      </a:lnTo>
                      <a:lnTo>
                        <a:pt x="3660" y="1290"/>
                      </a:lnTo>
                      <a:lnTo>
                        <a:pt x="3660" y="1272"/>
                      </a:lnTo>
                      <a:lnTo>
                        <a:pt x="3672" y="1254"/>
                      </a:lnTo>
                      <a:lnTo>
                        <a:pt x="3684" y="1236"/>
                      </a:lnTo>
                      <a:lnTo>
                        <a:pt x="3696" y="1224"/>
                      </a:lnTo>
                      <a:lnTo>
                        <a:pt x="3708" y="1218"/>
                      </a:lnTo>
                      <a:lnTo>
                        <a:pt x="3720" y="1218"/>
                      </a:lnTo>
                      <a:lnTo>
                        <a:pt x="3744" y="1218"/>
                      </a:lnTo>
                      <a:lnTo>
                        <a:pt x="3768" y="1224"/>
                      </a:lnTo>
                      <a:lnTo>
                        <a:pt x="3804" y="1230"/>
                      </a:lnTo>
                      <a:lnTo>
                        <a:pt x="3828" y="1212"/>
                      </a:lnTo>
                      <a:lnTo>
                        <a:pt x="3864" y="1188"/>
                      </a:lnTo>
                      <a:lnTo>
                        <a:pt x="3870" y="1182"/>
                      </a:lnTo>
                      <a:lnTo>
                        <a:pt x="3870" y="1176"/>
                      </a:lnTo>
                      <a:lnTo>
                        <a:pt x="3864" y="1170"/>
                      </a:lnTo>
                      <a:lnTo>
                        <a:pt x="3858" y="1170"/>
                      </a:lnTo>
                      <a:lnTo>
                        <a:pt x="3846" y="1170"/>
                      </a:lnTo>
                      <a:lnTo>
                        <a:pt x="3828" y="1170"/>
                      </a:lnTo>
                      <a:lnTo>
                        <a:pt x="3810" y="1170"/>
                      </a:lnTo>
                      <a:lnTo>
                        <a:pt x="3792" y="1170"/>
                      </a:lnTo>
                      <a:lnTo>
                        <a:pt x="3780" y="1164"/>
                      </a:lnTo>
                      <a:lnTo>
                        <a:pt x="3756" y="1164"/>
                      </a:lnTo>
                      <a:lnTo>
                        <a:pt x="3738" y="1164"/>
                      </a:lnTo>
                      <a:lnTo>
                        <a:pt x="3726" y="1158"/>
                      </a:lnTo>
                      <a:lnTo>
                        <a:pt x="3720" y="1152"/>
                      </a:lnTo>
                      <a:lnTo>
                        <a:pt x="3714" y="1140"/>
                      </a:lnTo>
                      <a:lnTo>
                        <a:pt x="3714" y="1128"/>
                      </a:lnTo>
                      <a:lnTo>
                        <a:pt x="3720" y="1116"/>
                      </a:lnTo>
                      <a:lnTo>
                        <a:pt x="3732" y="1110"/>
                      </a:lnTo>
                      <a:lnTo>
                        <a:pt x="3750" y="1104"/>
                      </a:lnTo>
                      <a:lnTo>
                        <a:pt x="3780" y="1098"/>
                      </a:lnTo>
                      <a:lnTo>
                        <a:pt x="3816" y="1092"/>
                      </a:lnTo>
                      <a:lnTo>
                        <a:pt x="3840" y="1086"/>
                      </a:lnTo>
                      <a:lnTo>
                        <a:pt x="3870" y="1086"/>
                      </a:lnTo>
                      <a:lnTo>
                        <a:pt x="3912" y="1092"/>
                      </a:lnTo>
                      <a:lnTo>
                        <a:pt x="3936" y="1110"/>
                      </a:lnTo>
                      <a:lnTo>
                        <a:pt x="3948" y="1122"/>
                      </a:lnTo>
                      <a:lnTo>
                        <a:pt x="3960" y="1134"/>
                      </a:lnTo>
                      <a:lnTo>
                        <a:pt x="3960" y="1146"/>
                      </a:lnTo>
                      <a:lnTo>
                        <a:pt x="3960" y="1158"/>
                      </a:lnTo>
                      <a:lnTo>
                        <a:pt x="3960" y="1170"/>
                      </a:lnTo>
                      <a:lnTo>
                        <a:pt x="3954" y="1182"/>
                      </a:lnTo>
                      <a:lnTo>
                        <a:pt x="3954" y="1194"/>
                      </a:lnTo>
                      <a:lnTo>
                        <a:pt x="3954" y="1206"/>
                      </a:lnTo>
                      <a:lnTo>
                        <a:pt x="3954" y="1218"/>
                      </a:lnTo>
                      <a:lnTo>
                        <a:pt x="3954" y="1236"/>
                      </a:lnTo>
                      <a:lnTo>
                        <a:pt x="3960" y="1248"/>
                      </a:lnTo>
                      <a:lnTo>
                        <a:pt x="3966" y="1260"/>
                      </a:lnTo>
                      <a:lnTo>
                        <a:pt x="3978" y="1266"/>
                      </a:lnTo>
                      <a:lnTo>
                        <a:pt x="3990" y="1272"/>
                      </a:lnTo>
                      <a:lnTo>
                        <a:pt x="4008" y="1272"/>
                      </a:lnTo>
                      <a:lnTo>
                        <a:pt x="4038" y="1272"/>
                      </a:lnTo>
                      <a:lnTo>
                        <a:pt x="4056" y="1272"/>
                      </a:lnTo>
                      <a:lnTo>
                        <a:pt x="4074" y="1272"/>
                      </a:lnTo>
                      <a:lnTo>
                        <a:pt x="4086" y="1278"/>
                      </a:lnTo>
                      <a:lnTo>
                        <a:pt x="4092" y="1284"/>
                      </a:lnTo>
                      <a:lnTo>
                        <a:pt x="4092" y="1296"/>
                      </a:lnTo>
                      <a:lnTo>
                        <a:pt x="4092" y="1308"/>
                      </a:lnTo>
                      <a:lnTo>
                        <a:pt x="4098" y="1314"/>
                      </a:lnTo>
                      <a:lnTo>
                        <a:pt x="4110" y="1326"/>
                      </a:lnTo>
                      <a:lnTo>
                        <a:pt x="4122" y="1332"/>
                      </a:lnTo>
                      <a:lnTo>
                        <a:pt x="4134" y="1344"/>
                      </a:lnTo>
                      <a:lnTo>
                        <a:pt x="4146" y="1356"/>
                      </a:lnTo>
                      <a:lnTo>
                        <a:pt x="4158" y="1368"/>
                      </a:lnTo>
                      <a:lnTo>
                        <a:pt x="4170" y="1380"/>
                      </a:lnTo>
                      <a:lnTo>
                        <a:pt x="4182" y="1380"/>
                      </a:lnTo>
                      <a:lnTo>
                        <a:pt x="4200" y="1392"/>
                      </a:lnTo>
                      <a:lnTo>
                        <a:pt x="4218" y="1404"/>
                      </a:lnTo>
                      <a:lnTo>
                        <a:pt x="4230" y="1410"/>
                      </a:lnTo>
                      <a:lnTo>
                        <a:pt x="4236" y="1416"/>
                      </a:lnTo>
                      <a:lnTo>
                        <a:pt x="4248" y="1416"/>
                      </a:lnTo>
                      <a:lnTo>
                        <a:pt x="4254" y="1410"/>
                      </a:lnTo>
                      <a:lnTo>
                        <a:pt x="4260" y="1398"/>
                      </a:lnTo>
                      <a:lnTo>
                        <a:pt x="4272" y="1392"/>
                      </a:lnTo>
                      <a:lnTo>
                        <a:pt x="4278" y="1380"/>
                      </a:lnTo>
                      <a:lnTo>
                        <a:pt x="4290" y="1380"/>
                      </a:lnTo>
                      <a:lnTo>
                        <a:pt x="4302" y="1386"/>
                      </a:lnTo>
                      <a:lnTo>
                        <a:pt x="4314" y="1398"/>
                      </a:lnTo>
                      <a:lnTo>
                        <a:pt x="4326" y="1410"/>
                      </a:lnTo>
                      <a:lnTo>
                        <a:pt x="4344" y="1422"/>
                      </a:lnTo>
                      <a:lnTo>
                        <a:pt x="4356" y="1434"/>
                      </a:lnTo>
                      <a:lnTo>
                        <a:pt x="4362" y="1440"/>
                      </a:lnTo>
                      <a:lnTo>
                        <a:pt x="4368" y="1446"/>
                      </a:lnTo>
                      <a:lnTo>
                        <a:pt x="4380" y="1440"/>
                      </a:lnTo>
                      <a:lnTo>
                        <a:pt x="4386" y="1440"/>
                      </a:lnTo>
                      <a:lnTo>
                        <a:pt x="4392" y="1428"/>
                      </a:lnTo>
                      <a:lnTo>
                        <a:pt x="4404" y="1422"/>
                      </a:lnTo>
                      <a:lnTo>
                        <a:pt x="4410" y="1422"/>
                      </a:lnTo>
                      <a:lnTo>
                        <a:pt x="4416" y="1422"/>
                      </a:lnTo>
                      <a:lnTo>
                        <a:pt x="4428" y="1422"/>
                      </a:lnTo>
                      <a:lnTo>
                        <a:pt x="4440" y="1428"/>
                      </a:lnTo>
                      <a:lnTo>
                        <a:pt x="4458" y="1440"/>
                      </a:lnTo>
                      <a:lnTo>
                        <a:pt x="4476" y="1446"/>
                      </a:lnTo>
                      <a:lnTo>
                        <a:pt x="4500" y="1446"/>
                      </a:lnTo>
                      <a:lnTo>
                        <a:pt x="4524" y="1446"/>
                      </a:lnTo>
                      <a:lnTo>
                        <a:pt x="4536" y="1440"/>
                      </a:lnTo>
                      <a:lnTo>
                        <a:pt x="4542" y="1440"/>
                      </a:lnTo>
                      <a:lnTo>
                        <a:pt x="4536" y="1428"/>
                      </a:lnTo>
                      <a:lnTo>
                        <a:pt x="4530" y="1422"/>
                      </a:lnTo>
                      <a:lnTo>
                        <a:pt x="4524" y="1410"/>
                      </a:lnTo>
                      <a:lnTo>
                        <a:pt x="4512" y="1404"/>
                      </a:lnTo>
                      <a:lnTo>
                        <a:pt x="4500" y="1386"/>
                      </a:lnTo>
                      <a:lnTo>
                        <a:pt x="4494" y="1380"/>
                      </a:lnTo>
                      <a:lnTo>
                        <a:pt x="4494" y="1368"/>
                      </a:lnTo>
                      <a:lnTo>
                        <a:pt x="4500" y="1362"/>
                      </a:lnTo>
                      <a:lnTo>
                        <a:pt x="4512" y="1362"/>
                      </a:lnTo>
                      <a:lnTo>
                        <a:pt x="4524" y="1356"/>
                      </a:lnTo>
                      <a:lnTo>
                        <a:pt x="4536" y="1356"/>
                      </a:lnTo>
                      <a:lnTo>
                        <a:pt x="4548" y="1350"/>
                      </a:lnTo>
                      <a:lnTo>
                        <a:pt x="4566" y="1350"/>
                      </a:lnTo>
                      <a:lnTo>
                        <a:pt x="4584" y="1362"/>
                      </a:lnTo>
                      <a:lnTo>
                        <a:pt x="4608" y="1374"/>
                      </a:lnTo>
                      <a:lnTo>
                        <a:pt x="4632" y="1386"/>
                      </a:lnTo>
                      <a:lnTo>
                        <a:pt x="4644" y="1398"/>
                      </a:lnTo>
                      <a:lnTo>
                        <a:pt x="4656" y="1404"/>
                      </a:lnTo>
                      <a:lnTo>
                        <a:pt x="4656" y="1416"/>
                      </a:lnTo>
                      <a:lnTo>
                        <a:pt x="4656" y="1422"/>
                      </a:lnTo>
                      <a:lnTo>
                        <a:pt x="4662" y="1434"/>
                      </a:lnTo>
                      <a:lnTo>
                        <a:pt x="4674" y="1440"/>
                      </a:lnTo>
                      <a:lnTo>
                        <a:pt x="4686" y="1452"/>
                      </a:lnTo>
                      <a:lnTo>
                        <a:pt x="4686" y="1464"/>
                      </a:lnTo>
                      <a:lnTo>
                        <a:pt x="4686" y="1470"/>
                      </a:lnTo>
                      <a:lnTo>
                        <a:pt x="4680" y="1482"/>
                      </a:lnTo>
                      <a:lnTo>
                        <a:pt x="4668" y="1494"/>
                      </a:lnTo>
                      <a:lnTo>
                        <a:pt x="4656" y="1500"/>
                      </a:lnTo>
                      <a:lnTo>
                        <a:pt x="4644" y="1512"/>
                      </a:lnTo>
                      <a:lnTo>
                        <a:pt x="4632" y="1524"/>
                      </a:lnTo>
                      <a:lnTo>
                        <a:pt x="4632" y="1536"/>
                      </a:lnTo>
                      <a:lnTo>
                        <a:pt x="4638" y="1554"/>
                      </a:lnTo>
                      <a:lnTo>
                        <a:pt x="4650" y="1572"/>
                      </a:lnTo>
                      <a:lnTo>
                        <a:pt x="4650" y="1584"/>
                      </a:lnTo>
                      <a:lnTo>
                        <a:pt x="4650" y="1590"/>
                      </a:lnTo>
                      <a:lnTo>
                        <a:pt x="4644" y="1602"/>
                      </a:lnTo>
                      <a:lnTo>
                        <a:pt x="4632" y="1608"/>
                      </a:lnTo>
                      <a:lnTo>
                        <a:pt x="4620" y="1614"/>
                      </a:lnTo>
                      <a:lnTo>
                        <a:pt x="4602" y="1626"/>
                      </a:lnTo>
                      <a:lnTo>
                        <a:pt x="4590" y="1638"/>
                      </a:lnTo>
                      <a:lnTo>
                        <a:pt x="4572" y="1650"/>
                      </a:lnTo>
                      <a:lnTo>
                        <a:pt x="4566" y="1668"/>
                      </a:lnTo>
                      <a:lnTo>
                        <a:pt x="4566" y="1674"/>
                      </a:lnTo>
                      <a:lnTo>
                        <a:pt x="4578" y="1680"/>
                      </a:lnTo>
                      <a:lnTo>
                        <a:pt x="4590" y="1686"/>
                      </a:lnTo>
                      <a:lnTo>
                        <a:pt x="4602" y="1680"/>
                      </a:lnTo>
                      <a:lnTo>
                        <a:pt x="4620" y="1674"/>
                      </a:lnTo>
                      <a:lnTo>
                        <a:pt x="4638" y="1662"/>
                      </a:lnTo>
                      <a:lnTo>
                        <a:pt x="4650" y="1656"/>
                      </a:lnTo>
                      <a:lnTo>
                        <a:pt x="4662" y="1650"/>
                      </a:lnTo>
                      <a:lnTo>
                        <a:pt x="4680" y="1644"/>
                      </a:lnTo>
                      <a:lnTo>
                        <a:pt x="4692" y="1644"/>
                      </a:lnTo>
                      <a:lnTo>
                        <a:pt x="4698" y="1632"/>
                      </a:lnTo>
                      <a:lnTo>
                        <a:pt x="4704" y="1626"/>
                      </a:lnTo>
                      <a:lnTo>
                        <a:pt x="4710" y="1614"/>
                      </a:lnTo>
                      <a:lnTo>
                        <a:pt x="4710" y="1602"/>
                      </a:lnTo>
                      <a:lnTo>
                        <a:pt x="4710" y="1590"/>
                      </a:lnTo>
                      <a:lnTo>
                        <a:pt x="4710" y="1578"/>
                      </a:lnTo>
                      <a:lnTo>
                        <a:pt x="4716" y="1572"/>
                      </a:lnTo>
                      <a:lnTo>
                        <a:pt x="4722" y="1566"/>
                      </a:lnTo>
                      <a:lnTo>
                        <a:pt x="4722" y="1554"/>
                      </a:lnTo>
                      <a:lnTo>
                        <a:pt x="4728" y="1542"/>
                      </a:lnTo>
                      <a:lnTo>
                        <a:pt x="4740" y="1524"/>
                      </a:lnTo>
                      <a:lnTo>
                        <a:pt x="4758" y="1488"/>
                      </a:lnTo>
                      <a:lnTo>
                        <a:pt x="4794" y="1464"/>
                      </a:lnTo>
                      <a:lnTo>
                        <a:pt x="4848" y="1440"/>
                      </a:lnTo>
                      <a:lnTo>
                        <a:pt x="4884" y="1428"/>
                      </a:lnTo>
                      <a:lnTo>
                        <a:pt x="4902" y="1410"/>
                      </a:lnTo>
                      <a:lnTo>
                        <a:pt x="4920" y="1398"/>
                      </a:lnTo>
                      <a:lnTo>
                        <a:pt x="4944" y="1374"/>
                      </a:lnTo>
                      <a:lnTo>
                        <a:pt x="4950" y="1362"/>
                      </a:lnTo>
                      <a:lnTo>
                        <a:pt x="4956" y="1350"/>
                      </a:lnTo>
                      <a:lnTo>
                        <a:pt x="4950" y="1344"/>
                      </a:lnTo>
                      <a:lnTo>
                        <a:pt x="4944" y="1338"/>
                      </a:lnTo>
                      <a:lnTo>
                        <a:pt x="4938" y="1332"/>
                      </a:lnTo>
                      <a:lnTo>
                        <a:pt x="4926" y="1326"/>
                      </a:lnTo>
                      <a:lnTo>
                        <a:pt x="4920" y="1320"/>
                      </a:lnTo>
                      <a:lnTo>
                        <a:pt x="4914" y="1308"/>
                      </a:lnTo>
                      <a:lnTo>
                        <a:pt x="4914" y="1296"/>
                      </a:lnTo>
                      <a:lnTo>
                        <a:pt x="4920" y="1278"/>
                      </a:lnTo>
                      <a:lnTo>
                        <a:pt x="4932" y="1266"/>
                      </a:lnTo>
                      <a:lnTo>
                        <a:pt x="4950" y="1248"/>
                      </a:lnTo>
                      <a:lnTo>
                        <a:pt x="4968" y="1242"/>
                      </a:lnTo>
                      <a:lnTo>
                        <a:pt x="4980" y="1236"/>
                      </a:lnTo>
                      <a:lnTo>
                        <a:pt x="4980" y="1230"/>
                      </a:lnTo>
                      <a:lnTo>
                        <a:pt x="4980" y="1224"/>
                      </a:lnTo>
                      <a:lnTo>
                        <a:pt x="4974" y="1212"/>
                      </a:lnTo>
                      <a:lnTo>
                        <a:pt x="4974" y="1206"/>
                      </a:lnTo>
                      <a:lnTo>
                        <a:pt x="4968" y="1194"/>
                      </a:lnTo>
                      <a:lnTo>
                        <a:pt x="4974" y="1188"/>
                      </a:lnTo>
                      <a:lnTo>
                        <a:pt x="4974" y="1176"/>
                      </a:lnTo>
                      <a:lnTo>
                        <a:pt x="4974" y="1164"/>
                      </a:lnTo>
                      <a:lnTo>
                        <a:pt x="4968" y="1164"/>
                      </a:lnTo>
                      <a:lnTo>
                        <a:pt x="4956" y="1158"/>
                      </a:lnTo>
                      <a:lnTo>
                        <a:pt x="4944" y="1164"/>
                      </a:lnTo>
                      <a:lnTo>
                        <a:pt x="4932" y="1164"/>
                      </a:lnTo>
                      <a:lnTo>
                        <a:pt x="4920" y="1164"/>
                      </a:lnTo>
                      <a:lnTo>
                        <a:pt x="4908" y="1158"/>
                      </a:lnTo>
                      <a:lnTo>
                        <a:pt x="4902" y="1146"/>
                      </a:lnTo>
                      <a:lnTo>
                        <a:pt x="4890" y="1134"/>
                      </a:lnTo>
                      <a:lnTo>
                        <a:pt x="4866" y="1080"/>
                      </a:lnTo>
                      <a:lnTo>
                        <a:pt x="4830" y="1026"/>
                      </a:lnTo>
                      <a:lnTo>
                        <a:pt x="4824" y="1008"/>
                      </a:lnTo>
                      <a:lnTo>
                        <a:pt x="4818" y="996"/>
                      </a:lnTo>
                      <a:lnTo>
                        <a:pt x="4824" y="990"/>
                      </a:lnTo>
                      <a:lnTo>
                        <a:pt x="4830" y="984"/>
                      </a:lnTo>
                      <a:lnTo>
                        <a:pt x="4836" y="978"/>
                      </a:lnTo>
                      <a:lnTo>
                        <a:pt x="4854" y="978"/>
                      </a:lnTo>
                      <a:lnTo>
                        <a:pt x="4866" y="978"/>
                      </a:lnTo>
                      <a:lnTo>
                        <a:pt x="4884" y="966"/>
                      </a:lnTo>
                      <a:lnTo>
                        <a:pt x="4890" y="942"/>
                      </a:lnTo>
                      <a:lnTo>
                        <a:pt x="4896" y="906"/>
                      </a:lnTo>
                      <a:lnTo>
                        <a:pt x="4896" y="870"/>
                      </a:lnTo>
                      <a:lnTo>
                        <a:pt x="4896" y="840"/>
                      </a:lnTo>
                      <a:lnTo>
                        <a:pt x="4896" y="822"/>
                      </a:lnTo>
                      <a:lnTo>
                        <a:pt x="4908" y="810"/>
                      </a:lnTo>
                      <a:lnTo>
                        <a:pt x="4920" y="798"/>
                      </a:lnTo>
                      <a:lnTo>
                        <a:pt x="4938" y="786"/>
                      </a:lnTo>
                      <a:lnTo>
                        <a:pt x="4956" y="786"/>
                      </a:lnTo>
                      <a:lnTo>
                        <a:pt x="4980" y="780"/>
                      </a:lnTo>
                      <a:lnTo>
                        <a:pt x="4998" y="780"/>
                      </a:lnTo>
                      <a:lnTo>
                        <a:pt x="5010" y="774"/>
                      </a:lnTo>
                      <a:lnTo>
                        <a:pt x="5022" y="768"/>
                      </a:lnTo>
                      <a:lnTo>
                        <a:pt x="5028" y="756"/>
                      </a:lnTo>
                      <a:lnTo>
                        <a:pt x="5034" y="744"/>
                      </a:lnTo>
                      <a:lnTo>
                        <a:pt x="5040" y="732"/>
                      </a:lnTo>
                      <a:lnTo>
                        <a:pt x="5052" y="726"/>
                      </a:lnTo>
                      <a:lnTo>
                        <a:pt x="5064" y="720"/>
                      </a:lnTo>
                      <a:lnTo>
                        <a:pt x="5082" y="714"/>
                      </a:lnTo>
                      <a:lnTo>
                        <a:pt x="5106" y="708"/>
                      </a:lnTo>
                      <a:lnTo>
                        <a:pt x="5118" y="702"/>
                      </a:lnTo>
                      <a:lnTo>
                        <a:pt x="5130" y="708"/>
                      </a:lnTo>
                      <a:lnTo>
                        <a:pt x="5136" y="714"/>
                      </a:lnTo>
                      <a:lnTo>
                        <a:pt x="5142" y="720"/>
                      </a:lnTo>
                      <a:lnTo>
                        <a:pt x="5142" y="732"/>
                      </a:lnTo>
                      <a:lnTo>
                        <a:pt x="5142" y="744"/>
                      </a:lnTo>
                      <a:lnTo>
                        <a:pt x="5142" y="756"/>
                      </a:lnTo>
                      <a:lnTo>
                        <a:pt x="5136" y="768"/>
                      </a:lnTo>
                      <a:lnTo>
                        <a:pt x="5136" y="780"/>
                      </a:lnTo>
                      <a:lnTo>
                        <a:pt x="5142" y="786"/>
                      </a:lnTo>
                      <a:lnTo>
                        <a:pt x="5154" y="786"/>
                      </a:lnTo>
                      <a:lnTo>
                        <a:pt x="5160" y="786"/>
                      </a:lnTo>
                      <a:lnTo>
                        <a:pt x="5178" y="786"/>
                      </a:lnTo>
                      <a:lnTo>
                        <a:pt x="5190" y="786"/>
                      </a:lnTo>
                      <a:lnTo>
                        <a:pt x="5196" y="780"/>
                      </a:lnTo>
                      <a:lnTo>
                        <a:pt x="5202" y="780"/>
                      </a:lnTo>
                      <a:lnTo>
                        <a:pt x="5208" y="780"/>
                      </a:lnTo>
                      <a:lnTo>
                        <a:pt x="5208" y="786"/>
                      </a:lnTo>
                      <a:lnTo>
                        <a:pt x="5208" y="804"/>
                      </a:lnTo>
                      <a:lnTo>
                        <a:pt x="5202" y="828"/>
                      </a:lnTo>
                      <a:lnTo>
                        <a:pt x="5202" y="858"/>
                      </a:lnTo>
                      <a:lnTo>
                        <a:pt x="5202" y="882"/>
                      </a:lnTo>
                      <a:lnTo>
                        <a:pt x="5202" y="900"/>
                      </a:lnTo>
                      <a:lnTo>
                        <a:pt x="5202" y="912"/>
                      </a:lnTo>
                      <a:lnTo>
                        <a:pt x="5196" y="918"/>
                      </a:lnTo>
                      <a:lnTo>
                        <a:pt x="5184" y="924"/>
                      </a:lnTo>
                      <a:lnTo>
                        <a:pt x="5166" y="936"/>
                      </a:lnTo>
                      <a:lnTo>
                        <a:pt x="5160" y="942"/>
                      </a:lnTo>
                      <a:lnTo>
                        <a:pt x="5154" y="954"/>
                      </a:lnTo>
                      <a:lnTo>
                        <a:pt x="5154" y="960"/>
                      </a:lnTo>
                      <a:lnTo>
                        <a:pt x="5160" y="972"/>
                      </a:lnTo>
                      <a:lnTo>
                        <a:pt x="5166" y="984"/>
                      </a:lnTo>
                      <a:lnTo>
                        <a:pt x="5172" y="996"/>
                      </a:lnTo>
                      <a:lnTo>
                        <a:pt x="5184" y="1008"/>
                      </a:lnTo>
                      <a:lnTo>
                        <a:pt x="5196" y="1014"/>
                      </a:lnTo>
                      <a:lnTo>
                        <a:pt x="5214" y="1038"/>
                      </a:lnTo>
                      <a:lnTo>
                        <a:pt x="5232" y="1068"/>
                      </a:lnTo>
                      <a:lnTo>
                        <a:pt x="5244" y="1122"/>
                      </a:lnTo>
                      <a:lnTo>
                        <a:pt x="5244" y="1140"/>
                      </a:lnTo>
                      <a:lnTo>
                        <a:pt x="5238" y="1152"/>
                      </a:lnTo>
                      <a:lnTo>
                        <a:pt x="5238" y="1164"/>
                      </a:lnTo>
                      <a:lnTo>
                        <a:pt x="5226" y="1164"/>
                      </a:lnTo>
                      <a:lnTo>
                        <a:pt x="5220" y="1164"/>
                      </a:lnTo>
                      <a:lnTo>
                        <a:pt x="5208" y="1164"/>
                      </a:lnTo>
                      <a:lnTo>
                        <a:pt x="5196" y="1158"/>
                      </a:lnTo>
                      <a:lnTo>
                        <a:pt x="5184" y="1158"/>
                      </a:lnTo>
                      <a:lnTo>
                        <a:pt x="5172" y="1152"/>
                      </a:lnTo>
                      <a:lnTo>
                        <a:pt x="5160" y="1146"/>
                      </a:lnTo>
                      <a:lnTo>
                        <a:pt x="5148" y="1152"/>
                      </a:lnTo>
                      <a:lnTo>
                        <a:pt x="5136" y="1158"/>
                      </a:lnTo>
                      <a:lnTo>
                        <a:pt x="5130" y="1170"/>
                      </a:lnTo>
                      <a:lnTo>
                        <a:pt x="5130" y="1182"/>
                      </a:lnTo>
                      <a:lnTo>
                        <a:pt x="5130" y="1194"/>
                      </a:lnTo>
                      <a:lnTo>
                        <a:pt x="5142" y="1206"/>
                      </a:lnTo>
                      <a:lnTo>
                        <a:pt x="5154" y="1218"/>
                      </a:lnTo>
                      <a:lnTo>
                        <a:pt x="5166" y="1224"/>
                      </a:lnTo>
                      <a:lnTo>
                        <a:pt x="5184" y="1230"/>
                      </a:lnTo>
                      <a:lnTo>
                        <a:pt x="5202" y="1236"/>
                      </a:lnTo>
                      <a:lnTo>
                        <a:pt x="5214" y="1242"/>
                      </a:lnTo>
                      <a:lnTo>
                        <a:pt x="5226" y="1248"/>
                      </a:lnTo>
                      <a:lnTo>
                        <a:pt x="5232" y="1254"/>
                      </a:lnTo>
                      <a:lnTo>
                        <a:pt x="5238" y="1260"/>
                      </a:lnTo>
                      <a:lnTo>
                        <a:pt x="5238" y="1272"/>
                      </a:lnTo>
                      <a:lnTo>
                        <a:pt x="5244" y="1290"/>
                      </a:lnTo>
                      <a:lnTo>
                        <a:pt x="5244" y="1296"/>
                      </a:lnTo>
                      <a:lnTo>
                        <a:pt x="5244" y="1302"/>
                      </a:lnTo>
                      <a:lnTo>
                        <a:pt x="5232" y="1308"/>
                      </a:lnTo>
                      <a:lnTo>
                        <a:pt x="5220" y="1308"/>
                      </a:lnTo>
                      <a:lnTo>
                        <a:pt x="5208" y="1320"/>
                      </a:lnTo>
                      <a:lnTo>
                        <a:pt x="5202" y="1326"/>
                      </a:lnTo>
                      <a:lnTo>
                        <a:pt x="5202" y="1332"/>
                      </a:lnTo>
                      <a:lnTo>
                        <a:pt x="5208" y="1338"/>
                      </a:lnTo>
                      <a:lnTo>
                        <a:pt x="5220" y="1344"/>
                      </a:lnTo>
                      <a:lnTo>
                        <a:pt x="5226" y="1356"/>
                      </a:lnTo>
                      <a:lnTo>
                        <a:pt x="5226" y="1368"/>
                      </a:lnTo>
                      <a:lnTo>
                        <a:pt x="5220" y="1374"/>
                      </a:lnTo>
                      <a:lnTo>
                        <a:pt x="5214" y="1386"/>
                      </a:lnTo>
                      <a:lnTo>
                        <a:pt x="5208" y="1404"/>
                      </a:lnTo>
                      <a:lnTo>
                        <a:pt x="5202" y="1422"/>
                      </a:lnTo>
                      <a:lnTo>
                        <a:pt x="5190" y="1446"/>
                      </a:lnTo>
                      <a:lnTo>
                        <a:pt x="5190" y="1476"/>
                      </a:lnTo>
                      <a:lnTo>
                        <a:pt x="5214" y="1506"/>
                      </a:lnTo>
                      <a:lnTo>
                        <a:pt x="5226" y="1524"/>
                      </a:lnTo>
                      <a:lnTo>
                        <a:pt x="5238" y="1530"/>
                      </a:lnTo>
                      <a:lnTo>
                        <a:pt x="5244" y="1530"/>
                      </a:lnTo>
                      <a:lnTo>
                        <a:pt x="5250" y="1524"/>
                      </a:lnTo>
                      <a:lnTo>
                        <a:pt x="5256" y="1518"/>
                      </a:lnTo>
                      <a:lnTo>
                        <a:pt x="5262" y="1506"/>
                      </a:lnTo>
                      <a:lnTo>
                        <a:pt x="5262" y="1494"/>
                      </a:lnTo>
                      <a:lnTo>
                        <a:pt x="5262" y="1476"/>
                      </a:lnTo>
                      <a:lnTo>
                        <a:pt x="5262" y="1464"/>
                      </a:lnTo>
                      <a:lnTo>
                        <a:pt x="5268" y="1446"/>
                      </a:lnTo>
                      <a:lnTo>
                        <a:pt x="5274" y="1428"/>
                      </a:lnTo>
                      <a:lnTo>
                        <a:pt x="5286" y="1410"/>
                      </a:lnTo>
                      <a:lnTo>
                        <a:pt x="5304" y="1392"/>
                      </a:lnTo>
                      <a:lnTo>
                        <a:pt x="5322" y="1374"/>
                      </a:lnTo>
                      <a:lnTo>
                        <a:pt x="5340" y="1362"/>
                      </a:lnTo>
                      <a:lnTo>
                        <a:pt x="5352" y="1356"/>
                      </a:lnTo>
                      <a:lnTo>
                        <a:pt x="5364" y="1350"/>
                      </a:lnTo>
                      <a:lnTo>
                        <a:pt x="5376" y="1356"/>
                      </a:lnTo>
                      <a:lnTo>
                        <a:pt x="5388" y="1362"/>
                      </a:lnTo>
                      <a:lnTo>
                        <a:pt x="5400" y="1374"/>
                      </a:lnTo>
                      <a:lnTo>
                        <a:pt x="5412" y="1386"/>
                      </a:lnTo>
                      <a:lnTo>
                        <a:pt x="5430" y="1422"/>
                      </a:lnTo>
                      <a:lnTo>
                        <a:pt x="5430" y="1464"/>
                      </a:lnTo>
                      <a:lnTo>
                        <a:pt x="5424" y="1524"/>
                      </a:lnTo>
                      <a:lnTo>
                        <a:pt x="5418" y="1548"/>
                      </a:lnTo>
                      <a:lnTo>
                        <a:pt x="5412" y="1560"/>
                      </a:lnTo>
                      <a:lnTo>
                        <a:pt x="5406" y="1566"/>
                      </a:lnTo>
                      <a:lnTo>
                        <a:pt x="5406" y="1572"/>
                      </a:lnTo>
                      <a:lnTo>
                        <a:pt x="5400" y="1566"/>
                      </a:lnTo>
                      <a:lnTo>
                        <a:pt x="5394" y="1566"/>
                      </a:lnTo>
                      <a:lnTo>
                        <a:pt x="5388" y="1560"/>
                      </a:lnTo>
                      <a:lnTo>
                        <a:pt x="5376" y="1554"/>
                      </a:lnTo>
                      <a:lnTo>
                        <a:pt x="5364" y="1548"/>
                      </a:lnTo>
                      <a:lnTo>
                        <a:pt x="5352" y="1542"/>
                      </a:lnTo>
                      <a:lnTo>
                        <a:pt x="5340" y="1548"/>
                      </a:lnTo>
                      <a:lnTo>
                        <a:pt x="5340" y="1554"/>
                      </a:lnTo>
                      <a:lnTo>
                        <a:pt x="5340" y="1560"/>
                      </a:lnTo>
                      <a:lnTo>
                        <a:pt x="5346" y="1572"/>
                      </a:lnTo>
                      <a:lnTo>
                        <a:pt x="5352" y="1590"/>
                      </a:lnTo>
                      <a:lnTo>
                        <a:pt x="5358" y="1602"/>
                      </a:lnTo>
                      <a:lnTo>
                        <a:pt x="5364" y="1620"/>
                      </a:lnTo>
                      <a:lnTo>
                        <a:pt x="5376" y="1638"/>
                      </a:lnTo>
                      <a:lnTo>
                        <a:pt x="5382" y="1650"/>
                      </a:lnTo>
                      <a:lnTo>
                        <a:pt x="5388" y="1662"/>
                      </a:lnTo>
                      <a:lnTo>
                        <a:pt x="5388" y="1668"/>
                      </a:lnTo>
                      <a:lnTo>
                        <a:pt x="5388" y="1680"/>
                      </a:lnTo>
                      <a:lnTo>
                        <a:pt x="5388" y="1698"/>
                      </a:lnTo>
                      <a:lnTo>
                        <a:pt x="5388" y="1722"/>
                      </a:lnTo>
                      <a:lnTo>
                        <a:pt x="5388" y="1734"/>
                      </a:lnTo>
                      <a:lnTo>
                        <a:pt x="5394" y="1740"/>
                      </a:lnTo>
                      <a:lnTo>
                        <a:pt x="5406" y="1740"/>
                      </a:lnTo>
                      <a:lnTo>
                        <a:pt x="5418" y="1734"/>
                      </a:lnTo>
                      <a:lnTo>
                        <a:pt x="5436" y="1728"/>
                      </a:lnTo>
                      <a:lnTo>
                        <a:pt x="5454" y="1722"/>
                      </a:lnTo>
                      <a:lnTo>
                        <a:pt x="5466" y="1716"/>
                      </a:lnTo>
                      <a:lnTo>
                        <a:pt x="5478" y="1710"/>
                      </a:lnTo>
                      <a:lnTo>
                        <a:pt x="5484" y="1698"/>
                      </a:lnTo>
                      <a:lnTo>
                        <a:pt x="5490" y="1686"/>
                      </a:lnTo>
                      <a:lnTo>
                        <a:pt x="5496" y="1668"/>
                      </a:lnTo>
                      <a:lnTo>
                        <a:pt x="5496" y="1650"/>
                      </a:lnTo>
                      <a:lnTo>
                        <a:pt x="5502" y="1632"/>
                      </a:lnTo>
                      <a:lnTo>
                        <a:pt x="5508" y="1626"/>
                      </a:lnTo>
                      <a:lnTo>
                        <a:pt x="5526" y="1626"/>
                      </a:lnTo>
                      <a:lnTo>
                        <a:pt x="5550" y="1620"/>
                      </a:lnTo>
                      <a:lnTo>
                        <a:pt x="5562" y="1620"/>
                      </a:lnTo>
                      <a:lnTo>
                        <a:pt x="5574" y="1614"/>
                      </a:lnTo>
                      <a:lnTo>
                        <a:pt x="5586" y="1608"/>
                      </a:lnTo>
                      <a:lnTo>
                        <a:pt x="5592" y="1596"/>
                      </a:lnTo>
                      <a:lnTo>
                        <a:pt x="5604" y="1584"/>
                      </a:lnTo>
                      <a:lnTo>
                        <a:pt x="5604" y="1572"/>
                      </a:lnTo>
                      <a:lnTo>
                        <a:pt x="5610" y="1554"/>
                      </a:lnTo>
                      <a:lnTo>
                        <a:pt x="5622" y="1542"/>
                      </a:lnTo>
                      <a:lnTo>
                        <a:pt x="5634" y="1530"/>
                      </a:lnTo>
                      <a:lnTo>
                        <a:pt x="5652" y="1512"/>
                      </a:lnTo>
                      <a:lnTo>
                        <a:pt x="5670" y="1500"/>
                      </a:lnTo>
                      <a:lnTo>
                        <a:pt x="5700" y="1488"/>
                      </a:lnTo>
                      <a:lnTo>
                        <a:pt x="5724" y="1464"/>
                      </a:lnTo>
                      <a:lnTo>
                        <a:pt x="5736" y="1428"/>
                      </a:lnTo>
                      <a:lnTo>
                        <a:pt x="5742" y="1386"/>
                      </a:lnTo>
                      <a:lnTo>
                        <a:pt x="5742" y="1350"/>
                      </a:lnTo>
                      <a:lnTo>
                        <a:pt x="5742" y="1320"/>
                      </a:lnTo>
                      <a:lnTo>
                        <a:pt x="5748" y="1308"/>
                      </a:lnTo>
                      <a:lnTo>
                        <a:pt x="5760" y="1302"/>
                      </a:lnTo>
                      <a:lnTo>
                        <a:pt x="5778" y="1302"/>
                      </a:lnTo>
                      <a:lnTo>
                        <a:pt x="5790" y="1302"/>
                      </a:lnTo>
                      <a:lnTo>
                        <a:pt x="5802" y="1302"/>
                      </a:lnTo>
                      <a:lnTo>
                        <a:pt x="5814" y="1308"/>
                      </a:lnTo>
                      <a:lnTo>
                        <a:pt x="5826" y="1314"/>
                      </a:lnTo>
                      <a:lnTo>
                        <a:pt x="5826" y="1320"/>
                      </a:lnTo>
                      <a:lnTo>
                        <a:pt x="5832" y="1332"/>
                      </a:lnTo>
                      <a:lnTo>
                        <a:pt x="5838" y="1338"/>
                      </a:lnTo>
                      <a:lnTo>
                        <a:pt x="5850" y="1344"/>
                      </a:lnTo>
                      <a:lnTo>
                        <a:pt x="5868" y="1344"/>
                      </a:lnTo>
                      <a:lnTo>
                        <a:pt x="5880" y="1350"/>
                      </a:lnTo>
                      <a:lnTo>
                        <a:pt x="5898" y="1356"/>
                      </a:lnTo>
                      <a:lnTo>
                        <a:pt x="5910" y="1368"/>
                      </a:lnTo>
                      <a:lnTo>
                        <a:pt x="5922" y="1392"/>
                      </a:lnTo>
                      <a:lnTo>
                        <a:pt x="5928" y="1410"/>
                      </a:lnTo>
                      <a:lnTo>
                        <a:pt x="5928" y="1422"/>
                      </a:lnTo>
                      <a:lnTo>
                        <a:pt x="5934" y="1434"/>
                      </a:lnTo>
                      <a:lnTo>
                        <a:pt x="5940" y="1446"/>
                      </a:lnTo>
                      <a:lnTo>
                        <a:pt x="5952" y="1452"/>
                      </a:lnTo>
                      <a:lnTo>
                        <a:pt x="5970" y="1458"/>
                      </a:lnTo>
                      <a:lnTo>
                        <a:pt x="5982" y="1458"/>
                      </a:lnTo>
                      <a:lnTo>
                        <a:pt x="5988" y="1464"/>
                      </a:lnTo>
                      <a:lnTo>
                        <a:pt x="5994" y="1470"/>
                      </a:lnTo>
                      <a:lnTo>
                        <a:pt x="6000" y="1482"/>
                      </a:lnTo>
                      <a:lnTo>
                        <a:pt x="6000" y="1500"/>
                      </a:lnTo>
                      <a:lnTo>
                        <a:pt x="6000" y="1524"/>
                      </a:lnTo>
                      <a:lnTo>
                        <a:pt x="6000" y="1548"/>
                      </a:lnTo>
                      <a:lnTo>
                        <a:pt x="6000" y="1566"/>
                      </a:lnTo>
                      <a:lnTo>
                        <a:pt x="5988" y="1584"/>
                      </a:lnTo>
                      <a:lnTo>
                        <a:pt x="5976" y="1590"/>
                      </a:lnTo>
                      <a:lnTo>
                        <a:pt x="5958" y="1602"/>
                      </a:lnTo>
                      <a:lnTo>
                        <a:pt x="5928" y="1602"/>
                      </a:lnTo>
                      <a:lnTo>
                        <a:pt x="5898" y="1614"/>
                      </a:lnTo>
                      <a:lnTo>
                        <a:pt x="5886" y="1644"/>
                      </a:lnTo>
                      <a:lnTo>
                        <a:pt x="5880" y="1680"/>
                      </a:lnTo>
                      <a:lnTo>
                        <a:pt x="5880" y="1722"/>
                      </a:lnTo>
                      <a:lnTo>
                        <a:pt x="5886" y="1764"/>
                      </a:lnTo>
                      <a:lnTo>
                        <a:pt x="5886" y="1806"/>
                      </a:lnTo>
                      <a:lnTo>
                        <a:pt x="5886" y="1848"/>
                      </a:lnTo>
                      <a:lnTo>
                        <a:pt x="5880" y="1878"/>
                      </a:lnTo>
                      <a:lnTo>
                        <a:pt x="5862" y="1896"/>
                      </a:lnTo>
                      <a:lnTo>
                        <a:pt x="5844" y="1902"/>
                      </a:lnTo>
                      <a:lnTo>
                        <a:pt x="5826" y="1902"/>
                      </a:lnTo>
                      <a:lnTo>
                        <a:pt x="5814" y="1896"/>
                      </a:lnTo>
                      <a:lnTo>
                        <a:pt x="5802" y="1890"/>
                      </a:lnTo>
                      <a:lnTo>
                        <a:pt x="5790" y="1884"/>
                      </a:lnTo>
                      <a:lnTo>
                        <a:pt x="5784" y="1884"/>
                      </a:lnTo>
                      <a:lnTo>
                        <a:pt x="5778" y="1890"/>
                      </a:lnTo>
                      <a:lnTo>
                        <a:pt x="5772" y="1902"/>
                      </a:lnTo>
                      <a:lnTo>
                        <a:pt x="5766" y="1908"/>
                      </a:lnTo>
                      <a:lnTo>
                        <a:pt x="5766" y="1920"/>
                      </a:lnTo>
                      <a:lnTo>
                        <a:pt x="5760" y="1932"/>
                      </a:lnTo>
                      <a:lnTo>
                        <a:pt x="5754" y="1944"/>
                      </a:lnTo>
                      <a:lnTo>
                        <a:pt x="5742" y="1950"/>
                      </a:lnTo>
                      <a:lnTo>
                        <a:pt x="5730" y="1956"/>
                      </a:lnTo>
                      <a:lnTo>
                        <a:pt x="5712" y="1962"/>
                      </a:lnTo>
                      <a:lnTo>
                        <a:pt x="5682" y="1956"/>
                      </a:lnTo>
                      <a:lnTo>
                        <a:pt x="5664" y="1938"/>
                      </a:lnTo>
                      <a:lnTo>
                        <a:pt x="5646" y="1914"/>
                      </a:lnTo>
                      <a:lnTo>
                        <a:pt x="5628" y="1884"/>
                      </a:lnTo>
                      <a:lnTo>
                        <a:pt x="5604" y="1860"/>
                      </a:lnTo>
                      <a:lnTo>
                        <a:pt x="5586" y="1848"/>
                      </a:lnTo>
                      <a:lnTo>
                        <a:pt x="5574" y="1842"/>
                      </a:lnTo>
                      <a:lnTo>
                        <a:pt x="5562" y="1842"/>
                      </a:lnTo>
                      <a:lnTo>
                        <a:pt x="5556" y="1848"/>
                      </a:lnTo>
                      <a:lnTo>
                        <a:pt x="5556" y="1854"/>
                      </a:lnTo>
                      <a:lnTo>
                        <a:pt x="5550" y="1860"/>
                      </a:lnTo>
                      <a:lnTo>
                        <a:pt x="5556" y="1872"/>
                      </a:lnTo>
                      <a:lnTo>
                        <a:pt x="5562" y="1878"/>
                      </a:lnTo>
                      <a:lnTo>
                        <a:pt x="5568" y="1902"/>
                      </a:lnTo>
                      <a:lnTo>
                        <a:pt x="5580" y="1920"/>
                      </a:lnTo>
                      <a:lnTo>
                        <a:pt x="5592" y="1938"/>
                      </a:lnTo>
                      <a:lnTo>
                        <a:pt x="5610" y="1956"/>
                      </a:lnTo>
                      <a:lnTo>
                        <a:pt x="5616" y="1974"/>
                      </a:lnTo>
                      <a:lnTo>
                        <a:pt x="5610" y="1986"/>
                      </a:lnTo>
                      <a:lnTo>
                        <a:pt x="5604" y="1992"/>
                      </a:lnTo>
                      <a:lnTo>
                        <a:pt x="5592" y="1998"/>
                      </a:lnTo>
                      <a:lnTo>
                        <a:pt x="5580" y="1998"/>
                      </a:lnTo>
                      <a:lnTo>
                        <a:pt x="5568" y="1992"/>
                      </a:lnTo>
                      <a:lnTo>
                        <a:pt x="5556" y="1986"/>
                      </a:lnTo>
                      <a:lnTo>
                        <a:pt x="5538" y="1980"/>
                      </a:lnTo>
                      <a:lnTo>
                        <a:pt x="5526" y="1974"/>
                      </a:lnTo>
                      <a:lnTo>
                        <a:pt x="5508" y="1974"/>
                      </a:lnTo>
                      <a:lnTo>
                        <a:pt x="5490" y="1974"/>
                      </a:lnTo>
                      <a:lnTo>
                        <a:pt x="5472" y="1974"/>
                      </a:lnTo>
                      <a:lnTo>
                        <a:pt x="5466" y="1974"/>
                      </a:lnTo>
                      <a:lnTo>
                        <a:pt x="5460" y="1968"/>
                      </a:lnTo>
                      <a:lnTo>
                        <a:pt x="5454" y="1956"/>
                      </a:lnTo>
                      <a:lnTo>
                        <a:pt x="5448" y="1938"/>
                      </a:lnTo>
                      <a:lnTo>
                        <a:pt x="5442" y="1914"/>
                      </a:lnTo>
                      <a:lnTo>
                        <a:pt x="5430" y="1896"/>
                      </a:lnTo>
                      <a:lnTo>
                        <a:pt x="5418" y="1884"/>
                      </a:lnTo>
                      <a:lnTo>
                        <a:pt x="5406" y="1884"/>
                      </a:lnTo>
                      <a:lnTo>
                        <a:pt x="5394" y="1884"/>
                      </a:lnTo>
                      <a:lnTo>
                        <a:pt x="5382" y="1890"/>
                      </a:lnTo>
                      <a:lnTo>
                        <a:pt x="5376" y="1902"/>
                      </a:lnTo>
                      <a:lnTo>
                        <a:pt x="5358" y="1938"/>
                      </a:lnTo>
                      <a:lnTo>
                        <a:pt x="5340" y="1986"/>
                      </a:lnTo>
                      <a:lnTo>
                        <a:pt x="5316" y="2028"/>
                      </a:lnTo>
                      <a:lnTo>
                        <a:pt x="5298" y="2046"/>
                      </a:lnTo>
                      <a:lnTo>
                        <a:pt x="5274" y="2052"/>
                      </a:lnTo>
                      <a:lnTo>
                        <a:pt x="5244" y="2052"/>
                      </a:lnTo>
                      <a:lnTo>
                        <a:pt x="5220" y="2052"/>
                      </a:lnTo>
                      <a:lnTo>
                        <a:pt x="5196" y="2064"/>
                      </a:lnTo>
                      <a:lnTo>
                        <a:pt x="5178" y="2058"/>
                      </a:lnTo>
                      <a:lnTo>
                        <a:pt x="5154" y="2046"/>
                      </a:lnTo>
                      <a:lnTo>
                        <a:pt x="5130" y="2028"/>
                      </a:lnTo>
                      <a:lnTo>
                        <a:pt x="5100" y="1998"/>
                      </a:lnTo>
                      <a:lnTo>
                        <a:pt x="5064" y="1980"/>
                      </a:lnTo>
                      <a:lnTo>
                        <a:pt x="5016" y="1956"/>
                      </a:lnTo>
                      <a:lnTo>
                        <a:pt x="5004" y="1956"/>
                      </a:lnTo>
                      <a:lnTo>
                        <a:pt x="4992" y="1956"/>
                      </a:lnTo>
                      <a:lnTo>
                        <a:pt x="4992" y="1956"/>
                      </a:lnTo>
                      <a:lnTo>
                        <a:pt x="4992" y="1968"/>
                      </a:lnTo>
                      <a:lnTo>
                        <a:pt x="4992" y="1974"/>
                      </a:lnTo>
                      <a:lnTo>
                        <a:pt x="4998" y="1986"/>
                      </a:lnTo>
                      <a:lnTo>
                        <a:pt x="5004" y="1998"/>
                      </a:lnTo>
                      <a:lnTo>
                        <a:pt x="5016" y="2010"/>
                      </a:lnTo>
                      <a:lnTo>
                        <a:pt x="5028" y="2028"/>
                      </a:lnTo>
                      <a:lnTo>
                        <a:pt x="5040" y="2034"/>
                      </a:lnTo>
                      <a:lnTo>
                        <a:pt x="5064" y="2070"/>
                      </a:lnTo>
                      <a:lnTo>
                        <a:pt x="5100" y="2100"/>
                      </a:lnTo>
                      <a:lnTo>
                        <a:pt x="5136" y="2124"/>
                      </a:lnTo>
                      <a:lnTo>
                        <a:pt x="5184" y="2130"/>
                      </a:lnTo>
                      <a:lnTo>
                        <a:pt x="5202" y="2124"/>
                      </a:lnTo>
                      <a:lnTo>
                        <a:pt x="5220" y="2124"/>
                      </a:lnTo>
                      <a:lnTo>
                        <a:pt x="5226" y="2130"/>
                      </a:lnTo>
                      <a:lnTo>
                        <a:pt x="5232" y="2136"/>
                      </a:lnTo>
                      <a:lnTo>
                        <a:pt x="5232" y="2142"/>
                      </a:lnTo>
                      <a:lnTo>
                        <a:pt x="5226" y="2154"/>
                      </a:lnTo>
                      <a:lnTo>
                        <a:pt x="5220" y="2160"/>
                      </a:lnTo>
                      <a:lnTo>
                        <a:pt x="5208" y="2172"/>
                      </a:lnTo>
                      <a:lnTo>
                        <a:pt x="5190" y="2178"/>
                      </a:lnTo>
                      <a:lnTo>
                        <a:pt x="5166" y="2190"/>
                      </a:lnTo>
                      <a:lnTo>
                        <a:pt x="5154" y="2202"/>
                      </a:lnTo>
                      <a:lnTo>
                        <a:pt x="5142" y="2208"/>
                      </a:lnTo>
                      <a:lnTo>
                        <a:pt x="5130" y="2220"/>
                      </a:lnTo>
                      <a:lnTo>
                        <a:pt x="5124" y="2238"/>
                      </a:lnTo>
                      <a:lnTo>
                        <a:pt x="5124" y="2256"/>
                      </a:lnTo>
                      <a:lnTo>
                        <a:pt x="5112" y="2280"/>
                      </a:lnTo>
                      <a:lnTo>
                        <a:pt x="5082" y="2298"/>
                      </a:lnTo>
                      <a:lnTo>
                        <a:pt x="5040" y="2310"/>
                      </a:lnTo>
                      <a:lnTo>
                        <a:pt x="4998" y="2304"/>
                      </a:lnTo>
                      <a:lnTo>
                        <a:pt x="4938" y="2304"/>
                      </a:lnTo>
                      <a:lnTo>
                        <a:pt x="4890" y="2310"/>
                      </a:lnTo>
                      <a:lnTo>
                        <a:pt x="4854" y="2334"/>
                      </a:lnTo>
                      <a:lnTo>
                        <a:pt x="4836" y="2346"/>
                      </a:lnTo>
                      <a:lnTo>
                        <a:pt x="4818" y="2352"/>
                      </a:lnTo>
                      <a:lnTo>
                        <a:pt x="4806" y="2352"/>
                      </a:lnTo>
                      <a:lnTo>
                        <a:pt x="4794" y="2346"/>
                      </a:lnTo>
                      <a:lnTo>
                        <a:pt x="4782" y="2340"/>
                      </a:lnTo>
                      <a:lnTo>
                        <a:pt x="4776" y="2328"/>
                      </a:lnTo>
                      <a:lnTo>
                        <a:pt x="4764" y="2316"/>
                      </a:lnTo>
                      <a:lnTo>
                        <a:pt x="4716" y="2280"/>
                      </a:lnTo>
                      <a:lnTo>
                        <a:pt x="4656" y="2244"/>
                      </a:lnTo>
                      <a:lnTo>
                        <a:pt x="4632" y="2226"/>
                      </a:lnTo>
                      <a:lnTo>
                        <a:pt x="4608" y="2214"/>
                      </a:lnTo>
                      <a:lnTo>
                        <a:pt x="4590" y="2196"/>
                      </a:lnTo>
                      <a:lnTo>
                        <a:pt x="4572" y="2184"/>
                      </a:lnTo>
                      <a:lnTo>
                        <a:pt x="4518" y="2160"/>
                      </a:lnTo>
                      <a:lnTo>
                        <a:pt x="4452" y="2148"/>
                      </a:lnTo>
                      <a:lnTo>
                        <a:pt x="4434" y="2148"/>
                      </a:lnTo>
                      <a:lnTo>
                        <a:pt x="4422" y="2154"/>
                      </a:lnTo>
                      <a:lnTo>
                        <a:pt x="4410" y="2160"/>
                      </a:lnTo>
                      <a:lnTo>
                        <a:pt x="4404" y="2172"/>
                      </a:lnTo>
                      <a:lnTo>
                        <a:pt x="4404" y="2178"/>
                      </a:lnTo>
                      <a:lnTo>
                        <a:pt x="4410" y="2190"/>
                      </a:lnTo>
                      <a:lnTo>
                        <a:pt x="4422" y="2196"/>
                      </a:lnTo>
                      <a:lnTo>
                        <a:pt x="4446" y="2208"/>
                      </a:lnTo>
                      <a:lnTo>
                        <a:pt x="4458" y="2214"/>
                      </a:lnTo>
                      <a:lnTo>
                        <a:pt x="4476" y="2220"/>
                      </a:lnTo>
                      <a:lnTo>
                        <a:pt x="4482" y="2220"/>
                      </a:lnTo>
                      <a:lnTo>
                        <a:pt x="4488" y="2220"/>
                      </a:lnTo>
                      <a:lnTo>
                        <a:pt x="4506" y="2226"/>
                      </a:lnTo>
                      <a:lnTo>
                        <a:pt x="4536" y="2232"/>
                      </a:lnTo>
                      <a:lnTo>
                        <a:pt x="4566" y="2244"/>
                      </a:lnTo>
                      <a:lnTo>
                        <a:pt x="4596" y="2268"/>
                      </a:lnTo>
                      <a:lnTo>
                        <a:pt x="4632" y="2304"/>
                      </a:lnTo>
                      <a:lnTo>
                        <a:pt x="4662" y="2328"/>
                      </a:lnTo>
                      <a:lnTo>
                        <a:pt x="4698" y="2340"/>
                      </a:lnTo>
                      <a:lnTo>
                        <a:pt x="4716" y="2364"/>
                      </a:lnTo>
                      <a:lnTo>
                        <a:pt x="4734" y="2388"/>
                      </a:lnTo>
                      <a:lnTo>
                        <a:pt x="4746" y="2424"/>
                      </a:lnTo>
                      <a:lnTo>
                        <a:pt x="4752" y="2442"/>
                      </a:lnTo>
                      <a:lnTo>
                        <a:pt x="4752" y="2454"/>
                      </a:lnTo>
                      <a:lnTo>
                        <a:pt x="4740" y="2460"/>
                      </a:lnTo>
                      <a:lnTo>
                        <a:pt x="4722" y="2466"/>
                      </a:lnTo>
                      <a:lnTo>
                        <a:pt x="4704" y="2472"/>
                      </a:lnTo>
                      <a:lnTo>
                        <a:pt x="4686" y="2478"/>
                      </a:lnTo>
                      <a:lnTo>
                        <a:pt x="4668" y="2478"/>
                      </a:lnTo>
                      <a:lnTo>
                        <a:pt x="4650" y="2484"/>
                      </a:lnTo>
                      <a:lnTo>
                        <a:pt x="4632" y="2484"/>
                      </a:lnTo>
                      <a:lnTo>
                        <a:pt x="4614" y="2484"/>
                      </a:lnTo>
                      <a:lnTo>
                        <a:pt x="4602" y="2490"/>
                      </a:lnTo>
                      <a:lnTo>
                        <a:pt x="4590" y="2496"/>
                      </a:lnTo>
                      <a:lnTo>
                        <a:pt x="4578" y="2508"/>
                      </a:lnTo>
                      <a:lnTo>
                        <a:pt x="4578" y="2520"/>
                      </a:lnTo>
                      <a:lnTo>
                        <a:pt x="4566" y="2550"/>
                      </a:lnTo>
                      <a:lnTo>
                        <a:pt x="4542" y="2568"/>
                      </a:lnTo>
                      <a:lnTo>
                        <a:pt x="4512" y="2580"/>
                      </a:lnTo>
                      <a:lnTo>
                        <a:pt x="4482" y="2592"/>
                      </a:lnTo>
                      <a:lnTo>
                        <a:pt x="4458" y="2604"/>
                      </a:lnTo>
                      <a:lnTo>
                        <a:pt x="4440" y="2616"/>
                      </a:lnTo>
                      <a:lnTo>
                        <a:pt x="4422" y="2634"/>
                      </a:lnTo>
                      <a:lnTo>
                        <a:pt x="4416" y="2652"/>
                      </a:lnTo>
                      <a:lnTo>
                        <a:pt x="4404" y="2682"/>
                      </a:lnTo>
                      <a:lnTo>
                        <a:pt x="4398" y="2700"/>
                      </a:lnTo>
                      <a:lnTo>
                        <a:pt x="4386" y="2718"/>
                      </a:lnTo>
                      <a:lnTo>
                        <a:pt x="4374" y="2730"/>
                      </a:lnTo>
                      <a:lnTo>
                        <a:pt x="4356" y="2736"/>
                      </a:lnTo>
                      <a:lnTo>
                        <a:pt x="4338" y="2748"/>
                      </a:lnTo>
                      <a:lnTo>
                        <a:pt x="4320" y="2754"/>
                      </a:lnTo>
                      <a:lnTo>
                        <a:pt x="4296" y="2766"/>
                      </a:lnTo>
                      <a:lnTo>
                        <a:pt x="4278" y="2778"/>
                      </a:lnTo>
                      <a:lnTo>
                        <a:pt x="4266" y="2790"/>
                      </a:lnTo>
                      <a:lnTo>
                        <a:pt x="4254" y="2802"/>
                      </a:lnTo>
                      <a:lnTo>
                        <a:pt x="4248" y="2820"/>
                      </a:lnTo>
                      <a:lnTo>
                        <a:pt x="4230" y="2850"/>
                      </a:lnTo>
                      <a:lnTo>
                        <a:pt x="4206" y="2892"/>
                      </a:lnTo>
                      <a:lnTo>
                        <a:pt x="4188" y="2946"/>
                      </a:lnTo>
                      <a:lnTo>
                        <a:pt x="4170" y="2994"/>
                      </a:lnTo>
                      <a:lnTo>
                        <a:pt x="4170" y="3036"/>
                      </a:lnTo>
                      <a:lnTo>
                        <a:pt x="4170" y="3066"/>
                      </a:lnTo>
                      <a:lnTo>
                        <a:pt x="4164" y="3090"/>
                      </a:lnTo>
                      <a:lnTo>
                        <a:pt x="4158" y="3108"/>
                      </a:lnTo>
                      <a:lnTo>
                        <a:pt x="4140" y="3138"/>
                      </a:lnTo>
                      <a:lnTo>
                        <a:pt x="4122" y="3156"/>
                      </a:lnTo>
                      <a:lnTo>
                        <a:pt x="4116" y="3174"/>
                      </a:lnTo>
                      <a:lnTo>
                        <a:pt x="4116" y="3186"/>
                      </a:lnTo>
                      <a:lnTo>
                        <a:pt x="4122" y="3186"/>
                      </a:lnTo>
                      <a:lnTo>
                        <a:pt x="4134" y="3186"/>
                      </a:lnTo>
                      <a:lnTo>
                        <a:pt x="4146" y="3180"/>
                      </a:lnTo>
                      <a:lnTo>
                        <a:pt x="4158" y="3180"/>
                      </a:lnTo>
                      <a:lnTo>
                        <a:pt x="4170" y="3174"/>
                      </a:lnTo>
                      <a:lnTo>
                        <a:pt x="4176" y="3174"/>
                      </a:lnTo>
                      <a:lnTo>
                        <a:pt x="4182" y="3174"/>
                      </a:lnTo>
                      <a:lnTo>
                        <a:pt x="4194" y="3180"/>
                      </a:lnTo>
                      <a:lnTo>
                        <a:pt x="4212" y="3180"/>
                      </a:lnTo>
                      <a:lnTo>
                        <a:pt x="4230" y="3180"/>
                      </a:lnTo>
                      <a:lnTo>
                        <a:pt x="4254" y="3186"/>
                      </a:lnTo>
                      <a:lnTo>
                        <a:pt x="4266" y="3210"/>
                      </a:lnTo>
                      <a:lnTo>
                        <a:pt x="4266" y="3234"/>
                      </a:lnTo>
                      <a:lnTo>
                        <a:pt x="4254" y="3264"/>
                      </a:lnTo>
                      <a:lnTo>
                        <a:pt x="4248" y="3300"/>
                      </a:lnTo>
                      <a:lnTo>
                        <a:pt x="4242" y="3348"/>
                      </a:lnTo>
                      <a:lnTo>
                        <a:pt x="4248" y="3402"/>
                      </a:lnTo>
                      <a:lnTo>
                        <a:pt x="4242" y="3450"/>
                      </a:lnTo>
                      <a:lnTo>
                        <a:pt x="4236" y="3468"/>
                      </a:lnTo>
                      <a:lnTo>
                        <a:pt x="4236" y="3480"/>
                      </a:lnTo>
                      <a:lnTo>
                        <a:pt x="4242" y="3486"/>
                      </a:lnTo>
                      <a:lnTo>
                        <a:pt x="4248" y="3486"/>
                      </a:lnTo>
                      <a:lnTo>
                        <a:pt x="4260" y="3486"/>
                      </a:lnTo>
                      <a:lnTo>
                        <a:pt x="4278" y="3486"/>
                      </a:lnTo>
                      <a:lnTo>
                        <a:pt x="4290" y="3480"/>
                      </a:lnTo>
                      <a:lnTo>
                        <a:pt x="4308" y="3480"/>
                      </a:lnTo>
                      <a:lnTo>
                        <a:pt x="4350" y="3480"/>
                      </a:lnTo>
                      <a:lnTo>
                        <a:pt x="4392" y="3498"/>
                      </a:lnTo>
                      <a:lnTo>
                        <a:pt x="4434" y="3522"/>
                      </a:lnTo>
                      <a:lnTo>
                        <a:pt x="4482" y="3552"/>
                      </a:lnTo>
                      <a:lnTo>
                        <a:pt x="4524" y="3582"/>
                      </a:lnTo>
                      <a:lnTo>
                        <a:pt x="4566" y="3618"/>
                      </a:lnTo>
                      <a:lnTo>
                        <a:pt x="4578" y="3636"/>
                      </a:lnTo>
                      <a:lnTo>
                        <a:pt x="4584" y="3648"/>
                      </a:lnTo>
                      <a:lnTo>
                        <a:pt x="4590" y="3660"/>
                      </a:lnTo>
                      <a:lnTo>
                        <a:pt x="4590" y="3672"/>
                      </a:lnTo>
                      <a:lnTo>
                        <a:pt x="4590" y="3678"/>
                      </a:lnTo>
                      <a:lnTo>
                        <a:pt x="4590" y="3690"/>
                      </a:lnTo>
                      <a:lnTo>
                        <a:pt x="4590" y="3696"/>
                      </a:lnTo>
                      <a:lnTo>
                        <a:pt x="4596" y="3702"/>
                      </a:lnTo>
                      <a:lnTo>
                        <a:pt x="4614" y="3714"/>
                      </a:lnTo>
                      <a:lnTo>
                        <a:pt x="4638" y="3726"/>
                      </a:lnTo>
                      <a:lnTo>
                        <a:pt x="4662" y="3732"/>
                      </a:lnTo>
                      <a:lnTo>
                        <a:pt x="4686" y="3738"/>
                      </a:lnTo>
                      <a:lnTo>
                        <a:pt x="4698" y="3744"/>
                      </a:lnTo>
                      <a:lnTo>
                        <a:pt x="4710" y="3750"/>
                      </a:lnTo>
                      <a:lnTo>
                        <a:pt x="4716" y="3768"/>
                      </a:lnTo>
                      <a:lnTo>
                        <a:pt x="4728" y="3786"/>
                      </a:lnTo>
                      <a:lnTo>
                        <a:pt x="4740" y="3804"/>
                      </a:lnTo>
                      <a:lnTo>
                        <a:pt x="4752" y="3816"/>
                      </a:lnTo>
                      <a:lnTo>
                        <a:pt x="4758" y="3834"/>
                      </a:lnTo>
                      <a:lnTo>
                        <a:pt x="4770" y="3840"/>
                      </a:lnTo>
                      <a:lnTo>
                        <a:pt x="4782" y="3846"/>
                      </a:lnTo>
                      <a:lnTo>
                        <a:pt x="4794" y="3852"/>
                      </a:lnTo>
                      <a:lnTo>
                        <a:pt x="4800" y="3858"/>
                      </a:lnTo>
                      <a:lnTo>
                        <a:pt x="4800" y="3864"/>
                      </a:lnTo>
                      <a:lnTo>
                        <a:pt x="4800" y="3876"/>
                      </a:lnTo>
                      <a:lnTo>
                        <a:pt x="4800" y="3888"/>
                      </a:lnTo>
                      <a:lnTo>
                        <a:pt x="4800" y="3894"/>
                      </a:lnTo>
                      <a:lnTo>
                        <a:pt x="4806" y="3894"/>
                      </a:lnTo>
                      <a:lnTo>
                        <a:pt x="4812" y="3894"/>
                      </a:lnTo>
                      <a:lnTo>
                        <a:pt x="4824" y="3894"/>
                      </a:lnTo>
                      <a:lnTo>
                        <a:pt x="4830" y="3888"/>
                      </a:lnTo>
                      <a:lnTo>
                        <a:pt x="4836" y="3882"/>
                      </a:lnTo>
                      <a:lnTo>
                        <a:pt x="4842" y="3882"/>
                      </a:lnTo>
                      <a:lnTo>
                        <a:pt x="4848" y="3876"/>
                      </a:lnTo>
                      <a:lnTo>
                        <a:pt x="4860" y="3882"/>
                      </a:lnTo>
                      <a:lnTo>
                        <a:pt x="4866" y="3888"/>
                      </a:lnTo>
                      <a:lnTo>
                        <a:pt x="4878" y="3894"/>
                      </a:lnTo>
                      <a:lnTo>
                        <a:pt x="4890" y="3906"/>
                      </a:lnTo>
                      <a:lnTo>
                        <a:pt x="4908" y="3912"/>
                      </a:lnTo>
                      <a:lnTo>
                        <a:pt x="4920" y="3912"/>
                      </a:lnTo>
                      <a:lnTo>
                        <a:pt x="4932" y="3912"/>
                      </a:lnTo>
                      <a:lnTo>
                        <a:pt x="4944" y="3906"/>
                      </a:lnTo>
                      <a:lnTo>
                        <a:pt x="4962" y="3900"/>
                      </a:lnTo>
                      <a:lnTo>
                        <a:pt x="4980" y="3900"/>
                      </a:lnTo>
                      <a:lnTo>
                        <a:pt x="4986" y="3900"/>
                      </a:lnTo>
                      <a:lnTo>
                        <a:pt x="4998" y="3900"/>
                      </a:lnTo>
                      <a:lnTo>
                        <a:pt x="5004" y="3900"/>
                      </a:lnTo>
                      <a:lnTo>
                        <a:pt x="5016" y="3912"/>
                      </a:lnTo>
                      <a:lnTo>
                        <a:pt x="5034" y="3918"/>
                      </a:lnTo>
                      <a:lnTo>
                        <a:pt x="5046" y="3930"/>
                      </a:lnTo>
                      <a:lnTo>
                        <a:pt x="5052" y="3936"/>
                      </a:lnTo>
                      <a:lnTo>
                        <a:pt x="5052" y="3948"/>
                      </a:lnTo>
                      <a:lnTo>
                        <a:pt x="5052" y="3966"/>
                      </a:lnTo>
                      <a:lnTo>
                        <a:pt x="5052" y="3978"/>
                      </a:lnTo>
                      <a:lnTo>
                        <a:pt x="5046" y="3996"/>
                      </a:lnTo>
                      <a:lnTo>
                        <a:pt x="5046" y="4020"/>
                      </a:lnTo>
                      <a:lnTo>
                        <a:pt x="5040" y="4032"/>
                      </a:lnTo>
                      <a:lnTo>
                        <a:pt x="5034" y="4044"/>
                      </a:lnTo>
                      <a:lnTo>
                        <a:pt x="5028" y="4050"/>
                      </a:lnTo>
                      <a:lnTo>
                        <a:pt x="5016" y="4062"/>
                      </a:lnTo>
                      <a:lnTo>
                        <a:pt x="5010" y="4068"/>
                      </a:lnTo>
                      <a:lnTo>
                        <a:pt x="4998" y="4074"/>
                      </a:lnTo>
                      <a:lnTo>
                        <a:pt x="4992" y="4080"/>
                      </a:lnTo>
                      <a:lnTo>
                        <a:pt x="4992" y="4086"/>
                      </a:lnTo>
                      <a:lnTo>
                        <a:pt x="4986" y="4086"/>
                      </a:lnTo>
                      <a:lnTo>
                        <a:pt x="4992" y="4098"/>
                      </a:lnTo>
                      <a:lnTo>
                        <a:pt x="4998" y="4104"/>
                      </a:lnTo>
                      <a:lnTo>
                        <a:pt x="5010" y="4116"/>
                      </a:lnTo>
                      <a:lnTo>
                        <a:pt x="5028" y="4134"/>
                      </a:lnTo>
                      <a:lnTo>
                        <a:pt x="5034" y="4152"/>
                      </a:lnTo>
                      <a:lnTo>
                        <a:pt x="5034" y="4164"/>
                      </a:lnTo>
                      <a:lnTo>
                        <a:pt x="5028" y="4176"/>
                      </a:lnTo>
                      <a:lnTo>
                        <a:pt x="5016" y="4188"/>
                      </a:lnTo>
                      <a:lnTo>
                        <a:pt x="5010" y="4194"/>
                      </a:lnTo>
                      <a:lnTo>
                        <a:pt x="5004" y="4200"/>
                      </a:lnTo>
                      <a:lnTo>
                        <a:pt x="4992" y="4206"/>
                      </a:lnTo>
                      <a:lnTo>
                        <a:pt x="4980" y="4212"/>
                      </a:lnTo>
                      <a:lnTo>
                        <a:pt x="4974" y="4212"/>
                      </a:lnTo>
                      <a:lnTo>
                        <a:pt x="4968" y="4218"/>
                      </a:lnTo>
                      <a:lnTo>
                        <a:pt x="4968" y="4230"/>
                      </a:lnTo>
                      <a:lnTo>
                        <a:pt x="4980" y="4236"/>
                      </a:lnTo>
                      <a:lnTo>
                        <a:pt x="4992" y="4248"/>
                      </a:lnTo>
                      <a:lnTo>
                        <a:pt x="4992" y="4260"/>
                      </a:lnTo>
                      <a:lnTo>
                        <a:pt x="4992" y="4272"/>
                      </a:lnTo>
                      <a:lnTo>
                        <a:pt x="4992" y="4284"/>
                      </a:lnTo>
                      <a:lnTo>
                        <a:pt x="4980" y="4296"/>
                      </a:lnTo>
                      <a:lnTo>
                        <a:pt x="4974" y="4308"/>
                      </a:lnTo>
                      <a:lnTo>
                        <a:pt x="4962" y="4308"/>
                      </a:lnTo>
                      <a:lnTo>
                        <a:pt x="4950" y="4314"/>
                      </a:lnTo>
                      <a:lnTo>
                        <a:pt x="4950" y="4314"/>
                      </a:lnTo>
                      <a:lnTo>
                        <a:pt x="4950" y="4320"/>
                      </a:lnTo>
                      <a:lnTo>
                        <a:pt x="4956" y="4326"/>
                      </a:lnTo>
                      <a:lnTo>
                        <a:pt x="4968" y="4338"/>
                      </a:lnTo>
                      <a:lnTo>
                        <a:pt x="4980" y="4344"/>
                      </a:lnTo>
                      <a:lnTo>
                        <a:pt x="4992" y="4368"/>
                      </a:lnTo>
                      <a:lnTo>
                        <a:pt x="4992" y="4404"/>
                      </a:lnTo>
                      <a:lnTo>
                        <a:pt x="4980" y="4434"/>
                      </a:lnTo>
                      <a:lnTo>
                        <a:pt x="4956" y="4452"/>
                      </a:lnTo>
                      <a:lnTo>
                        <a:pt x="4938" y="4458"/>
                      </a:lnTo>
                      <a:lnTo>
                        <a:pt x="4932" y="4470"/>
                      </a:lnTo>
                      <a:lnTo>
                        <a:pt x="4932" y="4476"/>
                      </a:lnTo>
                      <a:lnTo>
                        <a:pt x="4944" y="4482"/>
                      </a:lnTo>
                      <a:lnTo>
                        <a:pt x="4956" y="4488"/>
                      </a:lnTo>
                      <a:lnTo>
                        <a:pt x="4980" y="4488"/>
                      </a:lnTo>
                      <a:lnTo>
                        <a:pt x="5004" y="4494"/>
                      </a:lnTo>
                      <a:lnTo>
                        <a:pt x="5016" y="4506"/>
                      </a:lnTo>
                      <a:lnTo>
                        <a:pt x="5028" y="4518"/>
                      </a:lnTo>
                      <a:lnTo>
                        <a:pt x="5034" y="4530"/>
                      </a:lnTo>
                      <a:lnTo>
                        <a:pt x="5034" y="4548"/>
                      </a:lnTo>
                      <a:lnTo>
                        <a:pt x="5040" y="4572"/>
                      </a:lnTo>
                      <a:lnTo>
                        <a:pt x="5040" y="4590"/>
                      </a:lnTo>
                      <a:lnTo>
                        <a:pt x="5040" y="4596"/>
                      </a:lnTo>
                      <a:lnTo>
                        <a:pt x="5046" y="4602"/>
                      </a:lnTo>
                      <a:lnTo>
                        <a:pt x="5058" y="4602"/>
                      </a:lnTo>
                      <a:lnTo>
                        <a:pt x="5064" y="4596"/>
                      </a:lnTo>
                      <a:lnTo>
                        <a:pt x="5070" y="4590"/>
                      </a:lnTo>
                      <a:lnTo>
                        <a:pt x="5076" y="4578"/>
                      </a:lnTo>
                      <a:lnTo>
                        <a:pt x="5088" y="4560"/>
                      </a:lnTo>
                      <a:lnTo>
                        <a:pt x="5094" y="4542"/>
                      </a:lnTo>
                      <a:lnTo>
                        <a:pt x="5106" y="4524"/>
                      </a:lnTo>
                      <a:lnTo>
                        <a:pt x="5118" y="4518"/>
                      </a:lnTo>
                      <a:lnTo>
                        <a:pt x="5124" y="4506"/>
                      </a:lnTo>
                      <a:lnTo>
                        <a:pt x="5130" y="4500"/>
                      </a:lnTo>
                      <a:lnTo>
                        <a:pt x="5142" y="4494"/>
                      </a:lnTo>
                      <a:lnTo>
                        <a:pt x="5154" y="4494"/>
                      </a:lnTo>
                      <a:lnTo>
                        <a:pt x="5160" y="4500"/>
                      </a:lnTo>
                      <a:lnTo>
                        <a:pt x="5172" y="4500"/>
                      </a:lnTo>
                      <a:lnTo>
                        <a:pt x="5178" y="4500"/>
                      </a:lnTo>
                      <a:lnTo>
                        <a:pt x="5184" y="4500"/>
                      </a:lnTo>
                      <a:lnTo>
                        <a:pt x="5196" y="4494"/>
                      </a:lnTo>
                      <a:lnTo>
                        <a:pt x="5208" y="4488"/>
                      </a:lnTo>
                      <a:lnTo>
                        <a:pt x="5220" y="4476"/>
                      </a:lnTo>
                      <a:lnTo>
                        <a:pt x="5232" y="4464"/>
                      </a:lnTo>
                      <a:lnTo>
                        <a:pt x="5244" y="4458"/>
                      </a:lnTo>
                      <a:lnTo>
                        <a:pt x="5244" y="4446"/>
                      </a:lnTo>
                      <a:lnTo>
                        <a:pt x="5244" y="4440"/>
                      </a:lnTo>
                      <a:lnTo>
                        <a:pt x="5244" y="4428"/>
                      </a:lnTo>
                      <a:lnTo>
                        <a:pt x="5238" y="4416"/>
                      </a:lnTo>
                      <a:lnTo>
                        <a:pt x="5232" y="4398"/>
                      </a:lnTo>
                      <a:lnTo>
                        <a:pt x="5232" y="4362"/>
                      </a:lnTo>
                      <a:lnTo>
                        <a:pt x="5244" y="4320"/>
                      </a:lnTo>
                      <a:lnTo>
                        <a:pt x="5268" y="4278"/>
                      </a:lnTo>
                      <a:lnTo>
                        <a:pt x="5286" y="4236"/>
                      </a:lnTo>
                      <a:lnTo>
                        <a:pt x="5304" y="4206"/>
                      </a:lnTo>
                      <a:lnTo>
                        <a:pt x="5316" y="4170"/>
                      </a:lnTo>
                      <a:lnTo>
                        <a:pt x="5310" y="4134"/>
                      </a:lnTo>
                      <a:lnTo>
                        <a:pt x="5292" y="4080"/>
                      </a:lnTo>
                      <a:lnTo>
                        <a:pt x="5292" y="4056"/>
                      </a:lnTo>
                      <a:lnTo>
                        <a:pt x="5298" y="4044"/>
                      </a:lnTo>
                      <a:lnTo>
                        <a:pt x="5316" y="4038"/>
                      </a:lnTo>
                      <a:lnTo>
                        <a:pt x="5352" y="4032"/>
                      </a:lnTo>
                      <a:lnTo>
                        <a:pt x="5406" y="4026"/>
                      </a:lnTo>
                      <a:lnTo>
                        <a:pt x="5478" y="4008"/>
                      </a:lnTo>
                      <a:lnTo>
                        <a:pt x="5550" y="3972"/>
                      </a:lnTo>
                      <a:lnTo>
                        <a:pt x="5604" y="3930"/>
                      </a:lnTo>
                      <a:lnTo>
                        <a:pt x="5640" y="3876"/>
                      </a:lnTo>
                      <a:lnTo>
                        <a:pt x="5670" y="3816"/>
                      </a:lnTo>
                      <a:lnTo>
                        <a:pt x="5694" y="3750"/>
                      </a:lnTo>
                      <a:lnTo>
                        <a:pt x="5712" y="3684"/>
                      </a:lnTo>
                      <a:lnTo>
                        <a:pt x="5724" y="3618"/>
                      </a:lnTo>
                      <a:lnTo>
                        <a:pt x="5712" y="3570"/>
                      </a:lnTo>
                      <a:lnTo>
                        <a:pt x="5694" y="3528"/>
                      </a:lnTo>
                      <a:lnTo>
                        <a:pt x="5664" y="3498"/>
                      </a:lnTo>
                      <a:lnTo>
                        <a:pt x="5634" y="3468"/>
                      </a:lnTo>
                      <a:lnTo>
                        <a:pt x="5604" y="3438"/>
                      </a:lnTo>
                      <a:lnTo>
                        <a:pt x="5586" y="3414"/>
                      </a:lnTo>
                      <a:lnTo>
                        <a:pt x="5592" y="3384"/>
                      </a:lnTo>
                      <a:lnTo>
                        <a:pt x="5622" y="3354"/>
                      </a:lnTo>
                      <a:lnTo>
                        <a:pt x="5658" y="3330"/>
                      </a:lnTo>
                      <a:lnTo>
                        <a:pt x="5700" y="3306"/>
                      </a:lnTo>
                      <a:lnTo>
                        <a:pt x="5742" y="3288"/>
                      </a:lnTo>
                      <a:lnTo>
                        <a:pt x="5778" y="3258"/>
                      </a:lnTo>
                      <a:lnTo>
                        <a:pt x="5802" y="3210"/>
                      </a:lnTo>
                      <a:lnTo>
                        <a:pt x="5820" y="3156"/>
                      </a:lnTo>
                      <a:lnTo>
                        <a:pt x="5826" y="3108"/>
                      </a:lnTo>
                      <a:lnTo>
                        <a:pt x="5832" y="3072"/>
                      </a:lnTo>
                      <a:lnTo>
                        <a:pt x="5826" y="3048"/>
                      </a:lnTo>
                      <a:lnTo>
                        <a:pt x="5832" y="3030"/>
                      </a:lnTo>
                      <a:lnTo>
                        <a:pt x="5838" y="3006"/>
                      </a:lnTo>
                      <a:lnTo>
                        <a:pt x="5850" y="2994"/>
                      </a:lnTo>
                      <a:lnTo>
                        <a:pt x="5874" y="2982"/>
                      </a:lnTo>
                      <a:lnTo>
                        <a:pt x="5886" y="2970"/>
                      </a:lnTo>
                      <a:lnTo>
                        <a:pt x="5892" y="2964"/>
                      </a:lnTo>
                      <a:lnTo>
                        <a:pt x="5892" y="2952"/>
                      </a:lnTo>
                      <a:lnTo>
                        <a:pt x="5892" y="2946"/>
                      </a:lnTo>
                      <a:lnTo>
                        <a:pt x="5886" y="2934"/>
                      </a:lnTo>
                      <a:lnTo>
                        <a:pt x="5880" y="2922"/>
                      </a:lnTo>
                      <a:lnTo>
                        <a:pt x="5880" y="2898"/>
                      </a:lnTo>
                      <a:lnTo>
                        <a:pt x="5880" y="2874"/>
                      </a:lnTo>
                      <a:lnTo>
                        <a:pt x="5892" y="2850"/>
                      </a:lnTo>
                      <a:lnTo>
                        <a:pt x="5904" y="2826"/>
                      </a:lnTo>
                      <a:lnTo>
                        <a:pt x="5916" y="2808"/>
                      </a:lnTo>
                      <a:lnTo>
                        <a:pt x="5928" y="2802"/>
                      </a:lnTo>
                      <a:lnTo>
                        <a:pt x="5946" y="2790"/>
                      </a:lnTo>
                      <a:lnTo>
                        <a:pt x="5958" y="2784"/>
                      </a:lnTo>
                      <a:lnTo>
                        <a:pt x="5982" y="2784"/>
                      </a:lnTo>
                      <a:lnTo>
                        <a:pt x="6018" y="2790"/>
                      </a:lnTo>
                      <a:lnTo>
                        <a:pt x="6054" y="2814"/>
                      </a:lnTo>
                      <a:lnTo>
                        <a:pt x="6084" y="2832"/>
                      </a:lnTo>
                      <a:lnTo>
                        <a:pt x="6114" y="2844"/>
                      </a:lnTo>
                      <a:lnTo>
                        <a:pt x="6144" y="2850"/>
                      </a:lnTo>
                      <a:lnTo>
                        <a:pt x="6180" y="2874"/>
                      </a:lnTo>
                      <a:lnTo>
                        <a:pt x="6198" y="2886"/>
                      </a:lnTo>
                      <a:lnTo>
                        <a:pt x="6210" y="2892"/>
                      </a:lnTo>
                      <a:lnTo>
                        <a:pt x="6216" y="2892"/>
                      </a:lnTo>
                      <a:lnTo>
                        <a:pt x="6222" y="2892"/>
                      </a:lnTo>
                      <a:lnTo>
                        <a:pt x="6228" y="2886"/>
                      </a:lnTo>
                      <a:lnTo>
                        <a:pt x="6240" y="2880"/>
                      </a:lnTo>
                      <a:lnTo>
                        <a:pt x="6252" y="2868"/>
                      </a:lnTo>
                      <a:lnTo>
                        <a:pt x="6264" y="2862"/>
                      </a:lnTo>
                      <a:lnTo>
                        <a:pt x="6270" y="2856"/>
                      </a:lnTo>
                      <a:lnTo>
                        <a:pt x="6282" y="2856"/>
                      </a:lnTo>
                      <a:lnTo>
                        <a:pt x="6288" y="2856"/>
                      </a:lnTo>
                      <a:lnTo>
                        <a:pt x="6294" y="2862"/>
                      </a:lnTo>
                      <a:lnTo>
                        <a:pt x="6312" y="2868"/>
                      </a:lnTo>
                      <a:lnTo>
                        <a:pt x="6330" y="2880"/>
                      </a:lnTo>
                      <a:lnTo>
                        <a:pt x="6342" y="2892"/>
                      </a:lnTo>
                      <a:lnTo>
                        <a:pt x="6354" y="2904"/>
                      </a:lnTo>
                      <a:lnTo>
                        <a:pt x="6366" y="2922"/>
                      </a:lnTo>
                      <a:lnTo>
                        <a:pt x="6366" y="2940"/>
                      </a:lnTo>
                      <a:lnTo>
                        <a:pt x="6372" y="2970"/>
                      </a:lnTo>
                      <a:lnTo>
                        <a:pt x="6390" y="3000"/>
                      </a:lnTo>
                      <a:lnTo>
                        <a:pt x="6420" y="3042"/>
                      </a:lnTo>
                      <a:lnTo>
                        <a:pt x="6450" y="3096"/>
                      </a:lnTo>
                      <a:lnTo>
                        <a:pt x="6492" y="3138"/>
                      </a:lnTo>
                      <a:lnTo>
                        <a:pt x="6540" y="3168"/>
                      </a:lnTo>
                      <a:lnTo>
                        <a:pt x="6558" y="3180"/>
                      </a:lnTo>
                      <a:lnTo>
                        <a:pt x="6564" y="3186"/>
                      </a:lnTo>
                      <a:lnTo>
                        <a:pt x="6564" y="3192"/>
                      </a:lnTo>
                      <a:lnTo>
                        <a:pt x="6558" y="3198"/>
                      </a:lnTo>
                      <a:lnTo>
                        <a:pt x="6552" y="3204"/>
                      </a:lnTo>
                      <a:lnTo>
                        <a:pt x="6540" y="3204"/>
                      </a:lnTo>
                      <a:lnTo>
                        <a:pt x="6528" y="3204"/>
                      </a:lnTo>
                      <a:lnTo>
                        <a:pt x="6522" y="3210"/>
                      </a:lnTo>
                      <a:lnTo>
                        <a:pt x="6516" y="3216"/>
                      </a:lnTo>
                      <a:lnTo>
                        <a:pt x="6498" y="3240"/>
                      </a:lnTo>
                      <a:lnTo>
                        <a:pt x="6492" y="3276"/>
                      </a:lnTo>
                      <a:lnTo>
                        <a:pt x="6504" y="3318"/>
                      </a:lnTo>
                      <a:lnTo>
                        <a:pt x="6504" y="3336"/>
                      </a:lnTo>
                      <a:lnTo>
                        <a:pt x="6510" y="3348"/>
                      </a:lnTo>
                      <a:lnTo>
                        <a:pt x="6504" y="3360"/>
                      </a:lnTo>
                      <a:lnTo>
                        <a:pt x="6504" y="3366"/>
                      </a:lnTo>
                      <a:lnTo>
                        <a:pt x="6498" y="3372"/>
                      </a:lnTo>
                      <a:lnTo>
                        <a:pt x="6492" y="3372"/>
                      </a:lnTo>
                      <a:lnTo>
                        <a:pt x="6486" y="3378"/>
                      </a:lnTo>
                      <a:lnTo>
                        <a:pt x="6474" y="3402"/>
                      </a:lnTo>
                      <a:lnTo>
                        <a:pt x="6462" y="3444"/>
                      </a:lnTo>
                      <a:lnTo>
                        <a:pt x="6444" y="3486"/>
                      </a:lnTo>
                      <a:lnTo>
                        <a:pt x="6438" y="3504"/>
                      </a:lnTo>
                      <a:lnTo>
                        <a:pt x="6438" y="3516"/>
                      </a:lnTo>
                      <a:lnTo>
                        <a:pt x="6438" y="3528"/>
                      </a:lnTo>
                      <a:lnTo>
                        <a:pt x="6450" y="3528"/>
                      </a:lnTo>
                      <a:lnTo>
                        <a:pt x="6456" y="3528"/>
                      </a:lnTo>
                      <a:lnTo>
                        <a:pt x="6468" y="3522"/>
                      </a:lnTo>
                      <a:lnTo>
                        <a:pt x="6480" y="3510"/>
                      </a:lnTo>
                      <a:lnTo>
                        <a:pt x="6486" y="3510"/>
                      </a:lnTo>
                      <a:lnTo>
                        <a:pt x="6492" y="3510"/>
                      </a:lnTo>
                      <a:lnTo>
                        <a:pt x="6504" y="3516"/>
                      </a:lnTo>
                      <a:lnTo>
                        <a:pt x="6516" y="3516"/>
                      </a:lnTo>
                      <a:lnTo>
                        <a:pt x="6522" y="3516"/>
                      </a:lnTo>
                      <a:lnTo>
                        <a:pt x="6534" y="3516"/>
                      </a:lnTo>
                      <a:lnTo>
                        <a:pt x="6540" y="3522"/>
                      </a:lnTo>
                      <a:lnTo>
                        <a:pt x="6546" y="3528"/>
                      </a:lnTo>
                      <a:lnTo>
                        <a:pt x="6552" y="3540"/>
                      </a:lnTo>
                      <a:lnTo>
                        <a:pt x="6558" y="3558"/>
                      </a:lnTo>
                      <a:lnTo>
                        <a:pt x="6558" y="3576"/>
                      </a:lnTo>
                      <a:lnTo>
                        <a:pt x="6564" y="3588"/>
                      </a:lnTo>
                      <a:lnTo>
                        <a:pt x="6570" y="3594"/>
                      </a:lnTo>
                      <a:lnTo>
                        <a:pt x="6582" y="3600"/>
                      </a:lnTo>
                      <a:lnTo>
                        <a:pt x="6588" y="3600"/>
                      </a:lnTo>
                      <a:lnTo>
                        <a:pt x="6600" y="3600"/>
                      </a:lnTo>
                      <a:lnTo>
                        <a:pt x="6612" y="3600"/>
                      </a:lnTo>
                      <a:lnTo>
                        <a:pt x="6624" y="3600"/>
                      </a:lnTo>
                      <a:lnTo>
                        <a:pt x="6642" y="3600"/>
                      </a:lnTo>
                      <a:lnTo>
                        <a:pt x="6660" y="3606"/>
                      </a:lnTo>
                      <a:lnTo>
                        <a:pt x="6672" y="3618"/>
                      </a:lnTo>
                      <a:lnTo>
                        <a:pt x="6684" y="3624"/>
                      </a:lnTo>
                      <a:lnTo>
                        <a:pt x="6696" y="3624"/>
                      </a:lnTo>
                      <a:lnTo>
                        <a:pt x="6708" y="3618"/>
                      </a:lnTo>
                      <a:lnTo>
                        <a:pt x="6726" y="3612"/>
                      </a:lnTo>
                      <a:lnTo>
                        <a:pt x="6738" y="3600"/>
                      </a:lnTo>
                      <a:lnTo>
                        <a:pt x="6756" y="3588"/>
                      </a:lnTo>
                      <a:lnTo>
                        <a:pt x="6768" y="3576"/>
                      </a:lnTo>
                      <a:lnTo>
                        <a:pt x="6780" y="3564"/>
                      </a:lnTo>
                      <a:lnTo>
                        <a:pt x="6786" y="3552"/>
                      </a:lnTo>
                      <a:lnTo>
                        <a:pt x="6792" y="3540"/>
                      </a:lnTo>
                      <a:lnTo>
                        <a:pt x="6798" y="3534"/>
                      </a:lnTo>
                      <a:lnTo>
                        <a:pt x="6810" y="3528"/>
                      </a:lnTo>
                      <a:lnTo>
                        <a:pt x="6828" y="3522"/>
                      </a:lnTo>
                      <a:lnTo>
                        <a:pt x="6846" y="3516"/>
                      </a:lnTo>
                      <a:lnTo>
                        <a:pt x="6858" y="3510"/>
                      </a:lnTo>
                      <a:lnTo>
                        <a:pt x="6870" y="3492"/>
                      </a:lnTo>
                      <a:lnTo>
                        <a:pt x="6882" y="3474"/>
                      </a:lnTo>
                      <a:lnTo>
                        <a:pt x="6888" y="3450"/>
                      </a:lnTo>
                      <a:lnTo>
                        <a:pt x="6912" y="3420"/>
                      </a:lnTo>
                      <a:lnTo>
                        <a:pt x="6942" y="3390"/>
                      </a:lnTo>
                      <a:lnTo>
                        <a:pt x="6972" y="3354"/>
                      </a:lnTo>
                      <a:lnTo>
                        <a:pt x="6990" y="3342"/>
                      </a:lnTo>
                      <a:lnTo>
                        <a:pt x="7002" y="3336"/>
                      </a:lnTo>
                      <a:lnTo>
                        <a:pt x="7014" y="3342"/>
                      </a:lnTo>
                      <a:lnTo>
                        <a:pt x="7026" y="3348"/>
                      </a:lnTo>
                      <a:lnTo>
                        <a:pt x="7038" y="3360"/>
                      </a:lnTo>
                      <a:lnTo>
                        <a:pt x="7050" y="3378"/>
                      </a:lnTo>
                      <a:lnTo>
                        <a:pt x="7056" y="3396"/>
                      </a:lnTo>
                      <a:lnTo>
                        <a:pt x="7056" y="3408"/>
                      </a:lnTo>
                      <a:lnTo>
                        <a:pt x="7056" y="3420"/>
                      </a:lnTo>
                      <a:lnTo>
                        <a:pt x="7050" y="3438"/>
                      </a:lnTo>
                      <a:lnTo>
                        <a:pt x="7038" y="3456"/>
                      </a:lnTo>
                      <a:lnTo>
                        <a:pt x="7026" y="3498"/>
                      </a:lnTo>
                      <a:lnTo>
                        <a:pt x="7032" y="3534"/>
                      </a:lnTo>
                      <a:lnTo>
                        <a:pt x="7056" y="3588"/>
                      </a:lnTo>
                      <a:lnTo>
                        <a:pt x="7068" y="3612"/>
                      </a:lnTo>
                      <a:lnTo>
                        <a:pt x="7074" y="3630"/>
                      </a:lnTo>
                      <a:lnTo>
                        <a:pt x="7074" y="3642"/>
                      </a:lnTo>
                      <a:lnTo>
                        <a:pt x="7074" y="3648"/>
                      </a:lnTo>
                      <a:lnTo>
                        <a:pt x="7068" y="3654"/>
                      </a:lnTo>
                      <a:lnTo>
                        <a:pt x="7062" y="3660"/>
                      </a:lnTo>
                      <a:lnTo>
                        <a:pt x="7050" y="3666"/>
                      </a:lnTo>
                      <a:lnTo>
                        <a:pt x="7044" y="3672"/>
                      </a:lnTo>
                      <a:lnTo>
                        <a:pt x="7038" y="3684"/>
                      </a:lnTo>
                      <a:lnTo>
                        <a:pt x="7032" y="3690"/>
                      </a:lnTo>
                      <a:lnTo>
                        <a:pt x="7038" y="3696"/>
                      </a:lnTo>
                      <a:lnTo>
                        <a:pt x="7044" y="3702"/>
                      </a:lnTo>
                      <a:lnTo>
                        <a:pt x="7056" y="3708"/>
                      </a:lnTo>
                      <a:lnTo>
                        <a:pt x="7068" y="3720"/>
                      </a:lnTo>
                      <a:lnTo>
                        <a:pt x="7086" y="3726"/>
                      </a:lnTo>
                      <a:lnTo>
                        <a:pt x="7098" y="3744"/>
                      </a:lnTo>
                      <a:lnTo>
                        <a:pt x="7110" y="3774"/>
                      </a:lnTo>
                      <a:lnTo>
                        <a:pt x="7116" y="3798"/>
                      </a:lnTo>
                      <a:lnTo>
                        <a:pt x="7116" y="3822"/>
                      </a:lnTo>
                      <a:lnTo>
                        <a:pt x="7122" y="3840"/>
                      </a:lnTo>
                      <a:lnTo>
                        <a:pt x="7140" y="3876"/>
                      </a:lnTo>
                      <a:lnTo>
                        <a:pt x="7134" y="3918"/>
                      </a:lnTo>
                      <a:lnTo>
                        <a:pt x="7116" y="3948"/>
                      </a:lnTo>
                      <a:lnTo>
                        <a:pt x="7104" y="3954"/>
                      </a:lnTo>
                      <a:lnTo>
                        <a:pt x="7104" y="3966"/>
                      </a:lnTo>
                      <a:lnTo>
                        <a:pt x="7110" y="3972"/>
                      </a:lnTo>
                      <a:lnTo>
                        <a:pt x="7110" y="3978"/>
                      </a:lnTo>
                      <a:lnTo>
                        <a:pt x="7116" y="3984"/>
                      </a:lnTo>
                      <a:lnTo>
                        <a:pt x="7116" y="3996"/>
                      </a:lnTo>
                      <a:lnTo>
                        <a:pt x="7110" y="4002"/>
                      </a:lnTo>
                      <a:lnTo>
                        <a:pt x="7104" y="4020"/>
                      </a:lnTo>
                      <a:lnTo>
                        <a:pt x="7116" y="4050"/>
                      </a:lnTo>
                      <a:lnTo>
                        <a:pt x="7128" y="4086"/>
                      </a:lnTo>
                      <a:lnTo>
                        <a:pt x="7146" y="4110"/>
                      </a:lnTo>
                      <a:lnTo>
                        <a:pt x="7152" y="4128"/>
                      </a:lnTo>
                      <a:lnTo>
                        <a:pt x="7164" y="4140"/>
                      </a:lnTo>
                      <a:lnTo>
                        <a:pt x="7182" y="4152"/>
                      </a:lnTo>
                      <a:lnTo>
                        <a:pt x="7194" y="4170"/>
                      </a:lnTo>
                      <a:lnTo>
                        <a:pt x="7200" y="4188"/>
                      </a:lnTo>
                      <a:lnTo>
                        <a:pt x="7206" y="4206"/>
                      </a:lnTo>
                      <a:lnTo>
                        <a:pt x="7212" y="4218"/>
                      </a:lnTo>
                      <a:lnTo>
                        <a:pt x="7224" y="4230"/>
                      </a:lnTo>
                      <a:lnTo>
                        <a:pt x="7242" y="4236"/>
                      </a:lnTo>
                      <a:lnTo>
                        <a:pt x="7266" y="4242"/>
                      </a:lnTo>
                      <a:lnTo>
                        <a:pt x="7302" y="4260"/>
                      </a:lnTo>
                      <a:lnTo>
                        <a:pt x="7338" y="4284"/>
                      </a:lnTo>
                      <a:lnTo>
                        <a:pt x="7374" y="4314"/>
                      </a:lnTo>
                      <a:lnTo>
                        <a:pt x="7392" y="4326"/>
                      </a:lnTo>
                      <a:lnTo>
                        <a:pt x="7404" y="4332"/>
                      </a:lnTo>
                      <a:lnTo>
                        <a:pt x="7410" y="4338"/>
                      </a:lnTo>
                      <a:lnTo>
                        <a:pt x="7416" y="4344"/>
                      </a:lnTo>
                      <a:lnTo>
                        <a:pt x="7410" y="4356"/>
                      </a:lnTo>
                      <a:lnTo>
                        <a:pt x="7410" y="4362"/>
                      </a:lnTo>
                      <a:lnTo>
                        <a:pt x="7404" y="4374"/>
                      </a:lnTo>
                      <a:lnTo>
                        <a:pt x="7392" y="4374"/>
                      </a:lnTo>
                      <a:lnTo>
                        <a:pt x="7386" y="4374"/>
                      </a:lnTo>
                      <a:lnTo>
                        <a:pt x="7374" y="4374"/>
                      </a:lnTo>
                      <a:lnTo>
                        <a:pt x="7362" y="4368"/>
                      </a:lnTo>
                      <a:lnTo>
                        <a:pt x="7350" y="4368"/>
                      </a:lnTo>
                      <a:lnTo>
                        <a:pt x="7344" y="4362"/>
                      </a:lnTo>
                      <a:lnTo>
                        <a:pt x="7314" y="4374"/>
                      </a:lnTo>
                      <a:lnTo>
                        <a:pt x="7278" y="4392"/>
                      </a:lnTo>
                      <a:lnTo>
                        <a:pt x="7236" y="4410"/>
                      </a:lnTo>
                      <a:lnTo>
                        <a:pt x="7206" y="4434"/>
                      </a:lnTo>
                      <a:lnTo>
                        <a:pt x="7194" y="4446"/>
                      </a:lnTo>
                      <a:lnTo>
                        <a:pt x="7188" y="4452"/>
                      </a:lnTo>
                      <a:lnTo>
                        <a:pt x="7182" y="4458"/>
                      </a:lnTo>
                      <a:lnTo>
                        <a:pt x="7188" y="4464"/>
                      </a:lnTo>
                      <a:lnTo>
                        <a:pt x="7194" y="4470"/>
                      </a:lnTo>
                      <a:lnTo>
                        <a:pt x="7212" y="4464"/>
                      </a:lnTo>
                      <a:lnTo>
                        <a:pt x="7230" y="4458"/>
                      </a:lnTo>
                      <a:lnTo>
                        <a:pt x="7272" y="4446"/>
                      </a:lnTo>
                      <a:lnTo>
                        <a:pt x="7296" y="4434"/>
                      </a:lnTo>
                      <a:lnTo>
                        <a:pt x="7326" y="4428"/>
                      </a:lnTo>
                      <a:lnTo>
                        <a:pt x="7338" y="4428"/>
                      </a:lnTo>
                      <a:lnTo>
                        <a:pt x="7350" y="4428"/>
                      </a:lnTo>
                      <a:lnTo>
                        <a:pt x="7362" y="4434"/>
                      </a:lnTo>
                      <a:lnTo>
                        <a:pt x="7368" y="4440"/>
                      </a:lnTo>
                      <a:lnTo>
                        <a:pt x="7380" y="4440"/>
                      </a:lnTo>
                      <a:lnTo>
                        <a:pt x="7392" y="4434"/>
                      </a:lnTo>
                      <a:lnTo>
                        <a:pt x="7404" y="4428"/>
                      </a:lnTo>
                      <a:lnTo>
                        <a:pt x="7416" y="4428"/>
                      </a:lnTo>
                      <a:lnTo>
                        <a:pt x="7428" y="4434"/>
                      </a:lnTo>
                      <a:lnTo>
                        <a:pt x="7440" y="4446"/>
                      </a:lnTo>
                      <a:lnTo>
                        <a:pt x="7452" y="4458"/>
                      </a:lnTo>
                      <a:lnTo>
                        <a:pt x="7464" y="4470"/>
                      </a:lnTo>
                      <a:lnTo>
                        <a:pt x="7482" y="4476"/>
                      </a:lnTo>
                      <a:lnTo>
                        <a:pt x="7494" y="4500"/>
                      </a:lnTo>
                      <a:lnTo>
                        <a:pt x="7500" y="4530"/>
                      </a:lnTo>
                      <a:lnTo>
                        <a:pt x="7494" y="4566"/>
                      </a:lnTo>
                      <a:lnTo>
                        <a:pt x="7476" y="4596"/>
                      </a:lnTo>
                      <a:lnTo>
                        <a:pt x="7464" y="4638"/>
                      </a:lnTo>
                      <a:lnTo>
                        <a:pt x="7464" y="4674"/>
                      </a:lnTo>
                      <a:lnTo>
                        <a:pt x="7464" y="4704"/>
                      </a:lnTo>
                      <a:lnTo>
                        <a:pt x="7458" y="4722"/>
                      </a:lnTo>
                      <a:lnTo>
                        <a:pt x="7452" y="4734"/>
                      </a:lnTo>
                      <a:lnTo>
                        <a:pt x="7446" y="4740"/>
                      </a:lnTo>
                      <a:lnTo>
                        <a:pt x="7434" y="4746"/>
                      </a:lnTo>
                      <a:lnTo>
                        <a:pt x="7422" y="4752"/>
                      </a:lnTo>
                      <a:lnTo>
                        <a:pt x="7404" y="4752"/>
                      </a:lnTo>
                      <a:lnTo>
                        <a:pt x="7392" y="4764"/>
                      </a:lnTo>
                      <a:lnTo>
                        <a:pt x="7380" y="4770"/>
                      </a:lnTo>
                      <a:lnTo>
                        <a:pt x="7368" y="4782"/>
                      </a:lnTo>
                      <a:lnTo>
                        <a:pt x="7356" y="4794"/>
                      </a:lnTo>
                      <a:lnTo>
                        <a:pt x="7332" y="4806"/>
                      </a:lnTo>
                      <a:lnTo>
                        <a:pt x="7302" y="4806"/>
                      </a:lnTo>
                      <a:lnTo>
                        <a:pt x="7272" y="4806"/>
                      </a:lnTo>
                      <a:lnTo>
                        <a:pt x="7242" y="4818"/>
                      </a:lnTo>
                      <a:lnTo>
                        <a:pt x="7212" y="4836"/>
                      </a:lnTo>
                      <a:lnTo>
                        <a:pt x="7170" y="4836"/>
                      </a:lnTo>
                      <a:lnTo>
                        <a:pt x="7122" y="4836"/>
                      </a:lnTo>
                      <a:lnTo>
                        <a:pt x="7098" y="4842"/>
                      </a:lnTo>
                      <a:lnTo>
                        <a:pt x="7086" y="4848"/>
                      </a:lnTo>
                      <a:lnTo>
                        <a:pt x="7080" y="4860"/>
                      </a:lnTo>
                      <a:lnTo>
                        <a:pt x="7074" y="4866"/>
                      </a:lnTo>
                      <a:lnTo>
                        <a:pt x="7068" y="4884"/>
                      </a:lnTo>
                      <a:lnTo>
                        <a:pt x="7062" y="4896"/>
                      </a:lnTo>
                      <a:lnTo>
                        <a:pt x="7050" y="4914"/>
                      </a:lnTo>
                      <a:lnTo>
                        <a:pt x="7038" y="4926"/>
                      </a:lnTo>
                      <a:lnTo>
                        <a:pt x="7002" y="4950"/>
                      </a:lnTo>
                      <a:lnTo>
                        <a:pt x="6978" y="4962"/>
                      </a:lnTo>
                      <a:lnTo>
                        <a:pt x="6948" y="4962"/>
                      </a:lnTo>
                      <a:lnTo>
                        <a:pt x="6918" y="4968"/>
                      </a:lnTo>
                      <a:lnTo>
                        <a:pt x="6882" y="4974"/>
                      </a:lnTo>
                      <a:lnTo>
                        <a:pt x="6852" y="4968"/>
                      </a:lnTo>
                      <a:lnTo>
                        <a:pt x="6822" y="4956"/>
                      </a:lnTo>
                      <a:lnTo>
                        <a:pt x="6786" y="4938"/>
                      </a:lnTo>
                      <a:lnTo>
                        <a:pt x="6738" y="4926"/>
                      </a:lnTo>
                      <a:lnTo>
                        <a:pt x="6702" y="4926"/>
                      </a:lnTo>
                      <a:lnTo>
                        <a:pt x="6654" y="4932"/>
                      </a:lnTo>
                      <a:lnTo>
                        <a:pt x="6600" y="4926"/>
                      </a:lnTo>
                      <a:lnTo>
                        <a:pt x="6558" y="4914"/>
                      </a:lnTo>
                      <a:lnTo>
                        <a:pt x="6522" y="4896"/>
                      </a:lnTo>
                      <a:lnTo>
                        <a:pt x="6492" y="4884"/>
                      </a:lnTo>
                      <a:lnTo>
                        <a:pt x="6450" y="4884"/>
                      </a:lnTo>
                      <a:lnTo>
                        <a:pt x="6408" y="4896"/>
                      </a:lnTo>
                      <a:lnTo>
                        <a:pt x="6366" y="4920"/>
                      </a:lnTo>
                      <a:lnTo>
                        <a:pt x="6318" y="4956"/>
                      </a:lnTo>
                      <a:lnTo>
                        <a:pt x="6276" y="4986"/>
                      </a:lnTo>
                      <a:lnTo>
                        <a:pt x="6252" y="5016"/>
                      </a:lnTo>
                      <a:lnTo>
                        <a:pt x="6240" y="5034"/>
                      </a:lnTo>
                      <a:lnTo>
                        <a:pt x="6234" y="5046"/>
                      </a:lnTo>
                      <a:lnTo>
                        <a:pt x="6228" y="5052"/>
                      </a:lnTo>
                      <a:lnTo>
                        <a:pt x="6222" y="5052"/>
                      </a:lnTo>
                      <a:lnTo>
                        <a:pt x="6210" y="5052"/>
                      </a:lnTo>
                      <a:lnTo>
                        <a:pt x="6204" y="5052"/>
                      </a:lnTo>
                      <a:lnTo>
                        <a:pt x="6192" y="5052"/>
                      </a:lnTo>
                      <a:lnTo>
                        <a:pt x="6150" y="5058"/>
                      </a:lnTo>
                      <a:lnTo>
                        <a:pt x="6108" y="5082"/>
                      </a:lnTo>
                      <a:lnTo>
                        <a:pt x="6084" y="5106"/>
                      </a:lnTo>
                      <a:lnTo>
                        <a:pt x="6072" y="5118"/>
                      </a:lnTo>
                      <a:lnTo>
                        <a:pt x="6060" y="5136"/>
                      </a:lnTo>
                      <a:lnTo>
                        <a:pt x="6042" y="5148"/>
                      </a:lnTo>
                      <a:lnTo>
                        <a:pt x="6024" y="5160"/>
                      </a:lnTo>
                      <a:lnTo>
                        <a:pt x="6006" y="5172"/>
                      </a:lnTo>
                      <a:lnTo>
                        <a:pt x="5988" y="5178"/>
                      </a:lnTo>
                      <a:lnTo>
                        <a:pt x="5970" y="5184"/>
                      </a:lnTo>
                      <a:lnTo>
                        <a:pt x="5952" y="5190"/>
                      </a:lnTo>
                      <a:lnTo>
                        <a:pt x="5940" y="5202"/>
                      </a:lnTo>
                      <a:lnTo>
                        <a:pt x="5928" y="5214"/>
                      </a:lnTo>
                      <a:lnTo>
                        <a:pt x="5916" y="5232"/>
                      </a:lnTo>
                      <a:lnTo>
                        <a:pt x="5910" y="5250"/>
                      </a:lnTo>
                      <a:lnTo>
                        <a:pt x="5910" y="5262"/>
                      </a:lnTo>
                      <a:lnTo>
                        <a:pt x="5910" y="5280"/>
                      </a:lnTo>
                      <a:lnTo>
                        <a:pt x="5916" y="5286"/>
                      </a:lnTo>
                      <a:lnTo>
                        <a:pt x="5922" y="5292"/>
                      </a:lnTo>
                      <a:lnTo>
                        <a:pt x="5928" y="5286"/>
                      </a:lnTo>
                      <a:lnTo>
                        <a:pt x="5952" y="5274"/>
                      </a:lnTo>
                      <a:lnTo>
                        <a:pt x="5994" y="5244"/>
                      </a:lnTo>
                      <a:lnTo>
                        <a:pt x="6042" y="5214"/>
                      </a:lnTo>
                      <a:lnTo>
                        <a:pt x="6096" y="5178"/>
                      </a:lnTo>
                      <a:lnTo>
                        <a:pt x="6144" y="5148"/>
                      </a:lnTo>
                      <a:lnTo>
                        <a:pt x="6174" y="5130"/>
                      </a:lnTo>
                      <a:lnTo>
                        <a:pt x="6210" y="5112"/>
                      </a:lnTo>
                      <a:lnTo>
                        <a:pt x="6264" y="5088"/>
                      </a:lnTo>
                      <a:lnTo>
                        <a:pt x="6330" y="5064"/>
                      </a:lnTo>
                      <a:lnTo>
                        <a:pt x="6396" y="5052"/>
                      </a:lnTo>
                      <a:lnTo>
                        <a:pt x="6444" y="5052"/>
                      </a:lnTo>
                      <a:lnTo>
                        <a:pt x="6474" y="5076"/>
                      </a:lnTo>
                      <a:lnTo>
                        <a:pt x="6498" y="5106"/>
                      </a:lnTo>
                      <a:lnTo>
                        <a:pt x="6510" y="5136"/>
                      </a:lnTo>
                      <a:lnTo>
                        <a:pt x="6516" y="5160"/>
                      </a:lnTo>
                      <a:lnTo>
                        <a:pt x="6510" y="5178"/>
                      </a:lnTo>
                      <a:lnTo>
                        <a:pt x="6504" y="5190"/>
                      </a:lnTo>
                      <a:lnTo>
                        <a:pt x="6492" y="5202"/>
                      </a:lnTo>
                      <a:lnTo>
                        <a:pt x="6486" y="5208"/>
                      </a:lnTo>
                      <a:lnTo>
                        <a:pt x="6474" y="5214"/>
                      </a:lnTo>
                      <a:lnTo>
                        <a:pt x="6462" y="5220"/>
                      </a:lnTo>
                      <a:lnTo>
                        <a:pt x="6450" y="5220"/>
                      </a:lnTo>
                      <a:lnTo>
                        <a:pt x="6438" y="5220"/>
                      </a:lnTo>
                      <a:lnTo>
                        <a:pt x="6426" y="5226"/>
                      </a:lnTo>
                      <a:lnTo>
                        <a:pt x="6420" y="5232"/>
                      </a:lnTo>
                      <a:lnTo>
                        <a:pt x="6414" y="5244"/>
                      </a:lnTo>
                      <a:lnTo>
                        <a:pt x="6414" y="5256"/>
                      </a:lnTo>
                      <a:lnTo>
                        <a:pt x="6408" y="5262"/>
                      </a:lnTo>
                      <a:lnTo>
                        <a:pt x="6402" y="5262"/>
                      </a:lnTo>
                      <a:lnTo>
                        <a:pt x="6396" y="5262"/>
                      </a:lnTo>
                      <a:lnTo>
                        <a:pt x="6390" y="5262"/>
                      </a:lnTo>
                      <a:lnTo>
                        <a:pt x="6384" y="5262"/>
                      </a:lnTo>
                      <a:lnTo>
                        <a:pt x="6372" y="5262"/>
                      </a:lnTo>
                      <a:lnTo>
                        <a:pt x="6360" y="5256"/>
                      </a:lnTo>
                      <a:lnTo>
                        <a:pt x="6348" y="5256"/>
                      </a:lnTo>
                      <a:lnTo>
                        <a:pt x="6336" y="5256"/>
                      </a:lnTo>
                      <a:lnTo>
                        <a:pt x="6324" y="5256"/>
                      </a:lnTo>
                      <a:lnTo>
                        <a:pt x="6318" y="5256"/>
                      </a:lnTo>
                      <a:lnTo>
                        <a:pt x="6318" y="5262"/>
                      </a:lnTo>
                      <a:lnTo>
                        <a:pt x="6330" y="5274"/>
                      </a:lnTo>
                      <a:lnTo>
                        <a:pt x="6342" y="5286"/>
                      </a:lnTo>
                      <a:lnTo>
                        <a:pt x="6360" y="5304"/>
                      </a:lnTo>
                      <a:lnTo>
                        <a:pt x="6378" y="5310"/>
                      </a:lnTo>
                      <a:lnTo>
                        <a:pt x="6396" y="5316"/>
                      </a:lnTo>
                      <a:lnTo>
                        <a:pt x="6408" y="5322"/>
                      </a:lnTo>
                      <a:lnTo>
                        <a:pt x="6414" y="5328"/>
                      </a:lnTo>
                      <a:lnTo>
                        <a:pt x="6420" y="5340"/>
                      </a:lnTo>
                      <a:lnTo>
                        <a:pt x="6420" y="5358"/>
                      </a:lnTo>
                      <a:lnTo>
                        <a:pt x="6414" y="5382"/>
                      </a:lnTo>
                      <a:lnTo>
                        <a:pt x="6408" y="5394"/>
                      </a:lnTo>
                      <a:lnTo>
                        <a:pt x="6408" y="5406"/>
                      </a:lnTo>
                      <a:lnTo>
                        <a:pt x="6408" y="5418"/>
                      </a:lnTo>
                      <a:lnTo>
                        <a:pt x="6414" y="5424"/>
                      </a:lnTo>
                      <a:lnTo>
                        <a:pt x="6420" y="5436"/>
                      </a:lnTo>
                      <a:lnTo>
                        <a:pt x="6426" y="5442"/>
                      </a:lnTo>
                      <a:lnTo>
                        <a:pt x="6432" y="5460"/>
                      </a:lnTo>
                      <a:lnTo>
                        <a:pt x="6438" y="5478"/>
                      </a:lnTo>
                      <a:lnTo>
                        <a:pt x="6444" y="5490"/>
                      </a:lnTo>
                      <a:lnTo>
                        <a:pt x="6450" y="5496"/>
                      </a:lnTo>
                      <a:lnTo>
                        <a:pt x="6462" y="5502"/>
                      </a:lnTo>
                      <a:lnTo>
                        <a:pt x="6474" y="5508"/>
                      </a:lnTo>
                      <a:lnTo>
                        <a:pt x="6486" y="5514"/>
                      </a:lnTo>
                      <a:lnTo>
                        <a:pt x="6492" y="5520"/>
                      </a:lnTo>
                      <a:lnTo>
                        <a:pt x="6504" y="5526"/>
                      </a:lnTo>
                      <a:lnTo>
                        <a:pt x="6504" y="5532"/>
                      </a:lnTo>
                      <a:lnTo>
                        <a:pt x="6504" y="5538"/>
                      </a:lnTo>
                      <a:lnTo>
                        <a:pt x="6498" y="5544"/>
                      </a:lnTo>
                      <a:lnTo>
                        <a:pt x="6486" y="5550"/>
                      </a:lnTo>
                      <a:lnTo>
                        <a:pt x="6486" y="5562"/>
                      </a:lnTo>
                      <a:lnTo>
                        <a:pt x="6498" y="5574"/>
                      </a:lnTo>
                      <a:lnTo>
                        <a:pt x="6510" y="5586"/>
                      </a:lnTo>
                      <a:lnTo>
                        <a:pt x="6528" y="5598"/>
                      </a:lnTo>
                      <a:lnTo>
                        <a:pt x="6540" y="5604"/>
                      </a:lnTo>
                      <a:lnTo>
                        <a:pt x="6558" y="5610"/>
                      </a:lnTo>
                      <a:lnTo>
                        <a:pt x="6576" y="5610"/>
                      </a:lnTo>
                      <a:lnTo>
                        <a:pt x="6594" y="5604"/>
                      </a:lnTo>
                      <a:lnTo>
                        <a:pt x="6606" y="5598"/>
                      </a:lnTo>
                      <a:lnTo>
                        <a:pt x="6618" y="5598"/>
                      </a:lnTo>
                      <a:lnTo>
                        <a:pt x="6630" y="5598"/>
                      </a:lnTo>
                      <a:lnTo>
                        <a:pt x="6642" y="5604"/>
                      </a:lnTo>
                      <a:lnTo>
                        <a:pt x="6648" y="5610"/>
                      </a:lnTo>
                      <a:lnTo>
                        <a:pt x="6660" y="5616"/>
                      </a:lnTo>
                      <a:lnTo>
                        <a:pt x="6678" y="5622"/>
                      </a:lnTo>
                      <a:lnTo>
                        <a:pt x="6690" y="5628"/>
                      </a:lnTo>
                      <a:lnTo>
                        <a:pt x="6696" y="5634"/>
                      </a:lnTo>
                      <a:lnTo>
                        <a:pt x="6696" y="5640"/>
                      </a:lnTo>
                      <a:lnTo>
                        <a:pt x="6696" y="5652"/>
                      </a:lnTo>
                      <a:lnTo>
                        <a:pt x="6696" y="5658"/>
                      </a:lnTo>
                      <a:lnTo>
                        <a:pt x="6696" y="5664"/>
                      </a:lnTo>
                      <a:lnTo>
                        <a:pt x="6702" y="5670"/>
                      </a:lnTo>
                      <a:lnTo>
                        <a:pt x="6708" y="5670"/>
                      </a:lnTo>
                      <a:lnTo>
                        <a:pt x="6714" y="5676"/>
                      </a:lnTo>
                      <a:lnTo>
                        <a:pt x="6714" y="5688"/>
                      </a:lnTo>
                      <a:lnTo>
                        <a:pt x="6702" y="5694"/>
                      </a:lnTo>
                      <a:lnTo>
                        <a:pt x="6690" y="5694"/>
                      </a:lnTo>
                      <a:lnTo>
                        <a:pt x="6636" y="5706"/>
                      </a:lnTo>
                      <a:lnTo>
                        <a:pt x="6570" y="5724"/>
                      </a:lnTo>
                      <a:lnTo>
                        <a:pt x="6534" y="5736"/>
                      </a:lnTo>
                      <a:lnTo>
                        <a:pt x="6504" y="5748"/>
                      </a:lnTo>
                      <a:lnTo>
                        <a:pt x="6468" y="5754"/>
                      </a:lnTo>
                      <a:lnTo>
                        <a:pt x="6420" y="5760"/>
                      </a:lnTo>
                      <a:lnTo>
                        <a:pt x="6378" y="5760"/>
                      </a:lnTo>
                      <a:lnTo>
                        <a:pt x="6354" y="5778"/>
                      </a:lnTo>
                      <a:lnTo>
                        <a:pt x="6336" y="5802"/>
                      </a:lnTo>
                      <a:lnTo>
                        <a:pt x="6318" y="5826"/>
                      </a:lnTo>
                      <a:lnTo>
                        <a:pt x="6300" y="5862"/>
                      </a:lnTo>
                      <a:lnTo>
                        <a:pt x="6270" y="5898"/>
                      </a:lnTo>
                      <a:lnTo>
                        <a:pt x="6234" y="5916"/>
                      </a:lnTo>
                      <a:lnTo>
                        <a:pt x="6198" y="5910"/>
                      </a:lnTo>
                      <a:lnTo>
                        <a:pt x="6162" y="5874"/>
                      </a:lnTo>
                      <a:lnTo>
                        <a:pt x="6150" y="5826"/>
                      </a:lnTo>
                      <a:lnTo>
                        <a:pt x="6162" y="5790"/>
                      </a:lnTo>
                      <a:lnTo>
                        <a:pt x="6180" y="5760"/>
                      </a:lnTo>
                      <a:lnTo>
                        <a:pt x="6204" y="5724"/>
                      </a:lnTo>
                      <a:lnTo>
                        <a:pt x="6228" y="5700"/>
                      </a:lnTo>
                      <a:lnTo>
                        <a:pt x="6270" y="5682"/>
                      </a:lnTo>
                      <a:lnTo>
                        <a:pt x="6312" y="5670"/>
                      </a:lnTo>
                      <a:lnTo>
                        <a:pt x="6348" y="5664"/>
                      </a:lnTo>
                      <a:lnTo>
                        <a:pt x="6366" y="5658"/>
                      </a:lnTo>
                      <a:lnTo>
                        <a:pt x="6372" y="5652"/>
                      </a:lnTo>
                      <a:lnTo>
                        <a:pt x="6378" y="5646"/>
                      </a:lnTo>
                      <a:lnTo>
                        <a:pt x="6378" y="5634"/>
                      </a:lnTo>
                      <a:lnTo>
                        <a:pt x="6378" y="5622"/>
                      </a:lnTo>
                      <a:lnTo>
                        <a:pt x="6372" y="5610"/>
                      </a:lnTo>
                      <a:lnTo>
                        <a:pt x="6366" y="5598"/>
                      </a:lnTo>
                      <a:lnTo>
                        <a:pt x="6360" y="5586"/>
                      </a:lnTo>
                      <a:lnTo>
                        <a:pt x="6354" y="5580"/>
                      </a:lnTo>
                      <a:lnTo>
                        <a:pt x="6348" y="5580"/>
                      </a:lnTo>
                      <a:lnTo>
                        <a:pt x="6348" y="5580"/>
                      </a:lnTo>
                      <a:lnTo>
                        <a:pt x="6336" y="5586"/>
                      </a:lnTo>
                      <a:lnTo>
                        <a:pt x="6324" y="5592"/>
                      </a:lnTo>
                      <a:lnTo>
                        <a:pt x="6276" y="5616"/>
                      </a:lnTo>
                      <a:lnTo>
                        <a:pt x="6210" y="5646"/>
                      </a:lnTo>
                      <a:lnTo>
                        <a:pt x="6168" y="5658"/>
                      </a:lnTo>
                      <a:lnTo>
                        <a:pt x="6132" y="5664"/>
                      </a:lnTo>
                      <a:lnTo>
                        <a:pt x="6102" y="5658"/>
                      </a:lnTo>
                      <a:lnTo>
                        <a:pt x="6090" y="5658"/>
                      </a:lnTo>
                      <a:lnTo>
                        <a:pt x="6090" y="5658"/>
                      </a:lnTo>
                      <a:lnTo>
                        <a:pt x="6078" y="5568"/>
                      </a:lnTo>
                      <a:lnTo>
                        <a:pt x="6072" y="5484"/>
                      </a:lnTo>
                      <a:lnTo>
                        <a:pt x="6102" y="5424"/>
                      </a:lnTo>
                      <a:lnTo>
                        <a:pt x="6138" y="5382"/>
                      </a:lnTo>
                      <a:lnTo>
                        <a:pt x="6120" y="5340"/>
                      </a:lnTo>
                      <a:lnTo>
                        <a:pt x="6078" y="5310"/>
                      </a:lnTo>
                      <a:lnTo>
                        <a:pt x="6018" y="5310"/>
                      </a:lnTo>
                      <a:lnTo>
                        <a:pt x="5940" y="5340"/>
                      </a:lnTo>
                      <a:lnTo>
                        <a:pt x="5868" y="5370"/>
                      </a:lnTo>
                      <a:lnTo>
                        <a:pt x="5832" y="5472"/>
                      </a:lnTo>
                      <a:lnTo>
                        <a:pt x="5796" y="5544"/>
                      </a:lnTo>
                      <a:lnTo>
                        <a:pt x="5706" y="5586"/>
                      </a:lnTo>
                      <a:lnTo>
                        <a:pt x="5604" y="5604"/>
                      </a:lnTo>
                      <a:lnTo>
                        <a:pt x="5550" y="5586"/>
                      </a:lnTo>
                      <a:lnTo>
                        <a:pt x="5478" y="5562"/>
                      </a:lnTo>
                      <a:lnTo>
                        <a:pt x="5340" y="5568"/>
                      </a:lnTo>
                      <a:lnTo>
                        <a:pt x="5262" y="5586"/>
                      </a:lnTo>
                      <a:lnTo>
                        <a:pt x="5208" y="5616"/>
                      </a:lnTo>
                      <a:lnTo>
                        <a:pt x="5166" y="5652"/>
                      </a:lnTo>
                      <a:lnTo>
                        <a:pt x="5142" y="5676"/>
                      </a:lnTo>
                      <a:lnTo>
                        <a:pt x="5130" y="5700"/>
                      </a:lnTo>
                      <a:lnTo>
                        <a:pt x="5124" y="5706"/>
                      </a:lnTo>
                      <a:lnTo>
                        <a:pt x="5052" y="5778"/>
                      </a:lnTo>
                      <a:lnTo>
                        <a:pt x="4938" y="5778"/>
                      </a:lnTo>
                      <a:lnTo>
                        <a:pt x="4842" y="5790"/>
                      </a:lnTo>
                      <a:lnTo>
                        <a:pt x="4770" y="5826"/>
                      </a:lnTo>
                      <a:lnTo>
                        <a:pt x="4686" y="5910"/>
                      </a:lnTo>
                      <a:lnTo>
                        <a:pt x="4656" y="5934"/>
                      </a:lnTo>
                      <a:lnTo>
                        <a:pt x="4572" y="5952"/>
                      </a:lnTo>
                      <a:lnTo>
                        <a:pt x="4428" y="5988"/>
                      </a:lnTo>
                      <a:lnTo>
                        <a:pt x="4338" y="5964"/>
                      </a:lnTo>
                      <a:lnTo>
                        <a:pt x="4332" y="5928"/>
                      </a:lnTo>
                      <a:lnTo>
                        <a:pt x="4404" y="5850"/>
                      </a:lnTo>
                      <a:lnTo>
                        <a:pt x="4446" y="5802"/>
                      </a:lnTo>
                      <a:lnTo>
                        <a:pt x="4512" y="5700"/>
                      </a:lnTo>
                      <a:lnTo>
                        <a:pt x="4542" y="5568"/>
                      </a:lnTo>
                      <a:lnTo>
                        <a:pt x="4518" y="5460"/>
                      </a:lnTo>
                      <a:lnTo>
                        <a:pt x="4410" y="5334"/>
                      </a:lnTo>
                      <a:lnTo>
                        <a:pt x="4386" y="5232"/>
                      </a:lnTo>
                      <a:lnTo>
                        <a:pt x="4308" y="5124"/>
                      </a:lnTo>
                      <a:lnTo>
                        <a:pt x="4188" y="5046"/>
                      </a:lnTo>
                      <a:lnTo>
                        <a:pt x="4056" y="5016"/>
                      </a:lnTo>
                      <a:lnTo>
                        <a:pt x="3948" y="4974"/>
                      </a:lnTo>
                      <a:lnTo>
                        <a:pt x="3894" y="4944"/>
                      </a:lnTo>
                      <a:lnTo>
                        <a:pt x="3810" y="4944"/>
                      </a:lnTo>
                      <a:lnTo>
                        <a:pt x="3744" y="4938"/>
                      </a:lnTo>
                      <a:lnTo>
                        <a:pt x="3714" y="4902"/>
                      </a:lnTo>
                      <a:lnTo>
                        <a:pt x="3672" y="4842"/>
                      </a:lnTo>
                      <a:lnTo>
                        <a:pt x="3630" y="4788"/>
                      </a:lnTo>
                      <a:lnTo>
                        <a:pt x="3564" y="4776"/>
                      </a:lnTo>
                      <a:lnTo>
                        <a:pt x="3516" y="4746"/>
                      </a:lnTo>
                      <a:lnTo>
                        <a:pt x="3480" y="4698"/>
                      </a:lnTo>
                      <a:lnTo>
                        <a:pt x="720" y="4260"/>
                      </a:lnTo>
                      <a:lnTo>
                        <a:pt x="720" y="4260"/>
                      </a:lnTo>
                      <a:lnTo>
                        <a:pt x="708" y="4248"/>
                      </a:lnTo>
                      <a:lnTo>
                        <a:pt x="696" y="4230"/>
                      </a:lnTo>
                      <a:lnTo>
                        <a:pt x="690" y="4212"/>
                      </a:lnTo>
                      <a:lnTo>
                        <a:pt x="678" y="4176"/>
                      </a:lnTo>
                      <a:lnTo>
                        <a:pt x="684" y="4146"/>
                      </a:lnTo>
                      <a:lnTo>
                        <a:pt x="702" y="4104"/>
                      </a:lnTo>
                      <a:lnTo>
                        <a:pt x="702" y="4086"/>
                      </a:lnTo>
                      <a:lnTo>
                        <a:pt x="702" y="4074"/>
                      </a:lnTo>
                      <a:lnTo>
                        <a:pt x="702" y="4068"/>
                      </a:lnTo>
                      <a:lnTo>
                        <a:pt x="696" y="4068"/>
                      </a:lnTo>
                      <a:lnTo>
                        <a:pt x="690" y="4068"/>
                      </a:lnTo>
                      <a:lnTo>
                        <a:pt x="678" y="4068"/>
                      </a:lnTo>
                      <a:lnTo>
                        <a:pt x="672" y="4068"/>
                      </a:lnTo>
                      <a:lnTo>
                        <a:pt x="666" y="4068"/>
                      </a:lnTo>
                      <a:lnTo>
                        <a:pt x="654" y="4068"/>
                      </a:lnTo>
                      <a:lnTo>
                        <a:pt x="648" y="4062"/>
                      </a:lnTo>
                      <a:lnTo>
                        <a:pt x="642" y="4062"/>
                      </a:lnTo>
                      <a:lnTo>
                        <a:pt x="636" y="4056"/>
                      </a:lnTo>
                      <a:lnTo>
                        <a:pt x="630" y="4050"/>
                      </a:lnTo>
                      <a:lnTo>
                        <a:pt x="636" y="4032"/>
                      </a:lnTo>
                      <a:lnTo>
                        <a:pt x="636" y="4020"/>
                      </a:lnTo>
                      <a:lnTo>
                        <a:pt x="636" y="4008"/>
                      </a:lnTo>
                      <a:lnTo>
                        <a:pt x="636" y="3996"/>
                      </a:lnTo>
                      <a:lnTo>
                        <a:pt x="630" y="3996"/>
                      </a:lnTo>
                      <a:lnTo>
                        <a:pt x="618" y="3996"/>
                      </a:lnTo>
                      <a:lnTo>
                        <a:pt x="606" y="3996"/>
                      </a:lnTo>
                      <a:lnTo>
                        <a:pt x="594" y="3996"/>
                      </a:lnTo>
                      <a:lnTo>
                        <a:pt x="588" y="3996"/>
                      </a:lnTo>
                      <a:lnTo>
                        <a:pt x="582" y="3990"/>
                      </a:lnTo>
                      <a:lnTo>
                        <a:pt x="582" y="3978"/>
                      </a:lnTo>
                      <a:lnTo>
                        <a:pt x="582" y="3972"/>
                      </a:lnTo>
                      <a:lnTo>
                        <a:pt x="582" y="3966"/>
                      </a:lnTo>
                      <a:lnTo>
                        <a:pt x="582" y="3954"/>
                      </a:lnTo>
                      <a:lnTo>
                        <a:pt x="576" y="3954"/>
                      </a:lnTo>
                      <a:lnTo>
                        <a:pt x="570" y="3948"/>
                      </a:lnTo>
                      <a:lnTo>
                        <a:pt x="558" y="3948"/>
                      </a:lnTo>
                      <a:lnTo>
                        <a:pt x="552" y="3948"/>
                      </a:lnTo>
                      <a:lnTo>
                        <a:pt x="546" y="3942"/>
                      </a:lnTo>
                      <a:lnTo>
                        <a:pt x="546" y="3936"/>
                      </a:lnTo>
                      <a:lnTo>
                        <a:pt x="552" y="3924"/>
                      </a:lnTo>
                      <a:lnTo>
                        <a:pt x="552" y="3912"/>
                      </a:lnTo>
                      <a:lnTo>
                        <a:pt x="552" y="3906"/>
                      </a:lnTo>
                      <a:lnTo>
                        <a:pt x="546" y="3900"/>
                      </a:lnTo>
                      <a:lnTo>
                        <a:pt x="534" y="3906"/>
                      </a:lnTo>
                      <a:lnTo>
                        <a:pt x="516" y="3906"/>
                      </a:lnTo>
                      <a:lnTo>
                        <a:pt x="498" y="3912"/>
                      </a:lnTo>
                      <a:lnTo>
                        <a:pt x="492" y="3918"/>
                      </a:lnTo>
                      <a:lnTo>
                        <a:pt x="486" y="3924"/>
                      </a:lnTo>
                      <a:lnTo>
                        <a:pt x="480" y="3924"/>
                      </a:lnTo>
                      <a:lnTo>
                        <a:pt x="474" y="3924"/>
                      </a:lnTo>
                      <a:lnTo>
                        <a:pt x="468" y="3918"/>
                      </a:lnTo>
                      <a:lnTo>
                        <a:pt x="462" y="3906"/>
                      </a:lnTo>
                      <a:lnTo>
                        <a:pt x="450" y="3900"/>
                      </a:lnTo>
                      <a:lnTo>
                        <a:pt x="444" y="3894"/>
                      </a:lnTo>
                      <a:lnTo>
                        <a:pt x="438" y="3888"/>
                      </a:lnTo>
                      <a:lnTo>
                        <a:pt x="438" y="3876"/>
                      </a:lnTo>
                      <a:lnTo>
                        <a:pt x="432" y="3864"/>
                      </a:lnTo>
                      <a:lnTo>
                        <a:pt x="438" y="3852"/>
                      </a:lnTo>
                      <a:lnTo>
                        <a:pt x="438" y="3828"/>
                      </a:lnTo>
                      <a:lnTo>
                        <a:pt x="444" y="3750"/>
                      </a:lnTo>
                      <a:lnTo>
                        <a:pt x="456" y="3702"/>
                      </a:lnTo>
                      <a:lnTo>
                        <a:pt x="462" y="3690"/>
                      </a:lnTo>
                      <a:lnTo>
                        <a:pt x="474" y="3678"/>
                      </a:lnTo>
                      <a:lnTo>
                        <a:pt x="480" y="3660"/>
                      </a:lnTo>
                      <a:lnTo>
                        <a:pt x="492" y="3642"/>
                      </a:lnTo>
                      <a:lnTo>
                        <a:pt x="498" y="3618"/>
                      </a:lnTo>
                      <a:lnTo>
                        <a:pt x="504" y="3606"/>
                      </a:lnTo>
                      <a:lnTo>
                        <a:pt x="498" y="3594"/>
                      </a:lnTo>
                      <a:lnTo>
                        <a:pt x="498" y="3588"/>
                      </a:lnTo>
                      <a:lnTo>
                        <a:pt x="492" y="3588"/>
                      </a:lnTo>
                      <a:lnTo>
                        <a:pt x="480" y="3582"/>
                      </a:lnTo>
                      <a:lnTo>
                        <a:pt x="474" y="3582"/>
                      </a:lnTo>
                      <a:lnTo>
                        <a:pt x="468" y="3576"/>
                      </a:lnTo>
                      <a:lnTo>
                        <a:pt x="468" y="3576"/>
                      </a:lnTo>
                      <a:lnTo>
                        <a:pt x="468" y="3570"/>
                      </a:lnTo>
                      <a:lnTo>
                        <a:pt x="468" y="3540"/>
                      </a:lnTo>
                      <a:lnTo>
                        <a:pt x="462" y="3498"/>
                      </a:lnTo>
                      <a:lnTo>
                        <a:pt x="450" y="3432"/>
                      </a:lnTo>
                      <a:lnTo>
                        <a:pt x="450" y="3414"/>
                      </a:lnTo>
                      <a:lnTo>
                        <a:pt x="450" y="3396"/>
                      </a:lnTo>
                      <a:lnTo>
                        <a:pt x="450" y="3384"/>
                      </a:lnTo>
                      <a:lnTo>
                        <a:pt x="450" y="3378"/>
                      </a:lnTo>
                      <a:lnTo>
                        <a:pt x="456" y="3372"/>
                      </a:lnTo>
                      <a:lnTo>
                        <a:pt x="462" y="3366"/>
                      </a:lnTo>
                      <a:lnTo>
                        <a:pt x="468" y="3360"/>
                      </a:lnTo>
                      <a:lnTo>
                        <a:pt x="474" y="3354"/>
                      </a:lnTo>
                      <a:lnTo>
                        <a:pt x="486" y="3348"/>
                      </a:lnTo>
                      <a:lnTo>
                        <a:pt x="486" y="3336"/>
                      </a:lnTo>
                      <a:lnTo>
                        <a:pt x="486" y="3330"/>
                      </a:lnTo>
                      <a:lnTo>
                        <a:pt x="486" y="3330"/>
                      </a:lnTo>
                      <a:lnTo>
                        <a:pt x="480" y="3324"/>
                      </a:lnTo>
                      <a:lnTo>
                        <a:pt x="468" y="3330"/>
                      </a:lnTo>
                      <a:lnTo>
                        <a:pt x="456" y="3330"/>
                      </a:lnTo>
                      <a:lnTo>
                        <a:pt x="450" y="3330"/>
                      </a:lnTo>
                      <a:lnTo>
                        <a:pt x="438" y="3336"/>
                      </a:lnTo>
                      <a:lnTo>
                        <a:pt x="426" y="3336"/>
                      </a:lnTo>
                      <a:lnTo>
                        <a:pt x="414" y="3330"/>
                      </a:lnTo>
                      <a:lnTo>
                        <a:pt x="408" y="3318"/>
                      </a:lnTo>
                      <a:lnTo>
                        <a:pt x="402" y="3306"/>
                      </a:lnTo>
                      <a:lnTo>
                        <a:pt x="396" y="3288"/>
                      </a:lnTo>
                      <a:lnTo>
                        <a:pt x="396" y="3264"/>
                      </a:lnTo>
                      <a:lnTo>
                        <a:pt x="396" y="3240"/>
                      </a:lnTo>
                      <a:lnTo>
                        <a:pt x="402" y="3216"/>
                      </a:lnTo>
                      <a:lnTo>
                        <a:pt x="414" y="3180"/>
                      </a:lnTo>
                      <a:lnTo>
                        <a:pt x="426" y="3138"/>
                      </a:lnTo>
                      <a:lnTo>
                        <a:pt x="438" y="3096"/>
                      </a:lnTo>
                      <a:lnTo>
                        <a:pt x="438" y="3096"/>
                      </a:lnTo>
                      <a:lnTo>
                        <a:pt x="510" y="3054"/>
                      </a:lnTo>
                      <a:lnTo>
                        <a:pt x="558" y="2988"/>
                      </a:lnTo>
                      <a:lnTo>
                        <a:pt x="558" y="2898"/>
                      </a:lnTo>
                      <a:lnTo>
                        <a:pt x="516" y="2826"/>
                      </a:lnTo>
                      <a:lnTo>
                        <a:pt x="492" y="2736"/>
                      </a:lnTo>
                      <a:lnTo>
                        <a:pt x="480" y="2652"/>
                      </a:lnTo>
                      <a:lnTo>
                        <a:pt x="498" y="2580"/>
                      </a:lnTo>
                      <a:lnTo>
                        <a:pt x="528" y="2502"/>
                      </a:lnTo>
                      <a:lnTo>
                        <a:pt x="522" y="2406"/>
                      </a:lnTo>
                      <a:lnTo>
                        <a:pt x="504" y="2358"/>
                      </a:lnTo>
                      <a:lnTo>
                        <a:pt x="456" y="2310"/>
                      </a:lnTo>
                      <a:lnTo>
                        <a:pt x="444" y="2232"/>
                      </a:lnTo>
                      <a:lnTo>
                        <a:pt x="438" y="2148"/>
                      </a:lnTo>
                      <a:lnTo>
                        <a:pt x="372" y="2118"/>
                      </a:lnTo>
                      <a:lnTo>
                        <a:pt x="276" y="2154"/>
                      </a:lnTo>
                      <a:lnTo>
                        <a:pt x="216" y="2172"/>
                      </a:lnTo>
                      <a:lnTo>
                        <a:pt x="168" y="2172"/>
                      </a:lnTo>
                      <a:lnTo>
                        <a:pt x="144" y="2112"/>
                      </a:lnTo>
                      <a:lnTo>
                        <a:pt x="144" y="2022"/>
                      </a:lnTo>
                      <a:lnTo>
                        <a:pt x="150" y="1950"/>
                      </a:lnTo>
                      <a:lnTo>
                        <a:pt x="120" y="1884"/>
                      </a:lnTo>
                      <a:lnTo>
                        <a:pt x="54" y="1890"/>
                      </a:lnTo>
                      <a:lnTo>
                        <a:pt x="0" y="1878"/>
                      </a:lnTo>
                      <a:lnTo>
                        <a:pt x="0" y="1812"/>
                      </a:lnTo>
                      <a:lnTo>
                        <a:pt x="105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6" name="Freeform 303">
                  <a:extLst>
                    <a:ext uri="{FF2B5EF4-FFF2-40B4-BE49-F238E27FC236}">
                      <a16:creationId xmlns:a16="http://schemas.microsoft.com/office/drawing/2014/main" id="{D24AFA0E-0573-438F-88B2-97DC182B87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3945" y="-5898"/>
                  <a:ext cx="156" cy="96"/>
                </a:xfrm>
                <a:custGeom>
                  <a:avLst/>
                  <a:gdLst>
                    <a:gd name="T0" fmla="*/ 90 w 156"/>
                    <a:gd name="T1" fmla="*/ 0 h 96"/>
                    <a:gd name="T2" fmla="*/ 96 w 156"/>
                    <a:gd name="T3" fmla="*/ 0 h 96"/>
                    <a:gd name="T4" fmla="*/ 108 w 156"/>
                    <a:gd name="T5" fmla="*/ 6 h 96"/>
                    <a:gd name="T6" fmla="*/ 126 w 156"/>
                    <a:gd name="T7" fmla="*/ 6 h 96"/>
                    <a:gd name="T8" fmla="*/ 144 w 156"/>
                    <a:gd name="T9" fmla="*/ 6 h 96"/>
                    <a:gd name="T10" fmla="*/ 150 w 156"/>
                    <a:gd name="T11" fmla="*/ 6 h 96"/>
                    <a:gd name="T12" fmla="*/ 156 w 156"/>
                    <a:gd name="T13" fmla="*/ 12 h 96"/>
                    <a:gd name="T14" fmla="*/ 156 w 156"/>
                    <a:gd name="T15" fmla="*/ 18 h 96"/>
                    <a:gd name="T16" fmla="*/ 156 w 156"/>
                    <a:gd name="T17" fmla="*/ 24 h 96"/>
                    <a:gd name="T18" fmla="*/ 150 w 156"/>
                    <a:gd name="T19" fmla="*/ 36 h 96"/>
                    <a:gd name="T20" fmla="*/ 144 w 156"/>
                    <a:gd name="T21" fmla="*/ 48 h 96"/>
                    <a:gd name="T22" fmla="*/ 132 w 156"/>
                    <a:gd name="T23" fmla="*/ 60 h 96"/>
                    <a:gd name="T24" fmla="*/ 120 w 156"/>
                    <a:gd name="T25" fmla="*/ 72 h 96"/>
                    <a:gd name="T26" fmla="*/ 108 w 156"/>
                    <a:gd name="T27" fmla="*/ 78 h 96"/>
                    <a:gd name="T28" fmla="*/ 102 w 156"/>
                    <a:gd name="T29" fmla="*/ 84 h 96"/>
                    <a:gd name="T30" fmla="*/ 78 w 156"/>
                    <a:gd name="T31" fmla="*/ 96 h 96"/>
                    <a:gd name="T32" fmla="*/ 54 w 156"/>
                    <a:gd name="T33" fmla="*/ 96 h 96"/>
                    <a:gd name="T34" fmla="*/ 30 w 156"/>
                    <a:gd name="T35" fmla="*/ 96 h 96"/>
                    <a:gd name="T36" fmla="*/ 12 w 156"/>
                    <a:gd name="T37" fmla="*/ 84 h 96"/>
                    <a:gd name="T38" fmla="*/ 0 w 156"/>
                    <a:gd name="T39" fmla="*/ 78 h 96"/>
                    <a:gd name="T40" fmla="*/ 0 w 156"/>
                    <a:gd name="T41" fmla="*/ 72 h 96"/>
                    <a:gd name="T42" fmla="*/ 6 w 156"/>
                    <a:gd name="T43" fmla="*/ 60 h 96"/>
                    <a:gd name="T44" fmla="*/ 18 w 156"/>
                    <a:gd name="T45" fmla="*/ 54 h 96"/>
                    <a:gd name="T46" fmla="*/ 30 w 156"/>
                    <a:gd name="T47" fmla="*/ 48 h 96"/>
                    <a:gd name="T48" fmla="*/ 42 w 156"/>
                    <a:gd name="T49" fmla="*/ 42 h 96"/>
                    <a:gd name="T50" fmla="*/ 54 w 156"/>
                    <a:gd name="T51" fmla="*/ 42 h 96"/>
                    <a:gd name="T52" fmla="*/ 66 w 156"/>
                    <a:gd name="T53" fmla="*/ 36 h 96"/>
                    <a:gd name="T54" fmla="*/ 72 w 156"/>
                    <a:gd name="T55" fmla="*/ 36 h 96"/>
                    <a:gd name="T56" fmla="*/ 78 w 156"/>
                    <a:gd name="T57" fmla="*/ 30 h 96"/>
                    <a:gd name="T58" fmla="*/ 78 w 156"/>
                    <a:gd name="T59" fmla="*/ 18 h 96"/>
                    <a:gd name="T60" fmla="*/ 78 w 156"/>
                    <a:gd name="T61" fmla="*/ 6 h 96"/>
                    <a:gd name="T62" fmla="*/ 84 w 156"/>
                    <a:gd name="T63" fmla="*/ 0 h 96"/>
                    <a:gd name="T64" fmla="*/ 90 w 156"/>
                    <a:gd name="T65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56" h="96">
                      <a:moveTo>
                        <a:pt x="90" y="0"/>
                      </a:moveTo>
                      <a:lnTo>
                        <a:pt x="96" y="0"/>
                      </a:lnTo>
                      <a:lnTo>
                        <a:pt x="108" y="6"/>
                      </a:lnTo>
                      <a:lnTo>
                        <a:pt x="126" y="6"/>
                      </a:lnTo>
                      <a:lnTo>
                        <a:pt x="144" y="6"/>
                      </a:lnTo>
                      <a:lnTo>
                        <a:pt x="150" y="6"/>
                      </a:lnTo>
                      <a:lnTo>
                        <a:pt x="156" y="12"/>
                      </a:lnTo>
                      <a:lnTo>
                        <a:pt x="156" y="18"/>
                      </a:lnTo>
                      <a:lnTo>
                        <a:pt x="156" y="24"/>
                      </a:lnTo>
                      <a:lnTo>
                        <a:pt x="150" y="36"/>
                      </a:lnTo>
                      <a:lnTo>
                        <a:pt x="144" y="48"/>
                      </a:lnTo>
                      <a:lnTo>
                        <a:pt x="132" y="60"/>
                      </a:lnTo>
                      <a:lnTo>
                        <a:pt x="120" y="72"/>
                      </a:lnTo>
                      <a:lnTo>
                        <a:pt x="108" y="78"/>
                      </a:lnTo>
                      <a:lnTo>
                        <a:pt x="102" y="84"/>
                      </a:lnTo>
                      <a:lnTo>
                        <a:pt x="78" y="96"/>
                      </a:lnTo>
                      <a:lnTo>
                        <a:pt x="54" y="96"/>
                      </a:lnTo>
                      <a:lnTo>
                        <a:pt x="30" y="96"/>
                      </a:lnTo>
                      <a:lnTo>
                        <a:pt x="12" y="84"/>
                      </a:lnTo>
                      <a:lnTo>
                        <a:pt x="0" y="78"/>
                      </a:lnTo>
                      <a:lnTo>
                        <a:pt x="0" y="72"/>
                      </a:lnTo>
                      <a:lnTo>
                        <a:pt x="6" y="60"/>
                      </a:lnTo>
                      <a:lnTo>
                        <a:pt x="18" y="54"/>
                      </a:lnTo>
                      <a:lnTo>
                        <a:pt x="30" y="48"/>
                      </a:lnTo>
                      <a:lnTo>
                        <a:pt x="42" y="42"/>
                      </a:lnTo>
                      <a:lnTo>
                        <a:pt x="54" y="42"/>
                      </a:lnTo>
                      <a:lnTo>
                        <a:pt x="66" y="36"/>
                      </a:lnTo>
                      <a:lnTo>
                        <a:pt x="72" y="36"/>
                      </a:lnTo>
                      <a:lnTo>
                        <a:pt x="78" y="30"/>
                      </a:lnTo>
                      <a:lnTo>
                        <a:pt x="78" y="18"/>
                      </a:lnTo>
                      <a:lnTo>
                        <a:pt x="78" y="6"/>
                      </a:lnTo>
                      <a:lnTo>
                        <a:pt x="84" y="0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7" name="Freeform 304">
                  <a:extLst>
                    <a:ext uri="{FF2B5EF4-FFF2-40B4-BE49-F238E27FC236}">
                      <a16:creationId xmlns:a16="http://schemas.microsoft.com/office/drawing/2014/main" id="{761BCF05-DE47-40B3-BEF2-BDAE408D71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185" y="-5760"/>
                  <a:ext cx="252" cy="150"/>
                </a:xfrm>
                <a:custGeom>
                  <a:avLst/>
                  <a:gdLst>
                    <a:gd name="T0" fmla="*/ 174 w 252"/>
                    <a:gd name="T1" fmla="*/ 0 h 150"/>
                    <a:gd name="T2" fmla="*/ 186 w 252"/>
                    <a:gd name="T3" fmla="*/ 6 h 150"/>
                    <a:gd name="T4" fmla="*/ 192 w 252"/>
                    <a:gd name="T5" fmla="*/ 12 h 150"/>
                    <a:gd name="T6" fmla="*/ 198 w 252"/>
                    <a:gd name="T7" fmla="*/ 12 h 150"/>
                    <a:gd name="T8" fmla="*/ 204 w 252"/>
                    <a:gd name="T9" fmla="*/ 12 h 150"/>
                    <a:gd name="T10" fmla="*/ 210 w 252"/>
                    <a:gd name="T11" fmla="*/ 12 h 150"/>
                    <a:gd name="T12" fmla="*/ 216 w 252"/>
                    <a:gd name="T13" fmla="*/ 6 h 150"/>
                    <a:gd name="T14" fmla="*/ 234 w 252"/>
                    <a:gd name="T15" fmla="*/ 6 h 150"/>
                    <a:gd name="T16" fmla="*/ 246 w 252"/>
                    <a:gd name="T17" fmla="*/ 12 h 150"/>
                    <a:gd name="T18" fmla="*/ 252 w 252"/>
                    <a:gd name="T19" fmla="*/ 42 h 150"/>
                    <a:gd name="T20" fmla="*/ 240 w 252"/>
                    <a:gd name="T21" fmla="*/ 72 h 150"/>
                    <a:gd name="T22" fmla="*/ 216 w 252"/>
                    <a:gd name="T23" fmla="*/ 102 h 150"/>
                    <a:gd name="T24" fmla="*/ 174 w 252"/>
                    <a:gd name="T25" fmla="*/ 126 h 150"/>
                    <a:gd name="T26" fmla="*/ 144 w 252"/>
                    <a:gd name="T27" fmla="*/ 138 h 150"/>
                    <a:gd name="T28" fmla="*/ 102 w 252"/>
                    <a:gd name="T29" fmla="*/ 150 h 150"/>
                    <a:gd name="T30" fmla="*/ 60 w 252"/>
                    <a:gd name="T31" fmla="*/ 150 h 150"/>
                    <a:gd name="T32" fmla="*/ 30 w 252"/>
                    <a:gd name="T33" fmla="*/ 132 h 150"/>
                    <a:gd name="T34" fmla="*/ 6 w 252"/>
                    <a:gd name="T35" fmla="*/ 102 h 150"/>
                    <a:gd name="T36" fmla="*/ 0 w 252"/>
                    <a:gd name="T37" fmla="*/ 84 h 150"/>
                    <a:gd name="T38" fmla="*/ 0 w 252"/>
                    <a:gd name="T39" fmla="*/ 72 h 150"/>
                    <a:gd name="T40" fmla="*/ 6 w 252"/>
                    <a:gd name="T41" fmla="*/ 60 h 150"/>
                    <a:gd name="T42" fmla="*/ 12 w 252"/>
                    <a:gd name="T43" fmla="*/ 48 h 150"/>
                    <a:gd name="T44" fmla="*/ 24 w 252"/>
                    <a:gd name="T45" fmla="*/ 42 h 150"/>
                    <a:gd name="T46" fmla="*/ 36 w 252"/>
                    <a:gd name="T47" fmla="*/ 30 h 150"/>
                    <a:gd name="T48" fmla="*/ 48 w 252"/>
                    <a:gd name="T49" fmla="*/ 18 h 150"/>
                    <a:gd name="T50" fmla="*/ 60 w 252"/>
                    <a:gd name="T51" fmla="*/ 18 h 150"/>
                    <a:gd name="T52" fmla="*/ 66 w 252"/>
                    <a:gd name="T53" fmla="*/ 18 h 150"/>
                    <a:gd name="T54" fmla="*/ 66 w 252"/>
                    <a:gd name="T55" fmla="*/ 30 h 150"/>
                    <a:gd name="T56" fmla="*/ 72 w 252"/>
                    <a:gd name="T57" fmla="*/ 54 h 150"/>
                    <a:gd name="T58" fmla="*/ 72 w 252"/>
                    <a:gd name="T59" fmla="*/ 66 h 150"/>
                    <a:gd name="T60" fmla="*/ 72 w 252"/>
                    <a:gd name="T61" fmla="*/ 72 h 150"/>
                    <a:gd name="T62" fmla="*/ 78 w 252"/>
                    <a:gd name="T63" fmla="*/ 72 h 150"/>
                    <a:gd name="T64" fmla="*/ 90 w 252"/>
                    <a:gd name="T65" fmla="*/ 66 h 150"/>
                    <a:gd name="T66" fmla="*/ 96 w 252"/>
                    <a:gd name="T67" fmla="*/ 60 h 150"/>
                    <a:gd name="T68" fmla="*/ 108 w 252"/>
                    <a:gd name="T69" fmla="*/ 48 h 150"/>
                    <a:gd name="T70" fmla="*/ 120 w 252"/>
                    <a:gd name="T71" fmla="*/ 42 h 150"/>
                    <a:gd name="T72" fmla="*/ 126 w 252"/>
                    <a:gd name="T73" fmla="*/ 30 h 150"/>
                    <a:gd name="T74" fmla="*/ 144 w 252"/>
                    <a:gd name="T75" fmla="*/ 18 h 150"/>
                    <a:gd name="T76" fmla="*/ 156 w 252"/>
                    <a:gd name="T77" fmla="*/ 6 h 150"/>
                    <a:gd name="T78" fmla="*/ 162 w 252"/>
                    <a:gd name="T79" fmla="*/ 0 h 150"/>
                    <a:gd name="T80" fmla="*/ 174 w 252"/>
                    <a:gd name="T81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52" h="150">
                      <a:moveTo>
                        <a:pt x="174" y="0"/>
                      </a:moveTo>
                      <a:lnTo>
                        <a:pt x="186" y="6"/>
                      </a:lnTo>
                      <a:lnTo>
                        <a:pt x="192" y="12"/>
                      </a:lnTo>
                      <a:lnTo>
                        <a:pt x="198" y="12"/>
                      </a:lnTo>
                      <a:lnTo>
                        <a:pt x="204" y="12"/>
                      </a:lnTo>
                      <a:lnTo>
                        <a:pt x="210" y="12"/>
                      </a:lnTo>
                      <a:lnTo>
                        <a:pt x="216" y="6"/>
                      </a:lnTo>
                      <a:lnTo>
                        <a:pt x="234" y="6"/>
                      </a:lnTo>
                      <a:lnTo>
                        <a:pt x="246" y="12"/>
                      </a:lnTo>
                      <a:lnTo>
                        <a:pt x="252" y="42"/>
                      </a:lnTo>
                      <a:lnTo>
                        <a:pt x="240" y="72"/>
                      </a:lnTo>
                      <a:lnTo>
                        <a:pt x="216" y="102"/>
                      </a:lnTo>
                      <a:lnTo>
                        <a:pt x="174" y="126"/>
                      </a:lnTo>
                      <a:lnTo>
                        <a:pt x="144" y="138"/>
                      </a:lnTo>
                      <a:lnTo>
                        <a:pt x="102" y="150"/>
                      </a:lnTo>
                      <a:lnTo>
                        <a:pt x="60" y="150"/>
                      </a:lnTo>
                      <a:lnTo>
                        <a:pt x="30" y="132"/>
                      </a:lnTo>
                      <a:lnTo>
                        <a:pt x="6" y="102"/>
                      </a:lnTo>
                      <a:lnTo>
                        <a:pt x="0" y="84"/>
                      </a:lnTo>
                      <a:lnTo>
                        <a:pt x="0" y="72"/>
                      </a:lnTo>
                      <a:lnTo>
                        <a:pt x="6" y="60"/>
                      </a:lnTo>
                      <a:lnTo>
                        <a:pt x="12" y="48"/>
                      </a:lnTo>
                      <a:lnTo>
                        <a:pt x="24" y="42"/>
                      </a:lnTo>
                      <a:lnTo>
                        <a:pt x="36" y="30"/>
                      </a:lnTo>
                      <a:lnTo>
                        <a:pt x="48" y="18"/>
                      </a:lnTo>
                      <a:lnTo>
                        <a:pt x="60" y="18"/>
                      </a:lnTo>
                      <a:lnTo>
                        <a:pt x="66" y="18"/>
                      </a:lnTo>
                      <a:lnTo>
                        <a:pt x="66" y="30"/>
                      </a:lnTo>
                      <a:lnTo>
                        <a:pt x="72" y="54"/>
                      </a:lnTo>
                      <a:lnTo>
                        <a:pt x="72" y="66"/>
                      </a:lnTo>
                      <a:lnTo>
                        <a:pt x="72" y="72"/>
                      </a:lnTo>
                      <a:lnTo>
                        <a:pt x="78" y="72"/>
                      </a:lnTo>
                      <a:lnTo>
                        <a:pt x="90" y="66"/>
                      </a:lnTo>
                      <a:lnTo>
                        <a:pt x="96" y="60"/>
                      </a:lnTo>
                      <a:lnTo>
                        <a:pt x="108" y="48"/>
                      </a:lnTo>
                      <a:lnTo>
                        <a:pt x="120" y="42"/>
                      </a:lnTo>
                      <a:lnTo>
                        <a:pt x="126" y="30"/>
                      </a:lnTo>
                      <a:lnTo>
                        <a:pt x="144" y="18"/>
                      </a:lnTo>
                      <a:lnTo>
                        <a:pt x="156" y="6"/>
                      </a:lnTo>
                      <a:lnTo>
                        <a:pt x="162" y="0"/>
                      </a:lnTo>
                      <a:lnTo>
                        <a:pt x="17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8" name="Freeform 306">
                  <a:extLst>
                    <a:ext uri="{FF2B5EF4-FFF2-40B4-BE49-F238E27FC236}">
                      <a16:creationId xmlns:a16="http://schemas.microsoft.com/office/drawing/2014/main" id="{76DCBB85-3A6C-449E-914E-569D4CD115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835" y="-5328"/>
                  <a:ext cx="132" cy="48"/>
                </a:xfrm>
                <a:custGeom>
                  <a:avLst/>
                  <a:gdLst>
                    <a:gd name="T0" fmla="*/ 114 w 132"/>
                    <a:gd name="T1" fmla="*/ 0 h 48"/>
                    <a:gd name="T2" fmla="*/ 126 w 132"/>
                    <a:gd name="T3" fmla="*/ 0 h 48"/>
                    <a:gd name="T4" fmla="*/ 132 w 132"/>
                    <a:gd name="T5" fmla="*/ 6 h 48"/>
                    <a:gd name="T6" fmla="*/ 132 w 132"/>
                    <a:gd name="T7" fmla="*/ 12 h 48"/>
                    <a:gd name="T8" fmla="*/ 126 w 132"/>
                    <a:gd name="T9" fmla="*/ 18 h 48"/>
                    <a:gd name="T10" fmla="*/ 120 w 132"/>
                    <a:gd name="T11" fmla="*/ 24 h 48"/>
                    <a:gd name="T12" fmla="*/ 108 w 132"/>
                    <a:gd name="T13" fmla="*/ 30 h 48"/>
                    <a:gd name="T14" fmla="*/ 96 w 132"/>
                    <a:gd name="T15" fmla="*/ 36 h 48"/>
                    <a:gd name="T16" fmla="*/ 84 w 132"/>
                    <a:gd name="T17" fmla="*/ 36 h 48"/>
                    <a:gd name="T18" fmla="*/ 72 w 132"/>
                    <a:gd name="T19" fmla="*/ 42 h 48"/>
                    <a:gd name="T20" fmla="*/ 54 w 132"/>
                    <a:gd name="T21" fmla="*/ 42 h 48"/>
                    <a:gd name="T22" fmla="*/ 42 w 132"/>
                    <a:gd name="T23" fmla="*/ 48 h 48"/>
                    <a:gd name="T24" fmla="*/ 30 w 132"/>
                    <a:gd name="T25" fmla="*/ 48 h 48"/>
                    <a:gd name="T26" fmla="*/ 12 w 132"/>
                    <a:gd name="T27" fmla="*/ 48 h 48"/>
                    <a:gd name="T28" fmla="*/ 6 w 132"/>
                    <a:gd name="T29" fmla="*/ 48 h 48"/>
                    <a:gd name="T30" fmla="*/ 0 w 132"/>
                    <a:gd name="T31" fmla="*/ 48 h 48"/>
                    <a:gd name="T32" fmla="*/ 0 w 132"/>
                    <a:gd name="T33" fmla="*/ 42 h 48"/>
                    <a:gd name="T34" fmla="*/ 6 w 132"/>
                    <a:gd name="T35" fmla="*/ 36 h 48"/>
                    <a:gd name="T36" fmla="*/ 36 w 132"/>
                    <a:gd name="T37" fmla="*/ 18 h 48"/>
                    <a:gd name="T38" fmla="*/ 72 w 132"/>
                    <a:gd name="T39" fmla="*/ 0 h 48"/>
                    <a:gd name="T40" fmla="*/ 114 w 132"/>
                    <a:gd name="T4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2" h="48">
                      <a:moveTo>
                        <a:pt x="114" y="0"/>
                      </a:moveTo>
                      <a:lnTo>
                        <a:pt x="126" y="0"/>
                      </a:lnTo>
                      <a:lnTo>
                        <a:pt x="132" y="6"/>
                      </a:lnTo>
                      <a:lnTo>
                        <a:pt x="132" y="12"/>
                      </a:lnTo>
                      <a:lnTo>
                        <a:pt x="126" y="18"/>
                      </a:lnTo>
                      <a:lnTo>
                        <a:pt x="120" y="24"/>
                      </a:lnTo>
                      <a:lnTo>
                        <a:pt x="108" y="30"/>
                      </a:lnTo>
                      <a:lnTo>
                        <a:pt x="96" y="36"/>
                      </a:lnTo>
                      <a:lnTo>
                        <a:pt x="84" y="36"/>
                      </a:lnTo>
                      <a:lnTo>
                        <a:pt x="72" y="42"/>
                      </a:lnTo>
                      <a:lnTo>
                        <a:pt x="54" y="42"/>
                      </a:lnTo>
                      <a:lnTo>
                        <a:pt x="42" y="48"/>
                      </a:lnTo>
                      <a:lnTo>
                        <a:pt x="30" y="48"/>
                      </a:lnTo>
                      <a:lnTo>
                        <a:pt x="12" y="48"/>
                      </a:lnTo>
                      <a:lnTo>
                        <a:pt x="6" y="48"/>
                      </a:lnTo>
                      <a:lnTo>
                        <a:pt x="0" y="48"/>
                      </a:lnTo>
                      <a:lnTo>
                        <a:pt x="0" y="42"/>
                      </a:lnTo>
                      <a:lnTo>
                        <a:pt x="6" y="36"/>
                      </a:lnTo>
                      <a:lnTo>
                        <a:pt x="36" y="18"/>
                      </a:lnTo>
                      <a:lnTo>
                        <a:pt x="72" y="0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59" name="Freeform 307">
                  <a:extLst>
                    <a:ext uri="{FF2B5EF4-FFF2-40B4-BE49-F238E27FC236}">
                      <a16:creationId xmlns:a16="http://schemas.microsoft.com/office/drawing/2014/main" id="{88C97B03-DD07-409E-BF8B-AE90456FC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033" y="-5358"/>
                  <a:ext cx="156" cy="102"/>
                </a:xfrm>
                <a:custGeom>
                  <a:avLst/>
                  <a:gdLst>
                    <a:gd name="T0" fmla="*/ 126 w 156"/>
                    <a:gd name="T1" fmla="*/ 0 h 102"/>
                    <a:gd name="T2" fmla="*/ 150 w 156"/>
                    <a:gd name="T3" fmla="*/ 6 h 102"/>
                    <a:gd name="T4" fmla="*/ 156 w 156"/>
                    <a:gd name="T5" fmla="*/ 18 h 102"/>
                    <a:gd name="T6" fmla="*/ 144 w 156"/>
                    <a:gd name="T7" fmla="*/ 36 h 102"/>
                    <a:gd name="T8" fmla="*/ 126 w 156"/>
                    <a:gd name="T9" fmla="*/ 48 h 102"/>
                    <a:gd name="T10" fmla="*/ 102 w 156"/>
                    <a:gd name="T11" fmla="*/ 66 h 102"/>
                    <a:gd name="T12" fmla="*/ 72 w 156"/>
                    <a:gd name="T13" fmla="*/ 78 h 102"/>
                    <a:gd name="T14" fmla="*/ 54 w 156"/>
                    <a:gd name="T15" fmla="*/ 90 h 102"/>
                    <a:gd name="T16" fmla="*/ 36 w 156"/>
                    <a:gd name="T17" fmla="*/ 96 h 102"/>
                    <a:gd name="T18" fmla="*/ 24 w 156"/>
                    <a:gd name="T19" fmla="*/ 102 h 102"/>
                    <a:gd name="T20" fmla="*/ 12 w 156"/>
                    <a:gd name="T21" fmla="*/ 102 h 102"/>
                    <a:gd name="T22" fmla="*/ 6 w 156"/>
                    <a:gd name="T23" fmla="*/ 102 h 102"/>
                    <a:gd name="T24" fmla="*/ 0 w 156"/>
                    <a:gd name="T25" fmla="*/ 96 h 102"/>
                    <a:gd name="T26" fmla="*/ 0 w 156"/>
                    <a:gd name="T27" fmla="*/ 84 h 102"/>
                    <a:gd name="T28" fmla="*/ 0 w 156"/>
                    <a:gd name="T29" fmla="*/ 72 h 102"/>
                    <a:gd name="T30" fmla="*/ 6 w 156"/>
                    <a:gd name="T31" fmla="*/ 54 h 102"/>
                    <a:gd name="T32" fmla="*/ 18 w 156"/>
                    <a:gd name="T33" fmla="*/ 42 h 102"/>
                    <a:gd name="T34" fmla="*/ 30 w 156"/>
                    <a:gd name="T35" fmla="*/ 30 h 102"/>
                    <a:gd name="T36" fmla="*/ 78 w 156"/>
                    <a:gd name="T37" fmla="*/ 0 h 102"/>
                    <a:gd name="T38" fmla="*/ 126 w 156"/>
                    <a:gd name="T39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56" h="102">
                      <a:moveTo>
                        <a:pt x="126" y="0"/>
                      </a:moveTo>
                      <a:lnTo>
                        <a:pt x="150" y="6"/>
                      </a:lnTo>
                      <a:lnTo>
                        <a:pt x="156" y="18"/>
                      </a:lnTo>
                      <a:lnTo>
                        <a:pt x="144" y="36"/>
                      </a:lnTo>
                      <a:lnTo>
                        <a:pt x="126" y="48"/>
                      </a:lnTo>
                      <a:lnTo>
                        <a:pt x="102" y="66"/>
                      </a:lnTo>
                      <a:lnTo>
                        <a:pt x="72" y="78"/>
                      </a:lnTo>
                      <a:lnTo>
                        <a:pt x="54" y="90"/>
                      </a:lnTo>
                      <a:lnTo>
                        <a:pt x="36" y="96"/>
                      </a:lnTo>
                      <a:lnTo>
                        <a:pt x="24" y="102"/>
                      </a:lnTo>
                      <a:lnTo>
                        <a:pt x="12" y="102"/>
                      </a:lnTo>
                      <a:lnTo>
                        <a:pt x="6" y="102"/>
                      </a:lnTo>
                      <a:lnTo>
                        <a:pt x="0" y="96"/>
                      </a:lnTo>
                      <a:lnTo>
                        <a:pt x="0" y="84"/>
                      </a:lnTo>
                      <a:lnTo>
                        <a:pt x="0" y="72"/>
                      </a:lnTo>
                      <a:lnTo>
                        <a:pt x="6" y="54"/>
                      </a:lnTo>
                      <a:lnTo>
                        <a:pt x="18" y="42"/>
                      </a:lnTo>
                      <a:lnTo>
                        <a:pt x="30" y="30"/>
                      </a:lnTo>
                      <a:lnTo>
                        <a:pt x="78" y="0"/>
                      </a:lnTo>
                      <a:lnTo>
                        <a:pt x="12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0" name="Freeform 308">
                  <a:extLst>
                    <a:ext uri="{FF2B5EF4-FFF2-40B4-BE49-F238E27FC236}">
                      <a16:creationId xmlns:a16="http://schemas.microsoft.com/office/drawing/2014/main" id="{2DD5BFB2-0DBD-47EA-880C-F33056CDB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013" y="-6732"/>
                  <a:ext cx="156" cy="162"/>
                </a:xfrm>
                <a:custGeom>
                  <a:avLst/>
                  <a:gdLst>
                    <a:gd name="T0" fmla="*/ 138 w 156"/>
                    <a:gd name="T1" fmla="*/ 0 h 162"/>
                    <a:gd name="T2" fmla="*/ 144 w 156"/>
                    <a:gd name="T3" fmla="*/ 6 h 162"/>
                    <a:gd name="T4" fmla="*/ 150 w 156"/>
                    <a:gd name="T5" fmla="*/ 24 h 162"/>
                    <a:gd name="T6" fmla="*/ 156 w 156"/>
                    <a:gd name="T7" fmla="*/ 42 h 162"/>
                    <a:gd name="T8" fmla="*/ 150 w 156"/>
                    <a:gd name="T9" fmla="*/ 84 h 162"/>
                    <a:gd name="T10" fmla="*/ 138 w 156"/>
                    <a:gd name="T11" fmla="*/ 114 h 162"/>
                    <a:gd name="T12" fmla="*/ 108 w 156"/>
                    <a:gd name="T13" fmla="*/ 144 h 162"/>
                    <a:gd name="T14" fmla="*/ 84 w 156"/>
                    <a:gd name="T15" fmla="*/ 156 h 162"/>
                    <a:gd name="T16" fmla="*/ 66 w 156"/>
                    <a:gd name="T17" fmla="*/ 162 h 162"/>
                    <a:gd name="T18" fmla="*/ 48 w 156"/>
                    <a:gd name="T19" fmla="*/ 162 h 162"/>
                    <a:gd name="T20" fmla="*/ 36 w 156"/>
                    <a:gd name="T21" fmla="*/ 156 h 162"/>
                    <a:gd name="T22" fmla="*/ 30 w 156"/>
                    <a:gd name="T23" fmla="*/ 144 h 162"/>
                    <a:gd name="T24" fmla="*/ 24 w 156"/>
                    <a:gd name="T25" fmla="*/ 138 h 162"/>
                    <a:gd name="T26" fmla="*/ 18 w 156"/>
                    <a:gd name="T27" fmla="*/ 132 h 162"/>
                    <a:gd name="T28" fmla="*/ 12 w 156"/>
                    <a:gd name="T29" fmla="*/ 120 h 162"/>
                    <a:gd name="T30" fmla="*/ 6 w 156"/>
                    <a:gd name="T31" fmla="*/ 108 h 162"/>
                    <a:gd name="T32" fmla="*/ 0 w 156"/>
                    <a:gd name="T33" fmla="*/ 90 h 162"/>
                    <a:gd name="T34" fmla="*/ 0 w 156"/>
                    <a:gd name="T35" fmla="*/ 66 h 162"/>
                    <a:gd name="T36" fmla="*/ 0 w 156"/>
                    <a:gd name="T37" fmla="*/ 60 h 162"/>
                    <a:gd name="T38" fmla="*/ 6 w 156"/>
                    <a:gd name="T39" fmla="*/ 48 h 162"/>
                    <a:gd name="T40" fmla="*/ 12 w 156"/>
                    <a:gd name="T41" fmla="*/ 36 h 162"/>
                    <a:gd name="T42" fmla="*/ 18 w 156"/>
                    <a:gd name="T43" fmla="*/ 30 h 162"/>
                    <a:gd name="T44" fmla="*/ 30 w 156"/>
                    <a:gd name="T45" fmla="*/ 24 h 162"/>
                    <a:gd name="T46" fmla="*/ 42 w 156"/>
                    <a:gd name="T47" fmla="*/ 18 h 162"/>
                    <a:gd name="T48" fmla="*/ 60 w 156"/>
                    <a:gd name="T49" fmla="*/ 24 h 162"/>
                    <a:gd name="T50" fmla="*/ 72 w 156"/>
                    <a:gd name="T51" fmla="*/ 30 h 162"/>
                    <a:gd name="T52" fmla="*/ 84 w 156"/>
                    <a:gd name="T53" fmla="*/ 36 h 162"/>
                    <a:gd name="T54" fmla="*/ 90 w 156"/>
                    <a:gd name="T55" fmla="*/ 30 h 162"/>
                    <a:gd name="T56" fmla="*/ 96 w 156"/>
                    <a:gd name="T57" fmla="*/ 30 h 162"/>
                    <a:gd name="T58" fmla="*/ 102 w 156"/>
                    <a:gd name="T59" fmla="*/ 24 h 162"/>
                    <a:gd name="T60" fmla="*/ 108 w 156"/>
                    <a:gd name="T61" fmla="*/ 18 h 162"/>
                    <a:gd name="T62" fmla="*/ 120 w 156"/>
                    <a:gd name="T63" fmla="*/ 6 h 162"/>
                    <a:gd name="T64" fmla="*/ 132 w 156"/>
                    <a:gd name="T65" fmla="*/ 0 h 162"/>
                    <a:gd name="T66" fmla="*/ 138 w 156"/>
                    <a:gd name="T67" fmla="*/ 0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56" h="162">
                      <a:moveTo>
                        <a:pt x="138" y="0"/>
                      </a:moveTo>
                      <a:lnTo>
                        <a:pt x="144" y="6"/>
                      </a:lnTo>
                      <a:lnTo>
                        <a:pt x="150" y="24"/>
                      </a:lnTo>
                      <a:lnTo>
                        <a:pt x="156" y="42"/>
                      </a:lnTo>
                      <a:lnTo>
                        <a:pt x="150" y="84"/>
                      </a:lnTo>
                      <a:lnTo>
                        <a:pt x="138" y="114"/>
                      </a:lnTo>
                      <a:lnTo>
                        <a:pt x="108" y="144"/>
                      </a:lnTo>
                      <a:lnTo>
                        <a:pt x="84" y="156"/>
                      </a:lnTo>
                      <a:lnTo>
                        <a:pt x="66" y="162"/>
                      </a:lnTo>
                      <a:lnTo>
                        <a:pt x="48" y="162"/>
                      </a:lnTo>
                      <a:lnTo>
                        <a:pt x="36" y="156"/>
                      </a:lnTo>
                      <a:lnTo>
                        <a:pt x="30" y="144"/>
                      </a:lnTo>
                      <a:lnTo>
                        <a:pt x="24" y="138"/>
                      </a:lnTo>
                      <a:lnTo>
                        <a:pt x="18" y="132"/>
                      </a:lnTo>
                      <a:lnTo>
                        <a:pt x="12" y="120"/>
                      </a:lnTo>
                      <a:lnTo>
                        <a:pt x="6" y="108"/>
                      </a:lnTo>
                      <a:lnTo>
                        <a:pt x="0" y="90"/>
                      </a:lnTo>
                      <a:lnTo>
                        <a:pt x="0" y="66"/>
                      </a:lnTo>
                      <a:lnTo>
                        <a:pt x="0" y="60"/>
                      </a:lnTo>
                      <a:lnTo>
                        <a:pt x="6" y="48"/>
                      </a:lnTo>
                      <a:lnTo>
                        <a:pt x="12" y="36"/>
                      </a:lnTo>
                      <a:lnTo>
                        <a:pt x="18" y="30"/>
                      </a:lnTo>
                      <a:lnTo>
                        <a:pt x="30" y="24"/>
                      </a:lnTo>
                      <a:lnTo>
                        <a:pt x="42" y="18"/>
                      </a:lnTo>
                      <a:lnTo>
                        <a:pt x="60" y="24"/>
                      </a:lnTo>
                      <a:lnTo>
                        <a:pt x="72" y="30"/>
                      </a:lnTo>
                      <a:lnTo>
                        <a:pt x="84" y="36"/>
                      </a:lnTo>
                      <a:lnTo>
                        <a:pt x="90" y="30"/>
                      </a:lnTo>
                      <a:lnTo>
                        <a:pt x="96" y="30"/>
                      </a:lnTo>
                      <a:lnTo>
                        <a:pt x="102" y="24"/>
                      </a:lnTo>
                      <a:lnTo>
                        <a:pt x="108" y="18"/>
                      </a:lnTo>
                      <a:lnTo>
                        <a:pt x="120" y="6"/>
                      </a:lnTo>
                      <a:lnTo>
                        <a:pt x="132" y="0"/>
                      </a:lnTo>
                      <a:lnTo>
                        <a:pt x="13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1" name="Freeform 309">
                  <a:extLst>
                    <a:ext uri="{FF2B5EF4-FFF2-40B4-BE49-F238E27FC236}">
                      <a16:creationId xmlns:a16="http://schemas.microsoft.com/office/drawing/2014/main" id="{A85CEC4D-0F52-46C8-9E02-D2059C1E24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71" y="-7620"/>
                  <a:ext cx="210" cy="240"/>
                </a:xfrm>
                <a:custGeom>
                  <a:avLst/>
                  <a:gdLst>
                    <a:gd name="T0" fmla="*/ 18 w 210"/>
                    <a:gd name="T1" fmla="*/ 0 h 240"/>
                    <a:gd name="T2" fmla="*/ 30 w 210"/>
                    <a:gd name="T3" fmla="*/ 0 h 240"/>
                    <a:gd name="T4" fmla="*/ 48 w 210"/>
                    <a:gd name="T5" fmla="*/ 6 h 240"/>
                    <a:gd name="T6" fmla="*/ 60 w 210"/>
                    <a:gd name="T7" fmla="*/ 12 h 240"/>
                    <a:gd name="T8" fmla="*/ 72 w 210"/>
                    <a:gd name="T9" fmla="*/ 24 h 240"/>
                    <a:gd name="T10" fmla="*/ 78 w 210"/>
                    <a:gd name="T11" fmla="*/ 36 h 240"/>
                    <a:gd name="T12" fmla="*/ 90 w 210"/>
                    <a:gd name="T13" fmla="*/ 42 h 240"/>
                    <a:gd name="T14" fmla="*/ 96 w 210"/>
                    <a:gd name="T15" fmla="*/ 48 h 240"/>
                    <a:gd name="T16" fmla="*/ 108 w 210"/>
                    <a:gd name="T17" fmla="*/ 54 h 240"/>
                    <a:gd name="T18" fmla="*/ 126 w 210"/>
                    <a:gd name="T19" fmla="*/ 54 h 240"/>
                    <a:gd name="T20" fmla="*/ 138 w 210"/>
                    <a:gd name="T21" fmla="*/ 54 h 240"/>
                    <a:gd name="T22" fmla="*/ 150 w 210"/>
                    <a:gd name="T23" fmla="*/ 60 h 240"/>
                    <a:gd name="T24" fmla="*/ 162 w 210"/>
                    <a:gd name="T25" fmla="*/ 66 h 240"/>
                    <a:gd name="T26" fmla="*/ 168 w 210"/>
                    <a:gd name="T27" fmla="*/ 72 h 240"/>
                    <a:gd name="T28" fmla="*/ 168 w 210"/>
                    <a:gd name="T29" fmla="*/ 84 h 240"/>
                    <a:gd name="T30" fmla="*/ 162 w 210"/>
                    <a:gd name="T31" fmla="*/ 90 h 240"/>
                    <a:gd name="T32" fmla="*/ 156 w 210"/>
                    <a:gd name="T33" fmla="*/ 96 h 240"/>
                    <a:gd name="T34" fmla="*/ 150 w 210"/>
                    <a:gd name="T35" fmla="*/ 102 h 240"/>
                    <a:gd name="T36" fmla="*/ 144 w 210"/>
                    <a:gd name="T37" fmla="*/ 108 h 240"/>
                    <a:gd name="T38" fmla="*/ 150 w 210"/>
                    <a:gd name="T39" fmla="*/ 120 h 240"/>
                    <a:gd name="T40" fmla="*/ 156 w 210"/>
                    <a:gd name="T41" fmla="*/ 126 h 240"/>
                    <a:gd name="T42" fmla="*/ 174 w 210"/>
                    <a:gd name="T43" fmla="*/ 132 h 240"/>
                    <a:gd name="T44" fmla="*/ 192 w 210"/>
                    <a:gd name="T45" fmla="*/ 132 h 240"/>
                    <a:gd name="T46" fmla="*/ 198 w 210"/>
                    <a:gd name="T47" fmla="*/ 132 h 240"/>
                    <a:gd name="T48" fmla="*/ 204 w 210"/>
                    <a:gd name="T49" fmla="*/ 138 h 240"/>
                    <a:gd name="T50" fmla="*/ 210 w 210"/>
                    <a:gd name="T51" fmla="*/ 144 h 240"/>
                    <a:gd name="T52" fmla="*/ 210 w 210"/>
                    <a:gd name="T53" fmla="*/ 156 h 240"/>
                    <a:gd name="T54" fmla="*/ 210 w 210"/>
                    <a:gd name="T55" fmla="*/ 162 h 240"/>
                    <a:gd name="T56" fmla="*/ 204 w 210"/>
                    <a:gd name="T57" fmla="*/ 174 h 240"/>
                    <a:gd name="T58" fmla="*/ 198 w 210"/>
                    <a:gd name="T59" fmla="*/ 180 h 240"/>
                    <a:gd name="T60" fmla="*/ 192 w 210"/>
                    <a:gd name="T61" fmla="*/ 186 h 240"/>
                    <a:gd name="T62" fmla="*/ 192 w 210"/>
                    <a:gd name="T63" fmla="*/ 192 h 240"/>
                    <a:gd name="T64" fmla="*/ 180 w 210"/>
                    <a:gd name="T65" fmla="*/ 192 h 240"/>
                    <a:gd name="T66" fmla="*/ 168 w 210"/>
                    <a:gd name="T67" fmla="*/ 192 h 240"/>
                    <a:gd name="T68" fmla="*/ 162 w 210"/>
                    <a:gd name="T69" fmla="*/ 198 h 240"/>
                    <a:gd name="T70" fmla="*/ 156 w 210"/>
                    <a:gd name="T71" fmla="*/ 204 h 240"/>
                    <a:gd name="T72" fmla="*/ 150 w 210"/>
                    <a:gd name="T73" fmla="*/ 222 h 240"/>
                    <a:gd name="T74" fmla="*/ 150 w 210"/>
                    <a:gd name="T75" fmla="*/ 234 h 240"/>
                    <a:gd name="T76" fmla="*/ 144 w 210"/>
                    <a:gd name="T77" fmla="*/ 240 h 240"/>
                    <a:gd name="T78" fmla="*/ 132 w 210"/>
                    <a:gd name="T79" fmla="*/ 240 h 240"/>
                    <a:gd name="T80" fmla="*/ 126 w 210"/>
                    <a:gd name="T81" fmla="*/ 234 h 240"/>
                    <a:gd name="T82" fmla="*/ 114 w 210"/>
                    <a:gd name="T83" fmla="*/ 228 h 240"/>
                    <a:gd name="T84" fmla="*/ 102 w 210"/>
                    <a:gd name="T85" fmla="*/ 210 h 240"/>
                    <a:gd name="T86" fmla="*/ 84 w 210"/>
                    <a:gd name="T87" fmla="*/ 174 h 240"/>
                    <a:gd name="T88" fmla="*/ 60 w 210"/>
                    <a:gd name="T89" fmla="*/ 132 h 240"/>
                    <a:gd name="T90" fmla="*/ 48 w 210"/>
                    <a:gd name="T91" fmla="*/ 96 h 240"/>
                    <a:gd name="T92" fmla="*/ 48 w 210"/>
                    <a:gd name="T93" fmla="*/ 84 h 240"/>
                    <a:gd name="T94" fmla="*/ 42 w 210"/>
                    <a:gd name="T95" fmla="*/ 78 h 240"/>
                    <a:gd name="T96" fmla="*/ 36 w 210"/>
                    <a:gd name="T97" fmla="*/ 72 h 240"/>
                    <a:gd name="T98" fmla="*/ 24 w 210"/>
                    <a:gd name="T99" fmla="*/ 78 h 240"/>
                    <a:gd name="T100" fmla="*/ 12 w 210"/>
                    <a:gd name="T101" fmla="*/ 84 h 240"/>
                    <a:gd name="T102" fmla="*/ 6 w 210"/>
                    <a:gd name="T103" fmla="*/ 84 h 240"/>
                    <a:gd name="T104" fmla="*/ 0 w 210"/>
                    <a:gd name="T105" fmla="*/ 84 h 240"/>
                    <a:gd name="T106" fmla="*/ 0 w 210"/>
                    <a:gd name="T107" fmla="*/ 78 h 240"/>
                    <a:gd name="T108" fmla="*/ 0 w 210"/>
                    <a:gd name="T109" fmla="*/ 66 h 240"/>
                    <a:gd name="T110" fmla="*/ 0 w 210"/>
                    <a:gd name="T111" fmla="*/ 48 h 240"/>
                    <a:gd name="T112" fmla="*/ 0 w 210"/>
                    <a:gd name="T113" fmla="*/ 36 h 240"/>
                    <a:gd name="T114" fmla="*/ 6 w 210"/>
                    <a:gd name="T115" fmla="*/ 24 h 240"/>
                    <a:gd name="T116" fmla="*/ 6 w 210"/>
                    <a:gd name="T117" fmla="*/ 6 h 240"/>
                    <a:gd name="T118" fmla="*/ 12 w 210"/>
                    <a:gd name="T119" fmla="*/ 0 h 240"/>
                    <a:gd name="T120" fmla="*/ 18 w 210"/>
                    <a:gd name="T121" fmla="*/ 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10" h="240">
                      <a:moveTo>
                        <a:pt x="18" y="0"/>
                      </a:moveTo>
                      <a:lnTo>
                        <a:pt x="30" y="0"/>
                      </a:lnTo>
                      <a:lnTo>
                        <a:pt x="48" y="6"/>
                      </a:lnTo>
                      <a:lnTo>
                        <a:pt x="60" y="12"/>
                      </a:lnTo>
                      <a:lnTo>
                        <a:pt x="72" y="24"/>
                      </a:lnTo>
                      <a:lnTo>
                        <a:pt x="78" y="36"/>
                      </a:lnTo>
                      <a:lnTo>
                        <a:pt x="90" y="42"/>
                      </a:lnTo>
                      <a:lnTo>
                        <a:pt x="96" y="48"/>
                      </a:lnTo>
                      <a:lnTo>
                        <a:pt x="108" y="54"/>
                      </a:lnTo>
                      <a:lnTo>
                        <a:pt x="126" y="54"/>
                      </a:lnTo>
                      <a:lnTo>
                        <a:pt x="138" y="54"/>
                      </a:lnTo>
                      <a:lnTo>
                        <a:pt x="150" y="60"/>
                      </a:lnTo>
                      <a:lnTo>
                        <a:pt x="162" y="66"/>
                      </a:lnTo>
                      <a:lnTo>
                        <a:pt x="168" y="72"/>
                      </a:lnTo>
                      <a:lnTo>
                        <a:pt x="168" y="84"/>
                      </a:lnTo>
                      <a:lnTo>
                        <a:pt x="162" y="90"/>
                      </a:lnTo>
                      <a:lnTo>
                        <a:pt x="156" y="96"/>
                      </a:lnTo>
                      <a:lnTo>
                        <a:pt x="150" y="102"/>
                      </a:lnTo>
                      <a:lnTo>
                        <a:pt x="144" y="108"/>
                      </a:lnTo>
                      <a:lnTo>
                        <a:pt x="150" y="120"/>
                      </a:lnTo>
                      <a:lnTo>
                        <a:pt x="156" y="126"/>
                      </a:lnTo>
                      <a:lnTo>
                        <a:pt x="174" y="132"/>
                      </a:lnTo>
                      <a:lnTo>
                        <a:pt x="192" y="132"/>
                      </a:lnTo>
                      <a:lnTo>
                        <a:pt x="198" y="132"/>
                      </a:lnTo>
                      <a:lnTo>
                        <a:pt x="204" y="138"/>
                      </a:lnTo>
                      <a:lnTo>
                        <a:pt x="210" y="144"/>
                      </a:lnTo>
                      <a:lnTo>
                        <a:pt x="210" y="156"/>
                      </a:lnTo>
                      <a:lnTo>
                        <a:pt x="210" y="162"/>
                      </a:lnTo>
                      <a:lnTo>
                        <a:pt x="204" y="174"/>
                      </a:lnTo>
                      <a:lnTo>
                        <a:pt x="198" y="180"/>
                      </a:lnTo>
                      <a:lnTo>
                        <a:pt x="192" y="186"/>
                      </a:lnTo>
                      <a:lnTo>
                        <a:pt x="192" y="192"/>
                      </a:lnTo>
                      <a:lnTo>
                        <a:pt x="180" y="192"/>
                      </a:lnTo>
                      <a:lnTo>
                        <a:pt x="168" y="192"/>
                      </a:lnTo>
                      <a:lnTo>
                        <a:pt x="162" y="198"/>
                      </a:lnTo>
                      <a:lnTo>
                        <a:pt x="156" y="204"/>
                      </a:lnTo>
                      <a:lnTo>
                        <a:pt x="150" y="222"/>
                      </a:lnTo>
                      <a:lnTo>
                        <a:pt x="150" y="234"/>
                      </a:lnTo>
                      <a:lnTo>
                        <a:pt x="144" y="240"/>
                      </a:lnTo>
                      <a:lnTo>
                        <a:pt x="132" y="240"/>
                      </a:lnTo>
                      <a:lnTo>
                        <a:pt x="126" y="234"/>
                      </a:lnTo>
                      <a:lnTo>
                        <a:pt x="114" y="228"/>
                      </a:lnTo>
                      <a:lnTo>
                        <a:pt x="102" y="210"/>
                      </a:lnTo>
                      <a:lnTo>
                        <a:pt x="84" y="174"/>
                      </a:lnTo>
                      <a:lnTo>
                        <a:pt x="60" y="132"/>
                      </a:lnTo>
                      <a:lnTo>
                        <a:pt x="48" y="96"/>
                      </a:lnTo>
                      <a:lnTo>
                        <a:pt x="48" y="84"/>
                      </a:lnTo>
                      <a:lnTo>
                        <a:pt x="42" y="78"/>
                      </a:lnTo>
                      <a:lnTo>
                        <a:pt x="36" y="72"/>
                      </a:lnTo>
                      <a:lnTo>
                        <a:pt x="24" y="78"/>
                      </a:lnTo>
                      <a:lnTo>
                        <a:pt x="12" y="84"/>
                      </a:lnTo>
                      <a:lnTo>
                        <a:pt x="6" y="84"/>
                      </a:lnTo>
                      <a:lnTo>
                        <a:pt x="0" y="84"/>
                      </a:lnTo>
                      <a:lnTo>
                        <a:pt x="0" y="78"/>
                      </a:lnTo>
                      <a:lnTo>
                        <a:pt x="0" y="66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6" y="24"/>
                      </a:lnTo>
                      <a:lnTo>
                        <a:pt x="6" y="6"/>
                      </a:lnTo>
                      <a:lnTo>
                        <a:pt x="12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2" name="Freeform 310">
                  <a:extLst>
                    <a:ext uri="{FF2B5EF4-FFF2-40B4-BE49-F238E27FC236}">
                      <a16:creationId xmlns:a16="http://schemas.microsoft.com/office/drawing/2014/main" id="{464B0A18-4353-40BA-8F18-D2B8561406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511" y="-7908"/>
                  <a:ext cx="1380" cy="1218"/>
                </a:xfrm>
                <a:custGeom>
                  <a:avLst/>
                  <a:gdLst>
                    <a:gd name="T0" fmla="*/ 594 w 1380"/>
                    <a:gd name="T1" fmla="*/ 66 h 1218"/>
                    <a:gd name="T2" fmla="*/ 540 w 1380"/>
                    <a:gd name="T3" fmla="*/ 132 h 1218"/>
                    <a:gd name="T4" fmla="*/ 558 w 1380"/>
                    <a:gd name="T5" fmla="*/ 156 h 1218"/>
                    <a:gd name="T6" fmla="*/ 642 w 1380"/>
                    <a:gd name="T7" fmla="*/ 174 h 1218"/>
                    <a:gd name="T8" fmla="*/ 672 w 1380"/>
                    <a:gd name="T9" fmla="*/ 138 h 1218"/>
                    <a:gd name="T10" fmla="*/ 726 w 1380"/>
                    <a:gd name="T11" fmla="*/ 174 h 1218"/>
                    <a:gd name="T12" fmla="*/ 708 w 1380"/>
                    <a:gd name="T13" fmla="*/ 264 h 1218"/>
                    <a:gd name="T14" fmla="*/ 624 w 1380"/>
                    <a:gd name="T15" fmla="*/ 306 h 1218"/>
                    <a:gd name="T16" fmla="*/ 750 w 1380"/>
                    <a:gd name="T17" fmla="*/ 300 h 1218"/>
                    <a:gd name="T18" fmla="*/ 846 w 1380"/>
                    <a:gd name="T19" fmla="*/ 288 h 1218"/>
                    <a:gd name="T20" fmla="*/ 840 w 1380"/>
                    <a:gd name="T21" fmla="*/ 210 h 1218"/>
                    <a:gd name="T22" fmla="*/ 876 w 1380"/>
                    <a:gd name="T23" fmla="*/ 186 h 1218"/>
                    <a:gd name="T24" fmla="*/ 936 w 1380"/>
                    <a:gd name="T25" fmla="*/ 354 h 1218"/>
                    <a:gd name="T26" fmla="*/ 948 w 1380"/>
                    <a:gd name="T27" fmla="*/ 426 h 1218"/>
                    <a:gd name="T28" fmla="*/ 1014 w 1380"/>
                    <a:gd name="T29" fmla="*/ 438 h 1218"/>
                    <a:gd name="T30" fmla="*/ 1032 w 1380"/>
                    <a:gd name="T31" fmla="*/ 330 h 1218"/>
                    <a:gd name="T32" fmla="*/ 1062 w 1380"/>
                    <a:gd name="T33" fmla="*/ 228 h 1218"/>
                    <a:gd name="T34" fmla="*/ 1122 w 1380"/>
                    <a:gd name="T35" fmla="*/ 210 h 1218"/>
                    <a:gd name="T36" fmla="*/ 1206 w 1380"/>
                    <a:gd name="T37" fmla="*/ 300 h 1218"/>
                    <a:gd name="T38" fmla="*/ 1242 w 1380"/>
                    <a:gd name="T39" fmla="*/ 330 h 1218"/>
                    <a:gd name="T40" fmla="*/ 1242 w 1380"/>
                    <a:gd name="T41" fmla="*/ 396 h 1218"/>
                    <a:gd name="T42" fmla="*/ 1236 w 1380"/>
                    <a:gd name="T43" fmla="*/ 594 h 1218"/>
                    <a:gd name="T44" fmla="*/ 1224 w 1380"/>
                    <a:gd name="T45" fmla="*/ 696 h 1218"/>
                    <a:gd name="T46" fmla="*/ 1170 w 1380"/>
                    <a:gd name="T47" fmla="*/ 750 h 1218"/>
                    <a:gd name="T48" fmla="*/ 1236 w 1380"/>
                    <a:gd name="T49" fmla="*/ 810 h 1218"/>
                    <a:gd name="T50" fmla="*/ 1266 w 1380"/>
                    <a:gd name="T51" fmla="*/ 882 h 1218"/>
                    <a:gd name="T52" fmla="*/ 1356 w 1380"/>
                    <a:gd name="T53" fmla="*/ 918 h 1218"/>
                    <a:gd name="T54" fmla="*/ 1380 w 1380"/>
                    <a:gd name="T55" fmla="*/ 1032 h 1218"/>
                    <a:gd name="T56" fmla="*/ 1290 w 1380"/>
                    <a:gd name="T57" fmla="*/ 1074 h 1218"/>
                    <a:gd name="T58" fmla="*/ 1212 w 1380"/>
                    <a:gd name="T59" fmla="*/ 1044 h 1218"/>
                    <a:gd name="T60" fmla="*/ 1146 w 1380"/>
                    <a:gd name="T61" fmla="*/ 1050 h 1218"/>
                    <a:gd name="T62" fmla="*/ 1116 w 1380"/>
                    <a:gd name="T63" fmla="*/ 1086 h 1218"/>
                    <a:gd name="T64" fmla="*/ 1122 w 1380"/>
                    <a:gd name="T65" fmla="*/ 1152 h 1218"/>
                    <a:gd name="T66" fmla="*/ 1200 w 1380"/>
                    <a:gd name="T67" fmla="*/ 1122 h 1218"/>
                    <a:gd name="T68" fmla="*/ 1182 w 1380"/>
                    <a:gd name="T69" fmla="*/ 1176 h 1218"/>
                    <a:gd name="T70" fmla="*/ 1080 w 1380"/>
                    <a:gd name="T71" fmla="*/ 1212 h 1218"/>
                    <a:gd name="T72" fmla="*/ 924 w 1380"/>
                    <a:gd name="T73" fmla="*/ 1134 h 1218"/>
                    <a:gd name="T74" fmla="*/ 912 w 1380"/>
                    <a:gd name="T75" fmla="*/ 1086 h 1218"/>
                    <a:gd name="T76" fmla="*/ 774 w 1380"/>
                    <a:gd name="T77" fmla="*/ 1032 h 1218"/>
                    <a:gd name="T78" fmla="*/ 606 w 1380"/>
                    <a:gd name="T79" fmla="*/ 1080 h 1218"/>
                    <a:gd name="T80" fmla="*/ 318 w 1380"/>
                    <a:gd name="T81" fmla="*/ 1074 h 1218"/>
                    <a:gd name="T82" fmla="*/ 162 w 1380"/>
                    <a:gd name="T83" fmla="*/ 1008 h 1218"/>
                    <a:gd name="T84" fmla="*/ 210 w 1380"/>
                    <a:gd name="T85" fmla="*/ 918 h 1218"/>
                    <a:gd name="T86" fmla="*/ 138 w 1380"/>
                    <a:gd name="T87" fmla="*/ 834 h 1218"/>
                    <a:gd name="T88" fmla="*/ 0 w 1380"/>
                    <a:gd name="T89" fmla="*/ 702 h 1218"/>
                    <a:gd name="T90" fmla="*/ 60 w 1380"/>
                    <a:gd name="T91" fmla="*/ 612 h 1218"/>
                    <a:gd name="T92" fmla="*/ 300 w 1380"/>
                    <a:gd name="T93" fmla="*/ 648 h 1218"/>
                    <a:gd name="T94" fmla="*/ 468 w 1380"/>
                    <a:gd name="T95" fmla="*/ 672 h 1218"/>
                    <a:gd name="T96" fmla="*/ 450 w 1380"/>
                    <a:gd name="T97" fmla="*/ 630 h 1218"/>
                    <a:gd name="T98" fmla="*/ 174 w 1380"/>
                    <a:gd name="T99" fmla="*/ 540 h 1218"/>
                    <a:gd name="T100" fmla="*/ 42 w 1380"/>
                    <a:gd name="T101" fmla="*/ 444 h 1218"/>
                    <a:gd name="T102" fmla="*/ 198 w 1380"/>
                    <a:gd name="T103" fmla="*/ 414 h 1218"/>
                    <a:gd name="T104" fmla="*/ 288 w 1380"/>
                    <a:gd name="T105" fmla="*/ 360 h 1218"/>
                    <a:gd name="T106" fmla="*/ 300 w 1380"/>
                    <a:gd name="T107" fmla="*/ 312 h 1218"/>
                    <a:gd name="T108" fmla="*/ 234 w 1380"/>
                    <a:gd name="T109" fmla="*/ 312 h 1218"/>
                    <a:gd name="T110" fmla="*/ 168 w 1380"/>
                    <a:gd name="T111" fmla="*/ 354 h 1218"/>
                    <a:gd name="T112" fmla="*/ 72 w 1380"/>
                    <a:gd name="T113" fmla="*/ 336 h 1218"/>
                    <a:gd name="T114" fmla="*/ 54 w 1380"/>
                    <a:gd name="T115" fmla="*/ 288 h 1218"/>
                    <a:gd name="T116" fmla="*/ 18 w 1380"/>
                    <a:gd name="T117" fmla="*/ 252 h 1218"/>
                    <a:gd name="T118" fmla="*/ 150 w 1380"/>
                    <a:gd name="T119" fmla="*/ 186 h 1218"/>
                    <a:gd name="T120" fmla="*/ 162 w 1380"/>
                    <a:gd name="T121" fmla="*/ 126 h 1218"/>
                    <a:gd name="T122" fmla="*/ 396 w 1380"/>
                    <a:gd name="T123" fmla="*/ 42 h 1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380" h="1218">
                      <a:moveTo>
                        <a:pt x="540" y="0"/>
                      </a:moveTo>
                      <a:lnTo>
                        <a:pt x="564" y="6"/>
                      </a:lnTo>
                      <a:lnTo>
                        <a:pt x="576" y="12"/>
                      </a:lnTo>
                      <a:lnTo>
                        <a:pt x="588" y="30"/>
                      </a:lnTo>
                      <a:lnTo>
                        <a:pt x="594" y="48"/>
                      </a:lnTo>
                      <a:lnTo>
                        <a:pt x="594" y="66"/>
                      </a:lnTo>
                      <a:lnTo>
                        <a:pt x="588" y="84"/>
                      </a:lnTo>
                      <a:lnTo>
                        <a:pt x="582" y="96"/>
                      </a:lnTo>
                      <a:lnTo>
                        <a:pt x="570" y="102"/>
                      </a:lnTo>
                      <a:lnTo>
                        <a:pt x="558" y="114"/>
                      </a:lnTo>
                      <a:lnTo>
                        <a:pt x="546" y="120"/>
                      </a:lnTo>
                      <a:lnTo>
                        <a:pt x="540" y="132"/>
                      </a:lnTo>
                      <a:lnTo>
                        <a:pt x="534" y="138"/>
                      </a:lnTo>
                      <a:lnTo>
                        <a:pt x="528" y="144"/>
                      </a:lnTo>
                      <a:lnTo>
                        <a:pt x="534" y="156"/>
                      </a:lnTo>
                      <a:lnTo>
                        <a:pt x="534" y="156"/>
                      </a:lnTo>
                      <a:lnTo>
                        <a:pt x="546" y="156"/>
                      </a:lnTo>
                      <a:lnTo>
                        <a:pt x="558" y="156"/>
                      </a:lnTo>
                      <a:lnTo>
                        <a:pt x="576" y="156"/>
                      </a:lnTo>
                      <a:lnTo>
                        <a:pt x="600" y="162"/>
                      </a:lnTo>
                      <a:lnTo>
                        <a:pt x="618" y="174"/>
                      </a:lnTo>
                      <a:lnTo>
                        <a:pt x="630" y="174"/>
                      </a:lnTo>
                      <a:lnTo>
                        <a:pt x="636" y="174"/>
                      </a:lnTo>
                      <a:lnTo>
                        <a:pt x="642" y="174"/>
                      </a:lnTo>
                      <a:lnTo>
                        <a:pt x="642" y="168"/>
                      </a:lnTo>
                      <a:lnTo>
                        <a:pt x="642" y="162"/>
                      </a:lnTo>
                      <a:lnTo>
                        <a:pt x="648" y="156"/>
                      </a:lnTo>
                      <a:lnTo>
                        <a:pt x="654" y="150"/>
                      </a:lnTo>
                      <a:lnTo>
                        <a:pt x="666" y="144"/>
                      </a:lnTo>
                      <a:lnTo>
                        <a:pt x="672" y="138"/>
                      </a:lnTo>
                      <a:lnTo>
                        <a:pt x="684" y="138"/>
                      </a:lnTo>
                      <a:lnTo>
                        <a:pt x="690" y="138"/>
                      </a:lnTo>
                      <a:lnTo>
                        <a:pt x="696" y="138"/>
                      </a:lnTo>
                      <a:lnTo>
                        <a:pt x="708" y="150"/>
                      </a:lnTo>
                      <a:lnTo>
                        <a:pt x="714" y="162"/>
                      </a:lnTo>
                      <a:lnTo>
                        <a:pt x="726" y="174"/>
                      </a:lnTo>
                      <a:lnTo>
                        <a:pt x="738" y="186"/>
                      </a:lnTo>
                      <a:lnTo>
                        <a:pt x="750" y="192"/>
                      </a:lnTo>
                      <a:lnTo>
                        <a:pt x="756" y="210"/>
                      </a:lnTo>
                      <a:lnTo>
                        <a:pt x="756" y="228"/>
                      </a:lnTo>
                      <a:lnTo>
                        <a:pt x="744" y="252"/>
                      </a:lnTo>
                      <a:lnTo>
                        <a:pt x="708" y="264"/>
                      </a:lnTo>
                      <a:lnTo>
                        <a:pt x="666" y="276"/>
                      </a:lnTo>
                      <a:lnTo>
                        <a:pt x="636" y="282"/>
                      </a:lnTo>
                      <a:lnTo>
                        <a:pt x="624" y="288"/>
                      </a:lnTo>
                      <a:lnTo>
                        <a:pt x="618" y="294"/>
                      </a:lnTo>
                      <a:lnTo>
                        <a:pt x="618" y="300"/>
                      </a:lnTo>
                      <a:lnTo>
                        <a:pt x="624" y="306"/>
                      </a:lnTo>
                      <a:lnTo>
                        <a:pt x="636" y="312"/>
                      </a:lnTo>
                      <a:lnTo>
                        <a:pt x="648" y="318"/>
                      </a:lnTo>
                      <a:lnTo>
                        <a:pt x="660" y="324"/>
                      </a:lnTo>
                      <a:lnTo>
                        <a:pt x="678" y="318"/>
                      </a:lnTo>
                      <a:lnTo>
                        <a:pt x="714" y="312"/>
                      </a:lnTo>
                      <a:lnTo>
                        <a:pt x="750" y="300"/>
                      </a:lnTo>
                      <a:lnTo>
                        <a:pt x="792" y="294"/>
                      </a:lnTo>
                      <a:lnTo>
                        <a:pt x="822" y="300"/>
                      </a:lnTo>
                      <a:lnTo>
                        <a:pt x="834" y="300"/>
                      </a:lnTo>
                      <a:lnTo>
                        <a:pt x="840" y="300"/>
                      </a:lnTo>
                      <a:lnTo>
                        <a:pt x="846" y="294"/>
                      </a:lnTo>
                      <a:lnTo>
                        <a:pt x="846" y="288"/>
                      </a:lnTo>
                      <a:lnTo>
                        <a:pt x="840" y="276"/>
                      </a:lnTo>
                      <a:lnTo>
                        <a:pt x="834" y="264"/>
                      </a:lnTo>
                      <a:lnTo>
                        <a:pt x="828" y="252"/>
                      </a:lnTo>
                      <a:lnTo>
                        <a:pt x="834" y="240"/>
                      </a:lnTo>
                      <a:lnTo>
                        <a:pt x="834" y="228"/>
                      </a:lnTo>
                      <a:lnTo>
                        <a:pt x="840" y="210"/>
                      </a:lnTo>
                      <a:lnTo>
                        <a:pt x="834" y="198"/>
                      </a:lnTo>
                      <a:lnTo>
                        <a:pt x="834" y="192"/>
                      </a:lnTo>
                      <a:lnTo>
                        <a:pt x="834" y="180"/>
                      </a:lnTo>
                      <a:lnTo>
                        <a:pt x="846" y="180"/>
                      </a:lnTo>
                      <a:lnTo>
                        <a:pt x="858" y="180"/>
                      </a:lnTo>
                      <a:lnTo>
                        <a:pt x="876" y="186"/>
                      </a:lnTo>
                      <a:lnTo>
                        <a:pt x="894" y="198"/>
                      </a:lnTo>
                      <a:lnTo>
                        <a:pt x="930" y="234"/>
                      </a:lnTo>
                      <a:lnTo>
                        <a:pt x="936" y="276"/>
                      </a:lnTo>
                      <a:lnTo>
                        <a:pt x="936" y="324"/>
                      </a:lnTo>
                      <a:lnTo>
                        <a:pt x="936" y="342"/>
                      </a:lnTo>
                      <a:lnTo>
                        <a:pt x="936" y="354"/>
                      </a:lnTo>
                      <a:lnTo>
                        <a:pt x="936" y="366"/>
                      </a:lnTo>
                      <a:lnTo>
                        <a:pt x="936" y="378"/>
                      </a:lnTo>
                      <a:lnTo>
                        <a:pt x="942" y="384"/>
                      </a:lnTo>
                      <a:lnTo>
                        <a:pt x="942" y="396"/>
                      </a:lnTo>
                      <a:lnTo>
                        <a:pt x="942" y="414"/>
                      </a:lnTo>
                      <a:lnTo>
                        <a:pt x="948" y="426"/>
                      </a:lnTo>
                      <a:lnTo>
                        <a:pt x="948" y="432"/>
                      </a:lnTo>
                      <a:lnTo>
                        <a:pt x="954" y="438"/>
                      </a:lnTo>
                      <a:lnTo>
                        <a:pt x="972" y="438"/>
                      </a:lnTo>
                      <a:lnTo>
                        <a:pt x="990" y="438"/>
                      </a:lnTo>
                      <a:lnTo>
                        <a:pt x="1008" y="438"/>
                      </a:lnTo>
                      <a:lnTo>
                        <a:pt x="1014" y="438"/>
                      </a:lnTo>
                      <a:lnTo>
                        <a:pt x="1020" y="438"/>
                      </a:lnTo>
                      <a:lnTo>
                        <a:pt x="1020" y="432"/>
                      </a:lnTo>
                      <a:lnTo>
                        <a:pt x="1020" y="426"/>
                      </a:lnTo>
                      <a:lnTo>
                        <a:pt x="1020" y="414"/>
                      </a:lnTo>
                      <a:lnTo>
                        <a:pt x="1026" y="378"/>
                      </a:lnTo>
                      <a:lnTo>
                        <a:pt x="1032" y="330"/>
                      </a:lnTo>
                      <a:lnTo>
                        <a:pt x="1032" y="288"/>
                      </a:lnTo>
                      <a:lnTo>
                        <a:pt x="1026" y="276"/>
                      </a:lnTo>
                      <a:lnTo>
                        <a:pt x="1032" y="258"/>
                      </a:lnTo>
                      <a:lnTo>
                        <a:pt x="1038" y="246"/>
                      </a:lnTo>
                      <a:lnTo>
                        <a:pt x="1050" y="240"/>
                      </a:lnTo>
                      <a:lnTo>
                        <a:pt x="1062" y="228"/>
                      </a:lnTo>
                      <a:lnTo>
                        <a:pt x="1068" y="222"/>
                      </a:lnTo>
                      <a:lnTo>
                        <a:pt x="1080" y="210"/>
                      </a:lnTo>
                      <a:lnTo>
                        <a:pt x="1092" y="204"/>
                      </a:lnTo>
                      <a:lnTo>
                        <a:pt x="1098" y="198"/>
                      </a:lnTo>
                      <a:lnTo>
                        <a:pt x="1110" y="204"/>
                      </a:lnTo>
                      <a:lnTo>
                        <a:pt x="1122" y="210"/>
                      </a:lnTo>
                      <a:lnTo>
                        <a:pt x="1134" y="222"/>
                      </a:lnTo>
                      <a:lnTo>
                        <a:pt x="1152" y="234"/>
                      </a:lnTo>
                      <a:lnTo>
                        <a:pt x="1170" y="252"/>
                      </a:lnTo>
                      <a:lnTo>
                        <a:pt x="1188" y="270"/>
                      </a:lnTo>
                      <a:lnTo>
                        <a:pt x="1200" y="288"/>
                      </a:lnTo>
                      <a:lnTo>
                        <a:pt x="1206" y="300"/>
                      </a:lnTo>
                      <a:lnTo>
                        <a:pt x="1212" y="306"/>
                      </a:lnTo>
                      <a:lnTo>
                        <a:pt x="1218" y="312"/>
                      </a:lnTo>
                      <a:lnTo>
                        <a:pt x="1224" y="312"/>
                      </a:lnTo>
                      <a:lnTo>
                        <a:pt x="1230" y="312"/>
                      </a:lnTo>
                      <a:lnTo>
                        <a:pt x="1236" y="318"/>
                      </a:lnTo>
                      <a:lnTo>
                        <a:pt x="1242" y="330"/>
                      </a:lnTo>
                      <a:lnTo>
                        <a:pt x="1242" y="330"/>
                      </a:lnTo>
                      <a:lnTo>
                        <a:pt x="1242" y="342"/>
                      </a:lnTo>
                      <a:lnTo>
                        <a:pt x="1242" y="354"/>
                      </a:lnTo>
                      <a:lnTo>
                        <a:pt x="1248" y="366"/>
                      </a:lnTo>
                      <a:lnTo>
                        <a:pt x="1248" y="384"/>
                      </a:lnTo>
                      <a:lnTo>
                        <a:pt x="1242" y="396"/>
                      </a:lnTo>
                      <a:lnTo>
                        <a:pt x="1236" y="408"/>
                      </a:lnTo>
                      <a:lnTo>
                        <a:pt x="1224" y="438"/>
                      </a:lnTo>
                      <a:lnTo>
                        <a:pt x="1230" y="474"/>
                      </a:lnTo>
                      <a:lnTo>
                        <a:pt x="1236" y="516"/>
                      </a:lnTo>
                      <a:lnTo>
                        <a:pt x="1236" y="558"/>
                      </a:lnTo>
                      <a:lnTo>
                        <a:pt x="1236" y="594"/>
                      </a:lnTo>
                      <a:lnTo>
                        <a:pt x="1236" y="630"/>
                      </a:lnTo>
                      <a:lnTo>
                        <a:pt x="1236" y="648"/>
                      </a:lnTo>
                      <a:lnTo>
                        <a:pt x="1236" y="666"/>
                      </a:lnTo>
                      <a:lnTo>
                        <a:pt x="1230" y="678"/>
                      </a:lnTo>
                      <a:lnTo>
                        <a:pt x="1230" y="690"/>
                      </a:lnTo>
                      <a:lnTo>
                        <a:pt x="1224" y="696"/>
                      </a:lnTo>
                      <a:lnTo>
                        <a:pt x="1212" y="702"/>
                      </a:lnTo>
                      <a:lnTo>
                        <a:pt x="1194" y="702"/>
                      </a:lnTo>
                      <a:lnTo>
                        <a:pt x="1182" y="702"/>
                      </a:lnTo>
                      <a:lnTo>
                        <a:pt x="1176" y="714"/>
                      </a:lnTo>
                      <a:lnTo>
                        <a:pt x="1170" y="726"/>
                      </a:lnTo>
                      <a:lnTo>
                        <a:pt x="1170" y="750"/>
                      </a:lnTo>
                      <a:lnTo>
                        <a:pt x="1170" y="768"/>
                      </a:lnTo>
                      <a:lnTo>
                        <a:pt x="1176" y="780"/>
                      </a:lnTo>
                      <a:lnTo>
                        <a:pt x="1188" y="792"/>
                      </a:lnTo>
                      <a:lnTo>
                        <a:pt x="1200" y="798"/>
                      </a:lnTo>
                      <a:lnTo>
                        <a:pt x="1218" y="804"/>
                      </a:lnTo>
                      <a:lnTo>
                        <a:pt x="1236" y="810"/>
                      </a:lnTo>
                      <a:lnTo>
                        <a:pt x="1242" y="822"/>
                      </a:lnTo>
                      <a:lnTo>
                        <a:pt x="1248" y="834"/>
                      </a:lnTo>
                      <a:lnTo>
                        <a:pt x="1254" y="846"/>
                      </a:lnTo>
                      <a:lnTo>
                        <a:pt x="1254" y="858"/>
                      </a:lnTo>
                      <a:lnTo>
                        <a:pt x="1260" y="870"/>
                      </a:lnTo>
                      <a:lnTo>
                        <a:pt x="1266" y="882"/>
                      </a:lnTo>
                      <a:lnTo>
                        <a:pt x="1272" y="888"/>
                      </a:lnTo>
                      <a:lnTo>
                        <a:pt x="1284" y="900"/>
                      </a:lnTo>
                      <a:lnTo>
                        <a:pt x="1296" y="906"/>
                      </a:lnTo>
                      <a:lnTo>
                        <a:pt x="1320" y="906"/>
                      </a:lnTo>
                      <a:lnTo>
                        <a:pt x="1338" y="912"/>
                      </a:lnTo>
                      <a:lnTo>
                        <a:pt x="1356" y="918"/>
                      </a:lnTo>
                      <a:lnTo>
                        <a:pt x="1368" y="930"/>
                      </a:lnTo>
                      <a:lnTo>
                        <a:pt x="1374" y="948"/>
                      </a:lnTo>
                      <a:lnTo>
                        <a:pt x="1374" y="960"/>
                      </a:lnTo>
                      <a:lnTo>
                        <a:pt x="1380" y="984"/>
                      </a:lnTo>
                      <a:lnTo>
                        <a:pt x="1380" y="1014"/>
                      </a:lnTo>
                      <a:lnTo>
                        <a:pt x="1380" y="1032"/>
                      </a:lnTo>
                      <a:lnTo>
                        <a:pt x="1374" y="1050"/>
                      </a:lnTo>
                      <a:lnTo>
                        <a:pt x="1362" y="1062"/>
                      </a:lnTo>
                      <a:lnTo>
                        <a:pt x="1344" y="1074"/>
                      </a:lnTo>
                      <a:lnTo>
                        <a:pt x="1326" y="1080"/>
                      </a:lnTo>
                      <a:lnTo>
                        <a:pt x="1308" y="1080"/>
                      </a:lnTo>
                      <a:lnTo>
                        <a:pt x="1290" y="1074"/>
                      </a:lnTo>
                      <a:lnTo>
                        <a:pt x="1278" y="1068"/>
                      </a:lnTo>
                      <a:lnTo>
                        <a:pt x="1266" y="1062"/>
                      </a:lnTo>
                      <a:lnTo>
                        <a:pt x="1254" y="1056"/>
                      </a:lnTo>
                      <a:lnTo>
                        <a:pt x="1242" y="1050"/>
                      </a:lnTo>
                      <a:lnTo>
                        <a:pt x="1230" y="1050"/>
                      </a:lnTo>
                      <a:lnTo>
                        <a:pt x="1212" y="1044"/>
                      </a:lnTo>
                      <a:lnTo>
                        <a:pt x="1200" y="1050"/>
                      </a:lnTo>
                      <a:lnTo>
                        <a:pt x="1182" y="1056"/>
                      </a:lnTo>
                      <a:lnTo>
                        <a:pt x="1176" y="1062"/>
                      </a:lnTo>
                      <a:lnTo>
                        <a:pt x="1164" y="1062"/>
                      </a:lnTo>
                      <a:lnTo>
                        <a:pt x="1158" y="1056"/>
                      </a:lnTo>
                      <a:lnTo>
                        <a:pt x="1146" y="1050"/>
                      </a:lnTo>
                      <a:lnTo>
                        <a:pt x="1134" y="1044"/>
                      </a:lnTo>
                      <a:lnTo>
                        <a:pt x="1128" y="1038"/>
                      </a:lnTo>
                      <a:lnTo>
                        <a:pt x="1122" y="1044"/>
                      </a:lnTo>
                      <a:lnTo>
                        <a:pt x="1116" y="1056"/>
                      </a:lnTo>
                      <a:lnTo>
                        <a:pt x="1116" y="1068"/>
                      </a:lnTo>
                      <a:lnTo>
                        <a:pt x="1116" y="1086"/>
                      </a:lnTo>
                      <a:lnTo>
                        <a:pt x="1116" y="1110"/>
                      </a:lnTo>
                      <a:lnTo>
                        <a:pt x="1116" y="1122"/>
                      </a:lnTo>
                      <a:lnTo>
                        <a:pt x="1116" y="1134"/>
                      </a:lnTo>
                      <a:lnTo>
                        <a:pt x="1116" y="1146"/>
                      </a:lnTo>
                      <a:lnTo>
                        <a:pt x="1116" y="1152"/>
                      </a:lnTo>
                      <a:lnTo>
                        <a:pt x="1122" y="1152"/>
                      </a:lnTo>
                      <a:lnTo>
                        <a:pt x="1134" y="1146"/>
                      </a:lnTo>
                      <a:lnTo>
                        <a:pt x="1140" y="1140"/>
                      </a:lnTo>
                      <a:lnTo>
                        <a:pt x="1152" y="1134"/>
                      </a:lnTo>
                      <a:lnTo>
                        <a:pt x="1164" y="1128"/>
                      </a:lnTo>
                      <a:lnTo>
                        <a:pt x="1182" y="1128"/>
                      </a:lnTo>
                      <a:lnTo>
                        <a:pt x="1200" y="1122"/>
                      </a:lnTo>
                      <a:lnTo>
                        <a:pt x="1212" y="1128"/>
                      </a:lnTo>
                      <a:lnTo>
                        <a:pt x="1212" y="1134"/>
                      </a:lnTo>
                      <a:lnTo>
                        <a:pt x="1212" y="1140"/>
                      </a:lnTo>
                      <a:lnTo>
                        <a:pt x="1206" y="1152"/>
                      </a:lnTo>
                      <a:lnTo>
                        <a:pt x="1194" y="1164"/>
                      </a:lnTo>
                      <a:lnTo>
                        <a:pt x="1182" y="1176"/>
                      </a:lnTo>
                      <a:lnTo>
                        <a:pt x="1170" y="1188"/>
                      </a:lnTo>
                      <a:lnTo>
                        <a:pt x="1164" y="1194"/>
                      </a:lnTo>
                      <a:lnTo>
                        <a:pt x="1152" y="1206"/>
                      </a:lnTo>
                      <a:lnTo>
                        <a:pt x="1146" y="1212"/>
                      </a:lnTo>
                      <a:lnTo>
                        <a:pt x="1116" y="1218"/>
                      </a:lnTo>
                      <a:lnTo>
                        <a:pt x="1080" y="1212"/>
                      </a:lnTo>
                      <a:lnTo>
                        <a:pt x="1044" y="1194"/>
                      </a:lnTo>
                      <a:lnTo>
                        <a:pt x="1014" y="1176"/>
                      </a:lnTo>
                      <a:lnTo>
                        <a:pt x="984" y="1164"/>
                      </a:lnTo>
                      <a:lnTo>
                        <a:pt x="948" y="1146"/>
                      </a:lnTo>
                      <a:lnTo>
                        <a:pt x="930" y="1140"/>
                      </a:lnTo>
                      <a:lnTo>
                        <a:pt x="924" y="1134"/>
                      </a:lnTo>
                      <a:lnTo>
                        <a:pt x="918" y="1128"/>
                      </a:lnTo>
                      <a:lnTo>
                        <a:pt x="918" y="1122"/>
                      </a:lnTo>
                      <a:lnTo>
                        <a:pt x="918" y="1116"/>
                      </a:lnTo>
                      <a:lnTo>
                        <a:pt x="918" y="1110"/>
                      </a:lnTo>
                      <a:lnTo>
                        <a:pt x="918" y="1098"/>
                      </a:lnTo>
                      <a:lnTo>
                        <a:pt x="912" y="1086"/>
                      </a:lnTo>
                      <a:lnTo>
                        <a:pt x="900" y="1068"/>
                      </a:lnTo>
                      <a:lnTo>
                        <a:pt x="882" y="1050"/>
                      </a:lnTo>
                      <a:lnTo>
                        <a:pt x="864" y="1032"/>
                      </a:lnTo>
                      <a:lnTo>
                        <a:pt x="828" y="1008"/>
                      </a:lnTo>
                      <a:lnTo>
                        <a:pt x="798" y="1014"/>
                      </a:lnTo>
                      <a:lnTo>
                        <a:pt x="774" y="1032"/>
                      </a:lnTo>
                      <a:lnTo>
                        <a:pt x="750" y="1056"/>
                      </a:lnTo>
                      <a:lnTo>
                        <a:pt x="732" y="1074"/>
                      </a:lnTo>
                      <a:lnTo>
                        <a:pt x="720" y="1080"/>
                      </a:lnTo>
                      <a:lnTo>
                        <a:pt x="696" y="1086"/>
                      </a:lnTo>
                      <a:lnTo>
                        <a:pt x="654" y="1080"/>
                      </a:lnTo>
                      <a:lnTo>
                        <a:pt x="606" y="1080"/>
                      </a:lnTo>
                      <a:lnTo>
                        <a:pt x="570" y="1086"/>
                      </a:lnTo>
                      <a:lnTo>
                        <a:pt x="528" y="1098"/>
                      </a:lnTo>
                      <a:lnTo>
                        <a:pt x="486" y="1104"/>
                      </a:lnTo>
                      <a:lnTo>
                        <a:pt x="426" y="1110"/>
                      </a:lnTo>
                      <a:lnTo>
                        <a:pt x="378" y="1098"/>
                      </a:lnTo>
                      <a:lnTo>
                        <a:pt x="318" y="1074"/>
                      </a:lnTo>
                      <a:lnTo>
                        <a:pt x="264" y="1062"/>
                      </a:lnTo>
                      <a:lnTo>
                        <a:pt x="234" y="1056"/>
                      </a:lnTo>
                      <a:lnTo>
                        <a:pt x="204" y="1050"/>
                      </a:lnTo>
                      <a:lnTo>
                        <a:pt x="186" y="1038"/>
                      </a:lnTo>
                      <a:lnTo>
                        <a:pt x="174" y="1026"/>
                      </a:lnTo>
                      <a:lnTo>
                        <a:pt x="162" y="1008"/>
                      </a:lnTo>
                      <a:lnTo>
                        <a:pt x="162" y="990"/>
                      </a:lnTo>
                      <a:lnTo>
                        <a:pt x="162" y="978"/>
                      </a:lnTo>
                      <a:lnTo>
                        <a:pt x="174" y="960"/>
                      </a:lnTo>
                      <a:lnTo>
                        <a:pt x="192" y="942"/>
                      </a:lnTo>
                      <a:lnTo>
                        <a:pt x="204" y="930"/>
                      </a:lnTo>
                      <a:lnTo>
                        <a:pt x="210" y="918"/>
                      </a:lnTo>
                      <a:lnTo>
                        <a:pt x="204" y="906"/>
                      </a:lnTo>
                      <a:lnTo>
                        <a:pt x="198" y="894"/>
                      </a:lnTo>
                      <a:lnTo>
                        <a:pt x="192" y="882"/>
                      </a:lnTo>
                      <a:lnTo>
                        <a:pt x="174" y="870"/>
                      </a:lnTo>
                      <a:lnTo>
                        <a:pt x="162" y="852"/>
                      </a:lnTo>
                      <a:lnTo>
                        <a:pt x="138" y="834"/>
                      </a:lnTo>
                      <a:lnTo>
                        <a:pt x="114" y="822"/>
                      </a:lnTo>
                      <a:lnTo>
                        <a:pt x="84" y="804"/>
                      </a:lnTo>
                      <a:lnTo>
                        <a:pt x="42" y="780"/>
                      </a:lnTo>
                      <a:lnTo>
                        <a:pt x="12" y="750"/>
                      </a:lnTo>
                      <a:lnTo>
                        <a:pt x="0" y="726"/>
                      </a:lnTo>
                      <a:lnTo>
                        <a:pt x="0" y="702"/>
                      </a:lnTo>
                      <a:lnTo>
                        <a:pt x="6" y="672"/>
                      </a:lnTo>
                      <a:lnTo>
                        <a:pt x="6" y="654"/>
                      </a:lnTo>
                      <a:lnTo>
                        <a:pt x="12" y="642"/>
                      </a:lnTo>
                      <a:lnTo>
                        <a:pt x="24" y="630"/>
                      </a:lnTo>
                      <a:lnTo>
                        <a:pt x="42" y="618"/>
                      </a:lnTo>
                      <a:lnTo>
                        <a:pt x="60" y="612"/>
                      </a:lnTo>
                      <a:lnTo>
                        <a:pt x="84" y="612"/>
                      </a:lnTo>
                      <a:lnTo>
                        <a:pt x="138" y="612"/>
                      </a:lnTo>
                      <a:lnTo>
                        <a:pt x="192" y="612"/>
                      </a:lnTo>
                      <a:lnTo>
                        <a:pt x="222" y="612"/>
                      </a:lnTo>
                      <a:lnTo>
                        <a:pt x="258" y="618"/>
                      </a:lnTo>
                      <a:lnTo>
                        <a:pt x="300" y="648"/>
                      </a:lnTo>
                      <a:lnTo>
                        <a:pt x="330" y="672"/>
                      </a:lnTo>
                      <a:lnTo>
                        <a:pt x="360" y="678"/>
                      </a:lnTo>
                      <a:lnTo>
                        <a:pt x="390" y="684"/>
                      </a:lnTo>
                      <a:lnTo>
                        <a:pt x="438" y="678"/>
                      </a:lnTo>
                      <a:lnTo>
                        <a:pt x="456" y="678"/>
                      </a:lnTo>
                      <a:lnTo>
                        <a:pt x="468" y="672"/>
                      </a:lnTo>
                      <a:lnTo>
                        <a:pt x="474" y="666"/>
                      </a:lnTo>
                      <a:lnTo>
                        <a:pt x="474" y="660"/>
                      </a:lnTo>
                      <a:lnTo>
                        <a:pt x="474" y="654"/>
                      </a:lnTo>
                      <a:lnTo>
                        <a:pt x="468" y="648"/>
                      </a:lnTo>
                      <a:lnTo>
                        <a:pt x="456" y="636"/>
                      </a:lnTo>
                      <a:lnTo>
                        <a:pt x="450" y="630"/>
                      </a:lnTo>
                      <a:lnTo>
                        <a:pt x="444" y="618"/>
                      </a:lnTo>
                      <a:lnTo>
                        <a:pt x="408" y="600"/>
                      </a:lnTo>
                      <a:lnTo>
                        <a:pt x="366" y="582"/>
                      </a:lnTo>
                      <a:lnTo>
                        <a:pt x="318" y="564"/>
                      </a:lnTo>
                      <a:lnTo>
                        <a:pt x="246" y="552"/>
                      </a:lnTo>
                      <a:lnTo>
                        <a:pt x="174" y="540"/>
                      </a:lnTo>
                      <a:lnTo>
                        <a:pt x="132" y="522"/>
                      </a:lnTo>
                      <a:lnTo>
                        <a:pt x="84" y="498"/>
                      </a:lnTo>
                      <a:lnTo>
                        <a:pt x="48" y="474"/>
                      </a:lnTo>
                      <a:lnTo>
                        <a:pt x="36" y="462"/>
                      </a:lnTo>
                      <a:lnTo>
                        <a:pt x="36" y="450"/>
                      </a:lnTo>
                      <a:lnTo>
                        <a:pt x="42" y="444"/>
                      </a:lnTo>
                      <a:lnTo>
                        <a:pt x="48" y="438"/>
                      </a:lnTo>
                      <a:lnTo>
                        <a:pt x="60" y="432"/>
                      </a:lnTo>
                      <a:lnTo>
                        <a:pt x="78" y="426"/>
                      </a:lnTo>
                      <a:lnTo>
                        <a:pt x="132" y="420"/>
                      </a:lnTo>
                      <a:lnTo>
                        <a:pt x="180" y="420"/>
                      </a:lnTo>
                      <a:lnTo>
                        <a:pt x="198" y="414"/>
                      </a:lnTo>
                      <a:lnTo>
                        <a:pt x="216" y="408"/>
                      </a:lnTo>
                      <a:lnTo>
                        <a:pt x="234" y="396"/>
                      </a:lnTo>
                      <a:lnTo>
                        <a:pt x="246" y="390"/>
                      </a:lnTo>
                      <a:lnTo>
                        <a:pt x="258" y="378"/>
                      </a:lnTo>
                      <a:lnTo>
                        <a:pt x="270" y="372"/>
                      </a:lnTo>
                      <a:lnTo>
                        <a:pt x="288" y="360"/>
                      </a:lnTo>
                      <a:lnTo>
                        <a:pt x="306" y="354"/>
                      </a:lnTo>
                      <a:lnTo>
                        <a:pt x="312" y="348"/>
                      </a:lnTo>
                      <a:lnTo>
                        <a:pt x="318" y="336"/>
                      </a:lnTo>
                      <a:lnTo>
                        <a:pt x="318" y="330"/>
                      </a:lnTo>
                      <a:lnTo>
                        <a:pt x="306" y="318"/>
                      </a:lnTo>
                      <a:lnTo>
                        <a:pt x="300" y="312"/>
                      </a:lnTo>
                      <a:lnTo>
                        <a:pt x="288" y="306"/>
                      </a:lnTo>
                      <a:lnTo>
                        <a:pt x="270" y="300"/>
                      </a:lnTo>
                      <a:lnTo>
                        <a:pt x="258" y="300"/>
                      </a:lnTo>
                      <a:lnTo>
                        <a:pt x="246" y="300"/>
                      </a:lnTo>
                      <a:lnTo>
                        <a:pt x="240" y="306"/>
                      </a:lnTo>
                      <a:lnTo>
                        <a:pt x="234" y="312"/>
                      </a:lnTo>
                      <a:lnTo>
                        <a:pt x="228" y="318"/>
                      </a:lnTo>
                      <a:lnTo>
                        <a:pt x="222" y="324"/>
                      </a:lnTo>
                      <a:lnTo>
                        <a:pt x="216" y="336"/>
                      </a:lnTo>
                      <a:lnTo>
                        <a:pt x="204" y="348"/>
                      </a:lnTo>
                      <a:lnTo>
                        <a:pt x="186" y="354"/>
                      </a:lnTo>
                      <a:lnTo>
                        <a:pt x="168" y="354"/>
                      </a:lnTo>
                      <a:lnTo>
                        <a:pt x="150" y="360"/>
                      </a:lnTo>
                      <a:lnTo>
                        <a:pt x="132" y="366"/>
                      </a:lnTo>
                      <a:lnTo>
                        <a:pt x="114" y="366"/>
                      </a:lnTo>
                      <a:lnTo>
                        <a:pt x="96" y="360"/>
                      </a:lnTo>
                      <a:lnTo>
                        <a:pt x="84" y="348"/>
                      </a:lnTo>
                      <a:lnTo>
                        <a:pt x="72" y="336"/>
                      </a:lnTo>
                      <a:lnTo>
                        <a:pt x="60" y="324"/>
                      </a:lnTo>
                      <a:lnTo>
                        <a:pt x="60" y="312"/>
                      </a:lnTo>
                      <a:lnTo>
                        <a:pt x="60" y="306"/>
                      </a:lnTo>
                      <a:lnTo>
                        <a:pt x="60" y="300"/>
                      </a:lnTo>
                      <a:lnTo>
                        <a:pt x="60" y="294"/>
                      </a:lnTo>
                      <a:lnTo>
                        <a:pt x="54" y="288"/>
                      </a:lnTo>
                      <a:lnTo>
                        <a:pt x="48" y="282"/>
                      </a:lnTo>
                      <a:lnTo>
                        <a:pt x="36" y="276"/>
                      </a:lnTo>
                      <a:lnTo>
                        <a:pt x="18" y="276"/>
                      </a:lnTo>
                      <a:lnTo>
                        <a:pt x="18" y="270"/>
                      </a:lnTo>
                      <a:lnTo>
                        <a:pt x="18" y="264"/>
                      </a:lnTo>
                      <a:lnTo>
                        <a:pt x="18" y="252"/>
                      </a:lnTo>
                      <a:lnTo>
                        <a:pt x="30" y="246"/>
                      </a:lnTo>
                      <a:lnTo>
                        <a:pt x="36" y="234"/>
                      </a:lnTo>
                      <a:lnTo>
                        <a:pt x="54" y="216"/>
                      </a:lnTo>
                      <a:lnTo>
                        <a:pt x="90" y="198"/>
                      </a:lnTo>
                      <a:lnTo>
                        <a:pt x="132" y="186"/>
                      </a:lnTo>
                      <a:lnTo>
                        <a:pt x="150" y="186"/>
                      </a:lnTo>
                      <a:lnTo>
                        <a:pt x="162" y="180"/>
                      </a:lnTo>
                      <a:lnTo>
                        <a:pt x="168" y="174"/>
                      </a:lnTo>
                      <a:lnTo>
                        <a:pt x="168" y="162"/>
                      </a:lnTo>
                      <a:lnTo>
                        <a:pt x="162" y="156"/>
                      </a:lnTo>
                      <a:lnTo>
                        <a:pt x="156" y="144"/>
                      </a:lnTo>
                      <a:lnTo>
                        <a:pt x="162" y="126"/>
                      </a:lnTo>
                      <a:lnTo>
                        <a:pt x="192" y="108"/>
                      </a:lnTo>
                      <a:lnTo>
                        <a:pt x="258" y="102"/>
                      </a:lnTo>
                      <a:lnTo>
                        <a:pt x="300" y="96"/>
                      </a:lnTo>
                      <a:lnTo>
                        <a:pt x="336" y="78"/>
                      </a:lnTo>
                      <a:lnTo>
                        <a:pt x="366" y="60"/>
                      </a:lnTo>
                      <a:lnTo>
                        <a:pt x="396" y="42"/>
                      </a:lnTo>
                      <a:lnTo>
                        <a:pt x="462" y="24"/>
                      </a:lnTo>
                      <a:lnTo>
                        <a:pt x="522" y="6"/>
                      </a:lnTo>
                      <a:lnTo>
                        <a:pt x="54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3" name="Freeform 311">
                  <a:extLst>
                    <a:ext uri="{FF2B5EF4-FFF2-40B4-BE49-F238E27FC236}">
                      <a16:creationId xmlns:a16="http://schemas.microsoft.com/office/drawing/2014/main" id="{1400AE33-62D2-49E4-AF1C-2965EC7462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569" y="-3042"/>
                  <a:ext cx="606" cy="666"/>
                </a:xfrm>
                <a:custGeom>
                  <a:avLst/>
                  <a:gdLst>
                    <a:gd name="T0" fmla="*/ 450 w 606"/>
                    <a:gd name="T1" fmla="*/ 36 h 666"/>
                    <a:gd name="T2" fmla="*/ 420 w 606"/>
                    <a:gd name="T3" fmla="*/ 84 h 666"/>
                    <a:gd name="T4" fmla="*/ 396 w 606"/>
                    <a:gd name="T5" fmla="*/ 138 h 666"/>
                    <a:gd name="T6" fmla="*/ 354 w 606"/>
                    <a:gd name="T7" fmla="*/ 162 h 666"/>
                    <a:gd name="T8" fmla="*/ 318 w 606"/>
                    <a:gd name="T9" fmla="*/ 234 h 666"/>
                    <a:gd name="T10" fmla="*/ 306 w 606"/>
                    <a:gd name="T11" fmla="*/ 276 h 666"/>
                    <a:gd name="T12" fmla="*/ 342 w 606"/>
                    <a:gd name="T13" fmla="*/ 270 h 666"/>
                    <a:gd name="T14" fmla="*/ 360 w 606"/>
                    <a:gd name="T15" fmla="*/ 288 h 666"/>
                    <a:gd name="T16" fmla="*/ 396 w 606"/>
                    <a:gd name="T17" fmla="*/ 330 h 666"/>
                    <a:gd name="T18" fmla="*/ 432 w 606"/>
                    <a:gd name="T19" fmla="*/ 354 h 666"/>
                    <a:gd name="T20" fmla="*/ 498 w 606"/>
                    <a:gd name="T21" fmla="*/ 354 h 666"/>
                    <a:gd name="T22" fmla="*/ 558 w 606"/>
                    <a:gd name="T23" fmla="*/ 360 h 666"/>
                    <a:gd name="T24" fmla="*/ 552 w 606"/>
                    <a:gd name="T25" fmla="*/ 396 h 666"/>
                    <a:gd name="T26" fmla="*/ 534 w 606"/>
                    <a:gd name="T27" fmla="*/ 426 h 666"/>
                    <a:gd name="T28" fmla="*/ 570 w 606"/>
                    <a:gd name="T29" fmla="*/ 432 h 666"/>
                    <a:gd name="T30" fmla="*/ 564 w 606"/>
                    <a:gd name="T31" fmla="*/ 456 h 666"/>
                    <a:gd name="T32" fmla="*/ 558 w 606"/>
                    <a:gd name="T33" fmla="*/ 480 h 666"/>
                    <a:gd name="T34" fmla="*/ 558 w 606"/>
                    <a:gd name="T35" fmla="*/ 504 h 666"/>
                    <a:gd name="T36" fmla="*/ 570 w 606"/>
                    <a:gd name="T37" fmla="*/ 534 h 666"/>
                    <a:gd name="T38" fmla="*/ 606 w 606"/>
                    <a:gd name="T39" fmla="*/ 546 h 666"/>
                    <a:gd name="T40" fmla="*/ 600 w 606"/>
                    <a:gd name="T41" fmla="*/ 594 h 666"/>
                    <a:gd name="T42" fmla="*/ 588 w 606"/>
                    <a:gd name="T43" fmla="*/ 654 h 666"/>
                    <a:gd name="T44" fmla="*/ 540 w 606"/>
                    <a:gd name="T45" fmla="*/ 666 h 666"/>
                    <a:gd name="T46" fmla="*/ 534 w 606"/>
                    <a:gd name="T47" fmla="*/ 636 h 666"/>
                    <a:gd name="T48" fmla="*/ 528 w 606"/>
                    <a:gd name="T49" fmla="*/ 600 h 666"/>
                    <a:gd name="T50" fmla="*/ 480 w 606"/>
                    <a:gd name="T51" fmla="*/ 618 h 666"/>
                    <a:gd name="T52" fmla="*/ 432 w 606"/>
                    <a:gd name="T53" fmla="*/ 606 h 666"/>
                    <a:gd name="T54" fmla="*/ 366 w 606"/>
                    <a:gd name="T55" fmla="*/ 630 h 666"/>
                    <a:gd name="T56" fmla="*/ 312 w 606"/>
                    <a:gd name="T57" fmla="*/ 648 h 666"/>
                    <a:gd name="T58" fmla="*/ 282 w 606"/>
                    <a:gd name="T59" fmla="*/ 618 h 666"/>
                    <a:gd name="T60" fmla="*/ 336 w 606"/>
                    <a:gd name="T61" fmla="*/ 588 h 666"/>
                    <a:gd name="T62" fmla="*/ 348 w 606"/>
                    <a:gd name="T63" fmla="*/ 552 h 666"/>
                    <a:gd name="T64" fmla="*/ 294 w 606"/>
                    <a:gd name="T65" fmla="*/ 546 h 666"/>
                    <a:gd name="T66" fmla="*/ 252 w 606"/>
                    <a:gd name="T67" fmla="*/ 528 h 666"/>
                    <a:gd name="T68" fmla="*/ 168 w 606"/>
                    <a:gd name="T69" fmla="*/ 516 h 666"/>
                    <a:gd name="T70" fmla="*/ 84 w 606"/>
                    <a:gd name="T71" fmla="*/ 522 h 666"/>
                    <a:gd name="T72" fmla="*/ 30 w 606"/>
                    <a:gd name="T73" fmla="*/ 546 h 666"/>
                    <a:gd name="T74" fmla="*/ 30 w 606"/>
                    <a:gd name="T75" fmla="*/ 516 h 666"/>
                    <a:gd name="T76" fmla="*/ 42 w 606"/>
                    <a:gd name="T77" fmla="*/ 492 h 666"/>
                    <a:gd name="T78" fmla="*/ 6 w 606"/>
                    <a:gd name="T79" fmla="*/ 480 h 666"/>
                    <a:gd name="T80" fmla="*/ 18 w 606"/>
                    <a:gd name="T81" fmla="*/ 444 h 666"/>
                    <a:gd name="T82" fmla="*/ 60 w 606"/>
                    <a:gd name="T83" fmla="*/ 402 h 666"/>
                    <a:gd name="T84" fmla="*/ 120 w 606"/>
                    <a:gd name="T85" fmla="*/ 366 h 666"/>
                    <a:gd name="T86" fmla="*/ 132 w 606"/>
                    <a:gd name="T87" fmla="*/ 342 h 666"/>
                    <a:gd name="T88" fmla="*/ 150 w 606"/>
                    <a:gd name="T89" fmla="*/ 306 h 666"/>
                    <a:gd name="T90" fmla="*/ 168 w 606"/>
                    <a:gd name="T91" fmla="*/ 270 h 666"/>
                    <a:gd name="T92" fmla="*/ 192 w 606"/>
                    <a:gd name="T93" fmla="*/ 246 h 666"/>
                    <a:gd name="T94" fmla="*/ 228 w 606"/>
                    <a:gd name="T95" fmla="*/ 216 h 666"/>
                    <a:gd name="T96" fmla="*/ 246 w 606"/>
                    <a:gd name="T97" fmla="*/ 180 h 666"/>
                    <a:gd name="T98" fmla="*/ 306 w 606"/>
                    <a:gd name="T99" fmla="*/ 126 h 666"/>
                    <a:gd name="T100" fmla="*/ 318 w 606"/>
                    <a:gd name="T101" fmla="*/ 84 h 666"/>
                    <a:gd name="T102" fmla="*/ 444 w 606"/>
                    <a:gd name="T103" fmla="*/ 0 h 6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06" h="666">
                      <a:moveTo>
                        <a:pt x="444" y="0"/>
                      </a:moveTo>
                      <a:lnTo>
                        <a:pt x="456" y="6"/>
                      </a:lnTo>
                      <a:lnTo>
                        <a:pt x="456" y="24"/>
                      </a:lnTo>
                      <a:lnTo>
                        <a:pt x="450" y="36"/>
                      </a:lnTo>
                      <a:lnTo>
                        <a:pt x="444" y="48"/>
                      </a:lnTo>
                      <a:lnTo>
                        <a:pt x="432" y="60"/>
                      </a:lnTo>
                      <a:lnTo>
                        <a:pt x="426" y="72"/>
                      </a:lnTo>
                      <a:lnTo>
                        <a:pt x="420" y="84"/>
                      </a:lnTo>
                      <a:lnTo>
                        <a:pt x="420" y="96"/>
                      </a:lnTo>
                      <a:lnTo>
                        <a:pt x="414" y="114"/>
                      </a:lnTo>
                      <a:lnTo>
                        <a:pt x="402" y="126"/>
                      </a:lnTo>
                      <a:lnTo>
                        <a:pt x="396" y="138"/>
                      </a:lnTo>
                      <a:lnTo>
                        <a:pt x="384" y="150"/>
                      </a:lnTo>
                      <a:lnTo>
                        <a:pt x="372" y="150"/>
                      </a:lnTo>
                      <a:lnTo>
                        <a:pt x="366" y="150"/>
                      </a:lnTo>
                      <a:lnTo>
                        <a:pt x="354" y="162"/>
                      </a:lnTo>
                      <a:lnTo>
                        <a:pt x="348" y="174"/>
                      </a:lnTo>
                      <a:lnTo>
                        <a:pt x="342" y="192"/>
                      </a:lnTo>
                      <a:lnTo>
                        <a:pt x="330" y="210"/>
                      </a:lnTo>
                      <a:lnTo>
                        <a:pt x="318" y="234"/>
                      </a:lnTo>
                      <a:lnTo>
                        <a:pt x="306" y="252"/>
                      </a:lnTo>
                      <a:lnTo>
                        <a:pt x="300" y="264"/>
                      </a:lnTo>
                      <a:lnTo>
                        <a:pt x="300" y="270"/>
                      </a:lnTo>
                      <a:lnTo>
                        <a:pt x="306" y="276"/>
                      </a:lnTo>
                      <a:lnTo>
                        <a:pt x="312" y="276"/>
                      </a:lnTo>
                      <a:lnTo>
                        <a:pt x="324" y="276"/>
                      </a:lnTo>
                      <a:lnTo>
                        <a:pt x="336" y="270"/>
                      </a:lnTo>
                      <a:lnTo>
                        <a:pt x="342" y="270"/>
                      </a:lnTo>
                      <a:lnTo>
                        <a:pt x="348" y="270"/>
                      </a:lnTo>
                      <a:lnTo>
                        <a:pt x="354" y="276"/>
                      </a:lnTo>
                      <a:lnTo>
                        <a:pt x="354" y="282"/>
                      </a:lnTo>
                      <a:lnTo>
                        <a:pt x="360" y="288"/>
                      </a:lnTo>
                      <a:lnTo>
                        <a:pt x="366" y="294"/>
                      </a:lnTo>
                      <a:lnTo>
                        <a:pt x="372" y="306"/>
                      </a:lnTo>
                      <a:lnTo>
                        <a:pt x="384" y="318"/>
                      </a:lnTo>
                      <a:lnTo>
                        <a:pt x="396" y="330"/>
                      </a:lnTo>
                      <a:lnTo>
                        <a:pt x="408" y="342"/>
                      </a:lnTo>
                      <a:lnTo>
                        <a:pt x="414" y="348"/>
                      </a:lnTo>
                      <a:lnTo>
                        <a:pt x="420" y="354"/>
                      </a:lnTo>
                      <a:lnTo>
                        <a:pt x="432" y="354"/>
                      </a:lnTo>
                      <a:lnTo>
                        <a:pt x="450" y="354"/>
                      </a:lnTo>
                      <a:lnTo>
                        <a:pt x="468" y="354"/>
                      </a:lnTo>
                      <a:lnTo>
                        <a:pt x="480" y="354"/>
                      </a:lnTo>
                      <a:lnTo>
                        <a:pt x="498" y="354"/>
                      </a:lnTo>
                      <a:lnTo>
                        <a:pt x="510" y="354"/>
                      </a:lnTo>
                      <a:lnTo>
                        <a:pt x="528" y="354"/>
                      </a:lnTo>
                      <a:lnTo>
                        <a:pt x="546" y="354"/>
                      </a:lnTo>
                      <a:lnTo>
                        <a:pt x="558" y="360"/>
                      </a:lnTo>
                      <a:lnTo>
                        <a:pt x="564" y="372"/>
                      </a:lnTo>
                      <a:lnTo>
                        <a:pt x="564" y="378"/>
                      </a:lnTo>
                      <a:lnTo>
                        <a:pt x="558" y="390"/>
                      </a:lnTo>
                      <a:lnTo>
                        <a:pt x="552" y="396"/>
                      </a:lnTo>
                      <a:lnTo>
                        <a:pt x="534" y="402"/>
                      </a:lnTo>
                      <a:lnTo>
                        <a:pt x="528" y="408"/>
                      </a:lnTo>
                      <a:lnTo>
                        <a:pt x="528" y="420"/>
                      </a:lnTo>
                      <a:lnTo>
                        <a:pt x="534" y="426"/>
                      </a:lnTo>
                      <a:lnTo>
                        <a:pt x="546" y="426"/>
                      </a:lnTo>
                      <a:lnTo>
                        <a:pt x="552" y="426"/>
                      </a:lnTo>
                      <a:lnTo>
                        <a:pt x="564" y="432"/>
                      </a:lnTo>
                      <a:lnTo>
                        <a:pt x="570" y="432"/>
                      </a:lnTo>
                      <a:lnTo>
                        <a:pt x="576" y="438"/>
                      </a:lnTo>
                      <a:lnTo>
                        <a:pt x="576" y="444"/>
                      </a:lnTo>
                      <a:lnTo>
                        <a:pt x="576" y="450"/>
                      </a:lnTo>
                      <a:lnTo>
                        <a:pt x="564" y="456"/>
                      </a:lnTo>
                      <a:lnTo>
                        <a:pt x="552" y="462"/>
                      </a:lnTo>
                      <a:lnTo>
                        <a:pt x="552" y="468"/>
                      </a:lnTo>
                      <a:lnTo>
                        <a:pt x="552" y="474"/>
                      </a:lnTo>
                      <a:lnTo>
                        <a:pt x="558" y="480"/>
                      </a:lnTo>
                      <a:lnTo>
                        <a:pt x="564" y="480"/>
                      </a:lnTo>
                      <a:lnTo>
                        <a:pt x="564" y="486"/>
                      </a:lnTo>
                      <a:lnTo>
                        <a:pt x="564" y="492"/>
                      </a:lnTo>
                      <a:lnTo>
                        <a:pt x="558" y="504"/>
                      </a:lnTo>
                      <a:lnTo>
                        <a:pt x="552" y="516"/>
                      </a:lnTo>
                      <a:lnTo>
                        <a:pt x="558" y="522"/>
                      </a:lnTo>
                      <a:lnTo>
                        <a:pt x="564" y="528"/>
                      </a:lnTo>
                      <a:lnTo>
                        <a:pt x="570" y="534"/>
                      </a:lnTo>
                      <a:lnTo>
                        <a:pt x="588" y="534"/>
                      </a:lnTo>
                      <a:lnTo>
                        <a:pt x="594" y="534"/>
                      </a:lnTo>
                      <a:lnTo>
                        <a:pt x="600" y="534"/>
                      </a:lnTo>
                      <a:lnTo>
                        <a:pt x="606" y="546"/>
                      </a:lnTo>
                      <a:lnTo>
                        <a:pt x="606" y="552"/>
                      </a:lnTo>
                      <a:lnTo>
                        <a:pt x="606" y="570"/>
                      </a:lnTo>
                      <a:lnTo>
                        <a:pt x="600" y="582"/>
                      </a:lnTo>
                      <a:lnTo>
                        <a:pt x="600" y="594"/>
                      </a:lnTo>
                      <a:lnTo>
                        <a:pt x="594" y="606"/>
                      </a:lnTo>
                      <a:lnTo>
                        <a:pt x="594" y="618"/>
                      </a:lnTo>
                      <a:lnTo>
                        <a:pt x="594" y="642"/>
                      </a:lnTo>
                      <a:lnTo>
                        <a:pt x="588" y="654"/>
                      </a:lnTo>
                      <a:lnTo>
                        <a:pt x="576" y="660"/>
                      </a:lnTo>
                      <a:lnTo>
                        <a:pt x="564" y="666"/>
                      </a:lnTo>
                      <a:lnTo>
                        <a:pt x="552" y="666"/>
                      </a:lnTo>
                      <a:lnTo>
                        <a:pt x="540" y="666"/>
                      </a:lnTo>
                      <a:lnTo>
                        <a:pt x="528" y="660"/>
                      </a:lnTo>
                      <a:lnTo>
                        <a:pt x="528" y="654"/>
                      </a:lnTo>
                      <a:lnTo>
                        <a:pt x="528" y="648"/>
                      </a:lnTo>
                      <a:lnTo>
                        <a:pt x="534" y="636"/>
                      </a:lnTo>
                      <a:lnTo>
                        <a:pt x="540" y="624"/>
                      </a:lnTo>
                      <a:lnTo>
                        <a:pt x="540" y="612"/>
                      </a:lnTo>
                      <a:lnTo>
                        <a:pt x="540" y="600"/>
                      </a:lnTo>
                      <a:lnTo>
                        <a:pt x="528" y="600"/>
                      </a:lnTo>
                      <a:lnTo>
                        <a:pt x="522" y="600"/>
                      </a:lnTo>
                      <a:lnTo>
                        <a:pt x="504" y="600"/>
                      </a:lnTo>
                      <a:lnTo>
                        <a:pt x="492" y="612"/>
                      </a:lnTo>
                      <a:lnTo>
                        <a:pt x="480" y="618"/>
                      </a:lnTo>
                      <a:lnTo>
                        <a:pt x="468" y="624"/>
                      </a:lnTo>
                      <a:lnTo>
                        <a:pt x="456" y="618"/>
                      </a:lnTo>
                      <a:lnTo>
                        <a:pt x="444" y="612"/>
                      </a:lnTo>
                      <a:lnTo>
                        <a:pt x="432" y="606"/>
                      </a:lnTo>
                      <a:lnTo>
                        <a:pt x="414" y="606"/>
                      </a:lnTo>
                      <a:lnTo>
                        <a:pt x="402" y="612"/>
                      </a:lnTo>
                      <a:lnTo>
                        <a:pt x="384" y="624"/>
                      </a:lnTo>
                      <a:lnTo>
                        <a:pt x="366" y="630"/>
                      </a:lnTo>
                      <a:lnTo>
                        <a:pt x="354" y="642"/>
                      </a:lnTo>
                      <a:lnTo>
                        <a:pt x="342" y="648"/>
                      </a:lnTo>
                      <a:lnTo>
                        <a:pt x="324" y="648"/>
                      </a:lnTo>
                      <a:lnTo>
                        <a:pt x="312" y="648"/>
                      </a:lnTo>
                      <a:lnTo>
                        <a:pt x="300" y="642"/>
                      </a:lnTo>
                      <a:lnTo>
                        <a:pt x="288" y="630"/>
                      </a:lnTo>
                      <a:lnTo>
                        <a:pt x="282" y="624"/>
                      </a:lnTo>
                      <a:lnTo>
                        <a:pt x="282" y="618"/>
                      </a:lnTo>
                      <a:lnTo>
                        <a:pt x="288" y="612"/>
                      </a:lnTo>
                      <a:lnTo>
                        <a:pt x="306" y="606"/>
                      </a:lnTo>
                      <a:lnTo>
                        <a:pt x="318" y="600"/>
                      </a:lnTo>
                      <a:lnTo>
                        <a:pt x="336" y="588"/>
                      </a:lnTo>
                      <a:lnTo>
                        <a:pt x="348" y="576"/>
                      </a:lnTo>
                      <a:lnTo>
                        <a:pt x="354" y="570"/>
                      </a:lnTo>
                      <a:lnTo>
                        <a:pt x="354" y="558"/>
                      </a:lnTo>
                      <a:lnTo>
                        <a:pt x="348" y="552"/>
                      </a:lnTo>
                      <a:lnTo>
                        <a:pt x="342" y="552"/>
                      </a:lnTo>
                      <a:lnTo>
                        <a:pt x="324" y="546"/>
                      </a:lnTo>
                      <a:lnTo>
                        <a:pt x="312" y="546"/>
                      </a:lnTo>
                      <a:lnTo>
                        <a:pt x="294" y="546"/>
                      </a:lnTo>
                      <a:lnTo>
                        <a:pt x="282" y="540"/>
                      </a:lnTo>
                      <a:lnTo>
                        <a:pt x="270" y="534"/>
                      </a:lnTo>
                      <a:lnTo>
                        <a:pt x="264" y="534"/>
                      </a:lnTo>
                      <a:lnTo>
                        <a:pt x="252" y="528"/>
                      </a:lnTo>
                      <a:lnTo>
                        <a:pt x="240" y="528"/>
                      </a:lnTo>
                      <a:lnTo>
                        <a:pt x="216" y="528"/>
                      </a:lnTo>
                      <a:lnTo>
                        <a:pt x="192" y="528"/>
                      </a:lnTo>
                      <a:lnTo>
                        <a:pt x="168" y="516"/>
                      </a:lnTo>
                      <a:lnTo>
                        <a:pt x="144" y="510"/>
                      </a:lnTo>
                      <a:lnTo>
                        <a:pt x="126" y="510"/>
                      </a:lnTo>
                      <a:lnTo>
                        <a:pt x="102" y="516"/>
                      </a:lnTo>
                      <a:lnTo>
                        <a:pt x="84" y="522"/>
                      </a:lnTo>
                      <a:lnTo>
                        <a:pt x="66" y="534"/>
                      </a:lnTo>
                      <a:lnTo>
                        <a:pt x="48" y="540"/>
                      </a:lnTo>
                      <a:lnTo>
                        <a:pt x="36" y="546"/>
                      </a:lnTo>
                      <a:lnTo>
                        <a:pt x="30" y="546"/>
                      </a:lnTo>
                      <a:lnTo>
                        <a:pt x="24" y="540"/>
                      </a:lnTo>
                      <a:lnTo>
                        <a:pt x="18" y="528"/>
                      </a:lnTo>
                      <a:lnTo>
                        <a:pt x="24" y="522"/>
                      </a:lnTo>
                      <a:lnTo>
                        <a:pt x="30" y="516"/>
                      </a:lnTo>
                      <a:lnTo>
                        <a:pt x="36" y="510"/>
                      </a:lnTo>
                      <a:lnTo>
                        <a:pt x="42" y="504"/>
                      </a:lnTo>
                      <a:lnTo>
                        <a:pt x="48" y="498"/>
                      </a:lnTo>
                      <a:lnTo>
                        <a:pt x="42" y="492"/>
                      </a:lnTo>
                      <a:lnTo>
                        <a:pt x="36" y="486"/>
                      </a:lnTo>
                      <a:lnTo>
                        <a:pt x="30" y="486"/>
                      </a:lnTo>
                      <a:lnTo>
                        <a:pt x="12" y="486"/>
                      </a:lnTo>
                      <a:lnTo>
                        <a:pt x="6" y="480"/>
                      </a:lnTo>
                      <a:lnTo>
                        <a:pt x="0" y="468"/>
                      </a:lnTo>
                      <a:lnTo>
                        <a:pt x="0" y="462"/>
                      </a:lnTo>
                      <a:lnTo>
                        <a:pt x="6" y="450"/>
                      </a:lnTo>
                      <a:lnTo>
                        <a:pt x="18" y="444"/>
                      </a:lnTo>
                      <a:lnTo>
                        <a:pt x="30" y="438"/>
                      </a:lnTo>
                      <a:lnTo>
                        <a:pt x="36" y="426"/>
                      </a:lnTo>
                      <a:lnTo>
                        <a:pt x="48" y="414"/>
                      </a:lnTo>
                      <a:lnTo>
                        <a:pt x="60" y="402"/>
                      </a:lnTo>
                      <a:lnTo>
                        <a:pt x="72" y="390"/>
                      </a:lnTo>
                      <a:lnTo>
                        <a:pt x="90" y="378"/>
                      </a:lnTo>
                      <a:lnTo>
                        <a:pt x="108" y="372"/>
                      </a:lnTo>
                      <a:lnTo>
                        <a:pt x="120" y="366"/>
                      </a:lnTo>
                      <a:lnTo>
                        <a:pt x="126" y="360"/>
                      </a:lnTo>
                      <a:lnTo>
                        <a:pt x="132" y="354"/>
                      </a:lnTo>
                      <a:lnTo>
                        <a:pt x="132" y="348"/>
                      </a:lnTo>
                      <a:lnTo>
                        <a:pt x="132" y="342"/>
                      </a:lnTo>
                      <a:lnTo>
                        <a:pt x="144" y="330"/>
                      </a:lnTo>
                      <a:lnTo>
                        <a:pt x="144" y="324"/>
                      </a:lnTo>
                      <a:lnTo>
                        <a:pt x="150" y="312"/>
                      </a:lnTo>
                      <a:lnTo>
                        <a:pt x="150" y="306"/>
                      </a:lnTo>
                      <a:lnTo>
                        <a:pt x="150" y="294"/>
                      </a:lnTo>
                      <a:lnTo>
                        <a:pt x="150" y="288"/>
                      </a:lnTo>
                      <a:lnTo>
                        <a:pt x="156" y="276"/>
                      </a:lnTo>
                      <a:lnTo>
                        <a:pt x="168" y="270"/>
                      </a:lnTo>
                      <a:lnTo>
                        <a:pt x="180" y="264"/>
                      </a:lnTo>
                      <a:lnTo>
                        <a:pt x="192" y="258"/>
                      </a:lnTo>
                      <a:lnTo>
                        <a:pt x="192" y="252"/>
                      </a:lnTo>
                      <a:lnTo>
                        <a:pt x="192" y="246"/>
                      </a:lnTo>
                      <a:lnTo>
                        <a:pt x="198" y="240"/>
                      </a:lnTo>
                      <a:lnTo>
                        <a:pt x="204" y="234"/>
                      </a:lnTo>
                      <a:lnTo>
                        <a:pt x="216" y="228"/>
                      </a:lnTo>
                      <a:lnTo>
                        <a:pt x="228" y="216"/>
                      </a:lnTo>
                      <a:lnTo>
                        <a:pt x="234" y="210"/>
                      </a:lnTo>
                      <a:lnTo>
                        <a:pt x="234" y="198"/>
                      </a:lnTo>
                      <a:lnTo>
                        <a:pt x="240" y="192"/>
                      </a:lnTo>
                      <a:lnTo>
                        <a:pt x="246" y="180"/>
                      </a:lnTo>
                      <a:lnTo>
                        <a:pt x="258" y="162"/>
                      </a:lnTo>
                      <a:lnTo>
                        <a:pt x="270" y="144"/>
                      </a:lnTo>
                      <a:lnTo>
                        <a:pt x="288" y="132"/>
                      </a:lnTo>
                      <a:lnTo>
                        <a:pt x="306" y="126"/>
                      </a:lnTo>
                      <a:lnTo>
                        <a:pt x="312" y="114"/>
                      </a:lnTo>
                      <a:lnTo>
                        <a:pt x="312" y="102"/>
                      </a:lnTo>
                      <a:lnTo>
                        <a:pt x="318" y="96"/>
                      </a:lnTo>
                      <a:lnTo>
                        <a:pt x="318" y="84"/>
                      </a:lnTo>
                      <a:lnTo>
                        <a:pt x="324" y="72"/>
                      </a:lnTo>
                      <a:lnTo>
                        <a:pt x="378" y="30"/>
                      </a:lnTo>
                      <a:lnTo>
                        <a:pt x="420" y="6"/>
                      </a:lnTo>
                      <a:lnTo>
                        <a:pt x="44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4" name="Freeform 312">
                  <a:extLst>
                    <a:ext uri="{FF2B5EF4-FFF2-40B4-BE49-F238E27FC236}">
                      <a16:creationId xmlns:a16="http://schemas.microsoft.com/office/drawing/2014/main" id="{5F9BAD77-B08E-4C5F-92AE-EAC354517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037" y="-2856"/>
                  <a:ext cx="270" cy="144"/>
                </a:xfrm>
                <a:custGeom>
                  <a:avLst/>
                  <a:gdLst>
                    <a:gd name="T0" fmla="*/ 36 w 270"/>
                    <a:gd name="T1" fmla="*/ 0 h 144"/>
                    <a:gd name="T2" fmla="*/ 54 w 270"/>
                    <a:gd name="T3" fmla="*/ 0 h 144"/>
                    <a:gd name="T4" fmla="*/ 72 w 270"/>
                    <a:gd name="T5" fmla="*/ 0 h 144"/>
                    <a:gd name="T6" fmla="*/ 108 w 270"/>
                    <a:gd name="T7" fmla="*/ 12 h 144"/>
                    <a:gd name="T8" fmla="*/ 156 w 270"/>
                    <a:gd name="T9" fmla="*/ 36 h 144"/>
                    <a:gd name="T10" fmla="*/ 210 w 270"/>
                    <a:gd name="T11" fmla="*/ 66 h 144"/>
                    <a:gd name="T12" fmla="*/ 252 w 270"/>
                    <a:gd name="T13" fmla="*/ 96 h 144"/>
                    <a:gd name="T14" fmla="*/ 264 w 270"/>
                    <a:gd name="T15" fmla="*/ 108 h 144"/>
                    <a:gd name="T16" fmla="*/ 270 w 270"/>
                    <a:gd name="T17" fmla="*/ 120 h 144"/>
                    <a:gd name="T18" fmla="*/ 270 w 270"/>
                    <a:gd name="T19" fmla="*/ 126 h 144"/>
                    <a:gd name="T20" fmla="*/ 264 w 270"/>
                    <a:gd name="T21" fmla="*/ 132 h 144"/>
                    <a:gd name="T22" fmla="*/ 258 w 270"/>
                    <a:gd name="T23" fmla="*/ 138 h 144"/>
                    <a:gd name="T24" fmla="*/ 246 w 270"/>
                    <a:gd name="T25" fmla="*/ 138 h 144"/>
                    <a:gd name="T26" fmla="*/ 228 w 270"/>
                    <a:gd name="T27" fmla="*/ 144 h 144"/>
                    <a:gd name="T28" fmla="*/ 204 w 270"/>
                    <a:gd name="T29" fmla="*/ 144 h 144"/>
                    <a:gd name="T30" fmla="*/ 186 w 270"/>
                    <a:gd name="T31" fmla="*/ 138 h 144"/>
                    <a:gd name="T32" fmla="*/ 144 w 270"/>
                    <a:gd name="T33" fmla="*/ 132 h 144"/>
                    <a:gd name="T34" fmla="*/ 126 w 270"/>
                    <a:gd name="T35" fmla="*/ 120 h 144"/>
                    <a:gd name="T36" fmla="*/ 114 w 270"/>
                    <a:gd name="T37" fmla="*/ 102 h 144"/>
                    <a:gd name="T38" fmla="*/ 90 w 270"/>
                    <a:gd name="T39" fmla="*/ 96 h 144"/>
                    <a:gd name="T40" fmla="*/ 72 w 270"/>
                    <a:gd name="T41" fmla="*/ 90 h 144"/>
                    <a:gd name="T42" fmla="*/ 60 w 270"/>
                    <a:gd name="T43" fmla="*/ 84 h 144"/>
                    <a:gd name="T44" fmla="*/ 48 w 270"/>
                    <a:gd name="T45" fmla="*/ 72 h 144"/>
                    <a:gd name="T46" fmla="*/ 42 w 270"/>
                    <a:gd name="T47" fmla="*/ 60 h 144"/>
                    <a:gd name="T48" fmla="*/ 30 w 270"/>
                    <a:gd name="T49" fmla="*/ 42 h 144"/>
                    <a:gd name="T50" fmla="*/ 24 w 270"/>
                    <a:gd name="T51" fmla="*/ 30 h 144"/>
                    <a:gd name="T52" fmla="*/ 12 w 270"/>
                    <a:gd name="T53" fmla="*/ 18 h 144"/>
                    <a:gd name="T54" fmla="*/ 0 w 270"/>
                    <a:gd name="T55" fmla="*/ 12 h 144"/>
                    <a:gd name="T56" fmla="*/ 0 w 270"/>
                    <a:gd name="T57" fmla="*/ 6 h 144"/>
                    <a:gd name="T58" fmla="*/ 12 w 270"/>
                    <a:gd name="T59" fmla="*/ 0 h 144"/>
                    <a:gd name="T60" fmla="*/ 18 w 270"/>
                    <a:gd name="T61" fmla="*/ 0 h 144"/>
                    <a:gd name="T62" fmla="*/ 36 w 270"/>
                    <a:gd name="T63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70" h="144">
                      <a:moveTo>
                        <a:pt x="36" y="0"/>
                      </a:moveTo>
                      <a:lnTo>
                        <a:pt x="54" y="0"/>
                      </a:lnTo>
                      <a:lnTo>
                        <a:pt x="72" y="0"/>
                      </a:lnTo>
                      <a:lnTo>
                        <a:pt x="108" y="12"/>
                      </a:lnTo>
                      <a:lnTo>
                        <a:pt x="156" y="36"/>
                      </a:lnTo>
                      <a:lnTo>
                        <a:pt x="210" y="66"/>
                      </a:lnTo>
                      <a:lnTo>
                        <a:pt x="252" y="96"/>
                      </a:lnTo>
                      <a:lnTo>
                        <a:pt x="264" y="108"/>
                      </a:lnTo>
                      <a:lnTo>
                        <a:pt x="270" y="120"/>
                      </a:lnTo>
                      <a:lnTo>
                        <a:pt x="270" y="126"/>
                      </a:lnTo>
                      <a:lnTo>
                        <a:pt x="264" y="132"/>
                      </a:lnTo>
                      <a:lnTo>
                        <a:pt x="258" y="138"/>
                      </a:lnTo>
                      <a:lnTo>
                        <a:pt x="246" y="138"/>
                      </a:lnTo>
                      <a:lnTo>
                        <a:pt x="228" y="144"/>
                      </a:lnTo>
                      <a:lnTo>
                        <a:pt x="204" y="144"/>
                      </a:lnTo>
                      <a:lnTo>
                        <a:pt x="186" y="138"/>
                      </a:lnTo>
                      <a:lnTo>
                        <a:pt x="144" y="132"/>
                      </a:lnTo>
                      <a:lnTo>
                        <a:pt x="126" y="120"/>
                      </a:lnTo>
                      <a:lnTo>
                        <a:pt x="114" y="102"/>
                      </a:lnTo>
                      <a:lnTo>
                        <a:pt x="90" y="96"/>
                      </a:lnTo>
                      <a:lnTo>
                        <a:pt x="72" y="90"/>
                      </a:lnTo>
                      <a:lnTo>
                        <a:pt x="60" y="84"/>
                      </a:lnTo>
                      <a:lnTo>
                        <a:pt x="48" y="72"/>
                      </a:lnTo>
                      <a:lnTo>
                        <a:pt x="42" y="60"/>
                      </a:lnTo>
                      <a:lnTo>
                        <a:pt x="30" y="42"/>
                      </a:lnTo>
                      <a:lnTo>
                        <a:pt x="24" y="30"/>
                      </a:lnTo>
                      <a:lnTo>
                        <a:pt x="12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12" y="0"/>
                      </a:lnTo>
                      <a:lnTo>
                        <a:pt x="18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5" name="Freeform 313">
                  <a:extLst>
                    <a:ext uri="{FF2B5EF4-FFF2-40B4-BE49-F238E27FC236}">
                      <a16:creationId xmlns:a16="http://schemas.microsoft.com/office/drawing/2014/main" id="{8D25F878-90EE-4572-9001-32198F9409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115" y="-2454"/>
                  <a:ext cx="126" cy="108"/>
                </a:xfrm>
                <a:custGeom>
                  <a:avLst/>
                  <a:gdLst>
                    <a:gd name="T0" fmla="*/ 6 w 126"/>
                    <a:gd name="T1" fmla="*/ 0 h 108"/>
                    <a:gd name="T2" fmla="*/ 24 w 126"/>
                    <a:gd name="T3" fmla="*/ 6 h 108"/>
                    <a:gd name="T4" fmla="*/ 54 w 126"/>
                    <a:gd name="T5" fmla="*/ 24 h 108"/>
                    <a:gd name="T6" fmla="*/ 84 w 126"/>
                    <a:gd name="T7" fmla="*/ 48 h 108"/>
                    <a:gd name="T8" fmla="*/ 114 w 126"/>
                    <a:gd name="T9" fmla="*/ 78 h 108"/>
                    <a:gd name="T10" fmla="*/ 126 w 126"/>
                    <a:gd name="T11" fmla="*/ 102 h 108"/>
                    <a:gd name="T12" fmla="*/ 120 w 126"/>
                    <a:gd name="T13" fmla="*/ 108 h 108"/>
                    <a:gd name="T14" fmla="*/ 102 w 126"/>
                    <a:gd name="T15" fmla="*/ 108 h 108"/>
                    <a:gd name="T16" fmla="*/ 78 w 126"/>
                    <a:gd name="T17" fmla="*/ 96 h 108"/>
                    <a:gd name="T18" fmla="*/ 54 w 126"/>
                    <a:gd name="T19" fmla="*/ 84 h 108"/>
                    <a:gd name="T20" fmla="*/ 30 w 126"/>
                    <a:gd name="T21" fmla="*/ 60 h 108"/>
                    <a:gd name="T22" fmla="*/ 12 w 126"/>
                    <a:gd name="T23" fmla="*/ 42 h 108"/>
                    <a:gd name="T24" fmla="*/ 0 w 126"/>
                    <a:gd name="T25" fmla="*/ 12 h 108"/>
                    <a:gd name="T26" fmla="*/ 6 w 126"/>
                    <a:gd name="T27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6" h="108">
                      <a:moveTo>
                        <a:pt x="6" y="0"/>
                      </a:moveTo>
                      <a:lnTo>
                        <a:pt x="24" y="6"/>
                      </a:lnTo>
                      <a:lnTo>
                        <a:pt x="54" y="24"/>
                      </a:lnTo>
                      <a:lnTo>
                        <a:pt x="84" y="48"/>
                      </a:lnTo>
                      <a:lnTo>
                        <a:pt x="114" y="78"/>
                      </a:lnTo>
                      <a:lnTo>
                        <a:pt x="126" y="102"/>
                      </a:lnTo>
                      <a:lnTo>
                        <a:pt x="120" y="108"/>
                      </a:lnTo>
                      <a:lnTo>
                        <a:pt x="102" y="108"/>
                      </a:lnTo>
                      <a:lnTo>
                        <a:pt x="78" y="96"/>
                      </a:lnTo>
                      <a:lnTo>
                        <a:pt x="54" y="84"/>
                      </a:lnTo>
                      <a:lnTo>
                        <a:pt x="30" y="60"/>
                      </a:lnTo>
                      <a:lnTo>
                        <a:pt x="12" y="42"/>
                      </a:lnTo>
                      <a:lnTo>
                        <a:pt x="0" y="1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6" name="Freeform 314">
                  <a:extLst>
                    <a:ext uri="{FF2B5EF4-FFF2-40B4-BE49-F238E27FC236}">
                      <a16:creationId xmlns:a16="http://schemas.microsoft.com/office/drawing/2014/main" id="{84B92265-0C96-4DD1-B547-8F085BFCC8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857" y="-2424"/>
                  <a:ext cx="114" cy="186"/>
                </a:xfrm>
                <a:custGeom>
                  <a:avLst/>
                  <a:gdLst>
                    <a:gd name="T0" fmla="*/ 72 w 114"/>
                    <a:gd name="T1" fmla="*/ 0 h 186"/>
                    <a:gd name="T2" fmla="*/ 78 w 114"/>
                    <a:gd name="T3" fmla="*/ 0 h 186"/>
                    <a:gd name="T4" fmla="*/ 84 w 114"/>
                    <a:gd name="T5" fmla="*/ 6 h 186"/>
                    <a:gd name="T6" fmla="*/ 84 w 114"/>
                    <a:gd name="T7" fmla="*/ 18 h 186"/>
                    <a:gd name="T8" fmla="*/ 84 w 114"/>
                    <a:gd name="T9" fmla="*/ 30 h 186"/>
                    <a:gd name="T10" fmla="*/ 78 w 114"/>
                    <a:gd name="T11" fmla="*/ 42 h 186"/>
                    <a:gd name="T12" fmla="*/ 78 w 114"/>
                    <a:gd name="T13" fmla="*/ 60 h 186"/>
                    <a:gd name="T14" fmla="*/ 72 w 114"/>
                    <a:gd name="T15" fmla="*/ 72 h 186"/>
                    <a:gd name="T16" fmla="*/ 66 w 114"/>
                    <a:gd name="T17" fmla="*/ 78 h 186"/>
                    <a:gd name="T18" fmla="*/ 60 w 114"/>
                    <a:gd name="T19" fmla="*/ 90 h 186"/>
                    <a:gd name="T20" fmla="*/ 48 w 114"/>
                    <a:gd name="T21" fmla="*/ 96 h 186"/>
                    <a:gd name="T22" fmla="*/ 48 w 114"/>
                    <a:gd name="T23" fmla="*/ 108 h 186"/>
                    <a:gd name="T24" fmla="*/ 54 w 114"/>
                    <a:gd name="T25" fmla="*/ 114 h 186"/>
                    <a:gd name="T26" fmla="*/ 60 w 114"/>
                    <a:gd name="T27" fmla="*/ 120 h 186"/>
                    <a:gd name="T28" fmla="*/ 72 w 114"/>
                    <a:gd name="T29" fmla="*/ 120 h 186"/>
                    <a:gd name="T30" fmla="*/ 84 w 114"/>
                    <a:gd name="T31" fmla="*/ 114 h 186"/>
                    <a:gd name="T32" fmla="*/ 96 w 114"/>
                    <a:gd name="T33" fmla="*/ 108 h 186"/>
                    <a:gd name="T34" fmla="*/ 108 w 114"/>
                    <a:gd name="T35" fmla="*/ 108 h 186"/>
                    <a:gd name="T36" fmla="*/ 114 w 114"/>
                    <a:gd name="T37" fmla="*/ 114 h 186"/>
                    <a:gd name="T38" fmla="*/ 114 w 114"/>
                    <a:gd name="T39" fmla="*/ 120 h 186"/>
                    <a:gd name="T40" fmla="*/ 114 w 114"/>
                    <a:gd name="T41" fmla="*/ 138 h 186"/>
                    <a:gd name="T42" fmla="*/ 108 w 114"/>
                    <a:gd name="T43" fmla="*/ 144 h 186"/>
                    <a:gd name="T44" fmla="*/ 96 w 114"/>
                    <a:gd name="T45" fmla="*/ 156 h 186"/>
                    <a:gd name="T46" fmla="*/ 90 w 114"/>
                    <a:gd name="T47" fmla="*/ 168 h 186"/>
                    <a:gd name="T48" fmla="*/ 78 w 114"/>
                    <a:gd name="T49" fmla="*/ 180 h 186"/>
                    <a:gd name="T50" fmla="*/ 72 w 114"/>
                    <a:gd name="T51" fmla="*/ 186 h 186"/>
                    <a:gd name="T52" fmla="*/ 54 w 114"/>
                    <a:gd name="T53" fmla="*/ 186 h 186"/>
                    <a:gd name="T54" fmla="*/ 42 w 114"/>
                    <a:gd name="T55" fmla="*/ 186 h 186"/>
                    <a:gd name="T56" fmla="*/ 24 w 114"/>
                    <a:gd name="T57" fmla="*/ 174 h 186"/>
                    <a:gd name="T58" fmla="*/ 12 w 114"/>
                    <a:gd name="T59" fmla="*/ 168 h 186"/>
                    <a:gd name="T60" fmla="*/ 0 w 114"/>
                    <a:gd name="T61" fmla="*/ 156 h 186"/>
                    <a:gd name="T62" fmla="*/ 0 w 114"/>
                    <a:gd name="T63" fmla="*/ 144 h 186"/>
                    <a:gd name="T64" fmla="*/ 0 w 114"/>
                    <a:gd name="T65" fmla="*/ 138 h 186"/>
                    <a:gd name="T66" fmla="*/ 0 w 114"/>
                    <a:gd name="T67" fmla="*/ 126 h 186"/>
                    <a:gd name="T68" fmla="*/ 6 w 114"/>
                    <a:gd name="T69" fmla="*/ 120 h 186"/>
                    <a:gd name="T70" fmla="*/ 12 w 114"/>
                    <a:gd name="T71" fmla="*/ 108 h 186"/>
                    <a:gd name="T72" fmla="*/ 12 w 114"/>
                    <a:gd name="T73" fmla="*/ 96 h 186"/>
                    <a:gd name="T74" fmla="*/ 18 w 114"/>
                    <a:gd name="T75" fmla="*/ 78 h 186"/>
                    <a:gd name="T76" fmla="*/ 24 w 114"/>
                    <a:gd name="T77" fmla="*/ 54 h 186"/>
                    <a:gd name="T78" fmla="*/ 36 w 114"/>
                    <a:gd name="T79" fmla="*/ 30 h 186"/>
                    <a:gd name="T80" fmla="*/ 54 w 114"/>
                    <a:gd name="T81" fmla="*/ 12 h 186"/>
                    <a:gd name="T82" fmla="*/ 66 w 114"/>
                    <a:gd name="T83" fmla="*/ 0 h 186"/>
                    <a:gd name="T84" fmla="*/ 72 w 114"/>
                    <a:gd name="T85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4" h="186">
                      <a:moveTo>
                        <a:pt x="72" y="0"/>
                      </a:moveTo>
                      <a:lnTo>
                        <a:pt x="78" y="0"/>
                      </a:lnTo>
                      <a:lnTo>
                        <a:pt x="84" y="6"/>
                      </a:lnTo>
                      <a:lnTo>
                        <a:pt x="84" y="18"/>
                      </a:lnTo>
                      <a:lnTo>
                        <a:pt x="84" y="30"/>
                      </a:lnTo>
                      <a:lnTo>
                        <a:pt x="78" y="42"/>
                      </a:lnTo>
                      <a:lnTo>
                        <a:pt x="78" y="60"/>
                      </a:lnTo>
                      <a:lnTo>
                        <a:pt x="72" y="72"/>
                      </a:lnTo>
                      <a:lnTo>
                        <a:pt x="66" y="78"/>
                      </a:lnTo>
                      <a:lnTo>
                        <a:pt x="60" y="90"/>
                      </a:lnTo>
                      <a:lnTo>
                        <a:pt x="48" y="96"/>
                      </a:lnTo>
                      <a:lnTo>
                        <a:pt x="48" y="108"/>
                      </a:lnTo>
                      <a:lnTo>
                        <a:pt x="54" y="114"/>
                      </a:lnTo>
                      <a:lnTo>
                        <a:pt x="60" y="120"/>
                      </a:lnTo>
                      <a:lnTo>
                        <a:pt x="72" y="120"/>
                      </a:lnTo>
                      <a:lnTo>
                        <a:pt x="84" y="114"/>
                      </a:lnTo>
                      <a:lnTo>
                        <a:pt x="96" y="108"/>
                      </a:lnTo>
                      <a:lnTo>
                        <a:pt x="108" y="108"/>
                      </a:lnTo>
                      <a:lnTo>
                        <a:pt x="114" y="114"/>
                      </a:lnTo>
                      <a:lnTo>
                        <a:pt x="114" y="120"/>
                      </a:lnTo>
                      <a:lnTo>
                        <a:pt x="114" y="138"/>
                      </a:lnTo>
                      <a:lnTo>
                        <a:pt x="108" y="144"/>
                      </a:lnTo>
                      <a:lnTo>
                        <a:pt x="96" y="156"/>
                      </a:lnTo>
                      <a:lnTo>
                        <a:pt x="90" y="168"/>
                      </a:lnTo>
                      <a:lnTo>
                        <a:pt x="78" y="180"/>
                      </a:lnTo>
                      <a:lnTo>
                        <a:pt x="72" y="186"/>
                      </a:lnTo>
                      <a:lnTo>
                        <a:pt x="54" y="186"/>
                      </a:lnTo>
                      <a:lnTo>
                        <a:pt x="42" y="186"/>
                      </a:lnTo>
                      <a:lnTo>
                        <a:pt x="24" y="174"/>
                      </a:lnTo>
                      <a:lnTo>
                        <a:pt x="12" y="168"/>
                      </a:lnTo>
                      <a:lnTo>
                        <a:pt x="0" y="156"/>
                      </a:lnTo>
                      <a:lnTo>
                        <a:pt x="0" y="144"/>
                      </a:lnTo>
                      <a:lnTo>
                        <a:pt x="0" y="138"/>
                      </a:lnTo>
                      <a:lnTo>
                        <a:pt x="0" y="126"/>
                      </a:lnTo>
                      <a:lnTo>
                        <a:pt x="6" y="120"/>
                      </a:lnTo>
                      <a:lnTo>
                        <a:pt x="12" y="108"/>
                      </a:lnTo>
                      <a:lnTo>
                        <a:pt x="12" y="96"/>
                      </a:lnTo>
                      <a:lnTo>
                        <a:pt x="18" y="78"/>
                      </a:lnTo>
                      <a:lnTo>
                        <a:pt x="24" y="54"/>
                      </a:lnTo>
                      <a:lnTo>
                        <a:pt x="36" y="30"/>
                      </a:lnTo>
                      <a:lnTo>
                        <a:pt x="54" y="12"/>
                      </a:lnTo>
                      <a:lnTo>
                        <a:pt x="66" y="0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7" name="Freeform 315">
                  <a:extLst>
                    <a:ext uri="{FF2B5EF4-FFF2-40B4-BE49-F238E27FC236}">
                      <a16:creationId xmlns:a16="http://schemas.microsoft.com/office/drawing/2014/main" id="{AE55B871-CA34-4F9F-9DF7-453EE211B4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281" y="198"/>
                  <a:ext cx="96" cy="66"/>
                </a:xfrm>
                <a:custGeom>
                  <a:avLst/>
                  <a:gdLst>
                    <a:gd name="T0" fmla="*/ 72 w 96"/>
                    <a:gd name="T1" fmla="*/ 0 h 66"/>
                    <a:gd name="T2" fmla="*/ 84 w 96"/>
                    <a:gd name="T3" fmla="*/ 6 h 66"/>
                    <a:gd name="T4" fmla="*/ 96 w 96"/>
                    <a:gd name="T5" fmla="*/ 12 h 66"/>
                    <a:gd name="T6" fmla="*/ 96 w 96"/>
                    <a:gd name="T7" fmla="*/ 18 h 66"/>
                    <a:gd name="T8" fmla="*/ 96 w 96"/>
                    <a:gd name="T9" fmla="*/ 30 h 66"/>
                    <a:gd name="T10" fmla="*/ 84 w 96"/>
                    <a:gd name="T11" fmla="*/ 36 h 66"/>
                    <a:gd name="T12" fmla="*/ 72 w 96"/>
                    <a:gd name="T13" fmla="*/ 48 h 66"/>
                    <a:gd name="T14" fmla="*/ 48 w 96"/>
                    <a:gd name="T15" fmla="*/ 60 h 66"/>
                    <a:gd name="T16" fmla="*/ 30 w 96"/>
                    <a:gd name="T17" fmla="*/ 66 h 66"/>
                    <a:gd name="T18" fmla="*/ 12 w 96"/>
                    <a:gd name="T19" fmla="*/ 66 h 66"/>
                    <a:gd name="T20" fmla="*/ 6 w 96"/>
                    <a:gd name="T21" fmla="*/ 60 h 66"/>
                    <a:gd name="T22" fmla="*/ 0 w 96"/>
                    <a:gd name="T23" fmla="*/ 54 h 66"/>
                    <a:gd name="T24" fmla="*/ 0 w 96"/>
                    <a:gd name="T25" fmla="*/ 48 h 66"/>
                    <a:gd name="T26" fmla="*/ 0 w 96"/>
                    <a:gd name="T27" fmla="*/ 42 h 66"/>
                    <a:gd name="T28" fmla="*/ 6 w 96"/>
                    <a:gd name="T29" fmla="*/ 30 h 66"/>
                    <a:gd name="T30" fmla="*/ 12 w 96"/>
                    <a:gd name="T31" fmla="*/ 24 h 66"/>
                    <a:gd name="T32" fmla="*/ 18 w 96"/>
                    <a:gd name="T33" fmla="*/ 18 h 66"/>
                    <a:gd name="T34" fmla="*/ 30 w 96"/>
                    <a:gd name="T35" fmla="*/ 12 h 66"/>
                    <a:gd name="T36" fmla="*/ 54 w 96"/>
                    <a:gd name="T37" fmla="*/ 0 h 66"/>
                    <a:gd name="T38" fmla="*/ 72 w 96"/>
                    <a:gd name="T39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96" h="66">
                      <a:moveTo>
                        <a:pt x="72" y="0"/>
                      </a:moveTo>
                      <a:lnTo>
                        <a:pt x="84" y="6"/>
                      </a:lnTo>
                      <a:lnTo>
                        <a:pt x="96" y="12"/>
                      </a:lnTo>
                      <a:lnTo>
                        <a:pt x="96" y="18"/>
                      </a:lnTo>
                      <a:lnTo>
                        <a:pt x="96" y="30"/>
                      </a:lnTo>
                      <a:lnTo>
                        <a:pt x="84" y="36"/>
                      </a:lnTo>
                      <a:lnTo>
                        <a:pt x="72" y="48"/>
                      </a:lnTo>
                      <a:lnTo>
                        <a:pt x="48" y="60"/>
                      </a:lnTo>
                      <a:lnTo>
                        <a:pt x="30" y="66"/>
                      </a:lnTo>
                      <a:lnTo>
                        <a:pt x="12" y="66"/>
                      </a:lnTo>
                      <a:lnTo>
                        <a:pt x="6" y="60"/>
                      </a:lnTo>
                      <a:lnTo>
                        <a:pt x="0" y="54"/>
                      </a:lnTo>
                      <a:lnTo>
                        <a:pt x="0" y="48"/>
                      </a:lnTo>
                      <a:lnTo>
                        <a:pt x="0" y="42"/>
                      </a:lnTo>
                      <a:lnTo>
                        <a:pt x="6" y="30"/>
                      </a:lnTo>
                      <a:lnTo>
                        <a:pt x="12" y="24"/>
                      </a:lnTo>
                      <a:lnTo>
                        <a:pt x="18" y="18"/>
                      </a:lnTo>
                      <a:lnTo>
                        <a:pt x="30" y="12"/>
                      </a:lnTo>
                      <a:lnTo>
                        <a:pt x="54" y="0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8" name="Freeform 317">
                  <a:extLst>
                    <a:ext uri="{FF2B5EF4-FFF2-40B4-BE49-F238E27FC236}">
                      <a16:creationId xmlns:a16="http://schemas.microsoft.com/office/drawing/2014/main" id="{47A94BA3-60A8-4D75-AAAB-D9E0872344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77" y="372"/>
                  <a:ext cx="108" cy="168"/>
                </a:xfrm>
                <a:custGeom>
                  <a:avLst/>
                  <a:gdLst>
                    <a:gd name="T0" fmla="*/ 0 w 108"/>
                    <a:gd name="T1" fmla="*/ 0 h 168"/>
                    <a:gd name="T2" fmla="*/ 6 w 108"/>
                    <a:gd name="T3" fmla="*/ 0 h 168"/>
                    <a:gd name="T4" fmla="*/ 12 w 108"/>
                    <a:gd name="T5" fmla="*/ 0 h 168"/>
                    <a:gd name="T6" fmla="*/ 24 w 108"/>
                    <a:gd name="T7" fmla="*/ 6 h 168"/>
                    <a:gd name="T8" fmla="*/ 30 w 108"/>
                    <a:gd name="T9" fmla="*/ 12 h 168"/>
                    <a:gd name="T10" fmla="*/ 42 w 108"/>
                    <a:gd name="T11" fmla="*/ 24 h 168"/>
                    <a:gd name="T12" fmla="*/ 48 w 108"/>
                    <a:gd name="T13" fmla="*/ 30 h 168"/>
                    <a:gd name="T14" fmla="*/ 60 w 108"/>
                    <a:gd name="T15" fmla="*/ 42 h 168"/>
                    <a:gd name="T16" fmla="*/ 66 w 108"/>
                    <a:gd name="T17" fmla="*/ 60 h 168"/>
                    <a:gd name="T18" fmla="*/ 72 w 108"/>
                    <a:gd name="T19" fmla="*/ 72 h 168"/>
                    <a:gd name="T20" fmla="*/ 78 w 108"/>
                    <a:gd name="T21" fmla="*/ 84 h 168"/>
                    <a:gd name="T22" fmla="*/ 78 w 108"/>
                    <a:gd name="T23" fmla="*/ 90 h 168"/>
                    <a:gd name="T24" fmla="*/ 84 w 108"/>
                    <a:gd name="T25" fmla="*/ 102 h 168"/>
                    <a:gd name="T26" fmla="*/ 90 w 108"/>
                    <a:gd name="T27" fmla="*/ 120 h 168"/>
                    <a:gd name="T28" fmla="*/ 96 w 108"/>
                    <a:gd name="T29" fmla="*/ 132 h 168"/>
                    <a:gd name="T30" fmla="*/ 102 w 108"/>
                    <a:gd name="T31" fmla="*/ 150 h 168"/>
                    <a:gd name="T32" fmla="*/ 108 w 108"/>
                    <a:gd name="T33" fmla="*/ 162 h 168"/>
                    <a:gd name="T34" fmla="*/ 102 w 108"/>
                    <a:gd name="T35" fmla="*/ 162 h 168"/>
                    <a:gd name="T36" fmla="*/ 96 w 108"/>
                    <a:gd name="T37" fmla="*/ 168 h 168"/>
                    <a:gd name="T38" fmla="*/ 90 w 108"/>
                    <a:gd name="T39" fmla="*/ 162 h 168"/>
                    <a:gd name="T40" fmla="*/ 78 w 108"/>
                    <a:gd name="T41" fmla="*/ 156 h 168"/>
                    <a:gd name="T42" fmla="*/ 60 w 108"/>
                    <a:gd name="T43" fmla="*/ 150 h 168"/>
                    <a:gd name="T44" fmla="*/ 48 w 108"/>
                    <a:gd name="T45" fmla="*/ 132 h 168"/>
                    <a:gd name="T46" fmla="*/ 18 w 108"/>
                    <a:gd name="T47" fmla="*/ 102 h 168"/>
                    <a:gd name="T48" fmla="*/ 18 w 108"/>
                    <a:gd name="T49" fmla="*/ 66 h 168"/>
                    <a:gd name="T50" fmla="*/ 12 w 108"/>
                    <a:gd name="T51" fmla="*/ 36 h 168"/>
                    <a:gd name="T52" fmla="*/ 0 w 108"/>
                    <a:gd name="T53" fmla="*/ 18 h 168"/>
                    <a:gd name="T54" fmla="*/ 0 w 108"/>
                    <a:gd name="T55" fmla="*/ 6 h 168"/>
                    <a:gd name="T56" fmla="*/ 0 w 108"/>
                    <a:gd name="T57" fmla="*/ 0 h 168"/>
                    <a:gd name="T58" fmla="*/ 0 w 108"/>
                    <a:gd name="T59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08" h="168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12" y="0"/>
                      </a:lnTo>
                      <a:lnTo>
                        <a:pt x="24" y="6"/>
                      </a:lnTo>
                      <a:lnTo>
                        <a:pt x="30" y="12"/>
                      </a:lnTo>
                      <a:lnTo>
                        <a:pt x="42" y="24"/>
                      </a:lnTo>
                      <a:lnTo>
                        <a:pt x="48" y="30"/>
                      </a:lnTo>
                      <a:lnTo>
                        <a:pt x="60" y="42"/>
                      </a:lnTo>
                      <a:lnTo>
                        <a:pt x="66" y="60"/>
                      </a:lnTo>
                      <a:lnTo>
                        <a:pt x="72" y="72"/>
                      </a:lnTo>
                      <a:lnTo>
                        <a:pt x="78" y="84"/>
                      </a:lnTo>
                      <a:lnTo>
                        <a:pt x="78" y="90"/>
                      </a:lnTo>
                      <a:lnTo>
                        <a:pt x="84" y="102"/>
                      </a:lnTo>
                      <a:lnTo>
                        <a:pt x="90" y="120"/>
                      </a:lnTo>
                      <a:lnTo>
                        <a:pt x="96" y="132"/>
                      </a:lnTo>
                      <a:lnTo>
                        <a:pt x="102" y="150"/>
                      </a:lnTo>
                      <a:lnTo>
                        <a:pt x="108" y="162"/>
                      </a:lnTo>
                      <a:lnTo>
                        <a:pt x="102" y="162"/>
                      </a:lnTo>
                      <a:lnTo>
                        <a:pt x="96" y="168"/>
                      </a:lnTo>
                      <a:lnTo>
                        <a:pt x="90" y="162"/>
                      </a:lnTo>
                      <a:lnTo>
                        <a:pt x="78" y="156"/>
                      </a:lnTo>
                      <a:lnTo>
                        <a:pt x="60" y="150"/>
                      </a:lnTo>
                      <a:lnTo>
                        <a:pt x="48" y="132"/>
                      </a:lnTo>
                      <a:lnTo>
                        <a:pt x="18" y="102"/>
                      </a:lnTo>
                      <a:lnTo>
                        <a:pt x="18" y="66"/>
                      </a:lnTo>
                      <a:lnTo>
                        <a:pt x="12" y="36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69" name="Freeform 318">
                  <a:extLst>
                    <a:ext uri="{FF2B5EF4-FFF2-40B4-BE49-F238E27FC236}">
                      <a16:creationId xmlns:a16="http://schemas.microsoft.com/office/drawing/2014/main" id="{F994A8C7-24E6-413D-9B0E-46C9AF7B4C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305" y="438"/>
                  <a:ext cx="90" cy="96"/>
                </a:xfrm>
                <a:custGeom>
                  <a:avLst/>
                  <a:gdLst>
                    <a:gd name="T0" fmla="*/ 54 w 90"/>
                    <a:gd name="T1" fmla="*/ 0 h 96"/>
                    <a:gd name="T2" fmla="*/ 66 w 90"/>
                    <a:gd name="T3" fmla="*/ 6 h 96"/>
                    <a:gd name="T4" fmla="*/ 72 w 90"/>
                    <a:gd name="T5" fmla="*/ 24 h 96"/>
                    <a:gd name="T6" fmla="*/ 84 w 90"/>
                    <a:gd name="T7" fmla="*/ 48 h 96"/>
                    <a:gd name="T8" fmla="*/ 84 w 90"/>
                    <a:gd name="T9" fmla="*/ 72 h 96"/>
                    <a:gd name="T10" fmla="*/ 90 w 90"/>
                    <a:gd name="T11" fmla="*/ 84 h 96"/>
                    <a:gd name="T12" fmla="*/ 84 w 90"/>
                    <a:gd name="T13" fmla="*/ 96 h 96"/>
                    <a:gd name="T14" fmla="*/ 78 w 90"/>
                    <a:gd name="T15" fmla="*/ 96 h 96"/>
                    <a:gd name="T16" fmla="*/ 66 w 90"/>
                    <a:gd name="T17" fmla="*/ 96 h 96"/>
                    <a:gd name="T18" fmla="*/ 48 w 90"/>
                    <a:gd name="T19" fmla="*/ 96 h 96"/>
                    <a:gd name="T20" fmla="*/ 30 w 90"/>
                    <a:gd name="T21" fmla="*/ 84 h 96"/>
                    <a:gd name="T22" fmla="*/ 12 w 90"/>
                    <a:gd name="T23" fmla="*/ 78 h 96"/>
                    <a:gd name="T24" fmla="*/ 0 w 90"/>
                    <a:gd name="T25" fmla="*/ 66 h 96"/>
                    <a:gd name="T26" fmla="*/ 0 w 90"/>
                    <a:gd name="T27" fmla="*/ 60 h 96"/>
                    <a:gd name="T28" fmla="*/ 0 w 90"/>
                    <a:gd name="T29" fmla="*/ 48 h 96"/>
                    <a:gd name="T30" fmla="*/ 6 w 90"/>
                    <a:gd name="T31" fmla="*/ 36 h 96"/>
                    <a:gd name="T32" fmla="*/ 12 w 90"/>
                    <a:gd name="T33" fmla="*/ 30 h 96"/>
                    <a:gd name="T34" fmla="*/ 18 w 90"/>
                    <a:gd name="T35" fmla="*/ 24 h 96"/>
                    <a:gd name="T36" fmla="*/ 30 w 90"/>
                    <a:gd name="T37" fmla="*/ 18 h 96"/>
                    <a:gd name="T38" fmla="*/ 42 w 90"/>
                    <a:gd name="T39" fmla="*/ 0 h 96"/>
                    <a:gd name="T40" fmla="*/ 54 w 90"/>
                    <a:gd name="T41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0" h="96">
                      <a:moveTo>
                        <a:pt x="54" y="0"/>
                      </a:moveTo>
                      <a:lnTo>
                        <a:pt x="66" y="6"/>
                      </a:lnTo>
                      <a:lnTo>
                        <a:pt x="72" y="24"/>
                      </a:lnTo>
                      <a:lnTo>
                        <a:pt x="84" y="48"/>
                      </a:lnTo>
                      <a:lnTo>
                        <a:pt x="84" y="72"/>
                      </a:lnTo>
                      <a:lnTo>
                        <a:pt x="90" y="84"/>
                      </a:lnTo>
                      <a:lnTo>
                        <a:pt x="84" y="96"/>
                      </a:lnTo>
                      <a:lnTo>
                        <a:pt x="78" y="96"/>
                      </a:lnTo>
                      <a:lnTo>
                        <a:pt x="66" y="96"/>
                      </a:lnTo>
                      <a:lnTo>
                        <a:pt x="48" y="96"/>
                      </a:lnTo>
                      <a:lnTo>
                        <a:pt x="30" y="84"/>
                      </a:lnTo>
                      <a:lnTo>
                        <a:pt x="12" y="78"/>
                      </a:lnTo>
                      <a:lnTo>
                        <a:pt x="0" y="66"/>
                      </a:lnTo>
                      <a:lnTo>
                        <a:pt x="0" y="60"/>
                      </a:lnTo>
                      <a:lnTo>
                        <a:pt x="0" y="48"/>
                      </a:lnTo>
                      <a:lnTo>
                        <a:pt x="6" y="36"/>
                      </a:lnTo>
                      <a:lnTo>
                        <a:pt x="12" y="30"/>
                      </a:lnTo>
                      <a:lnTo>
                        <a:pt x="18" y="24"/>
                      </a:lnTo>
                      <a:lnTo>
                        <a:pt x="30" y="18"/>
                      </a:lnTo>
                      <a:lnTo>
                        <a:pt x="42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0" name="Freeform 321">
                  <a:extLst>
                    <a:ext uri="{FF2B5EF4-FFF2-40B4-BE49-F238E27FC236}">
                      <a16:creationId xmlns:a16="http://schemas.microsoft.com/office/drawing/2014/main" id="{778FEE10-D1AF-4962-A957-2BE898CD25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013" y="654"/>
                  <a:ext cx="1122" cy="444"/>
                </a:xfrm>
                <a:custGeom>
                  <a:avLst/>
                  <a:gdLst>
                    <a:gd name="T0" fmla="*/ 360 w 1122"/>
                    <a:gd name="T1" fmla="*/ 12 h 444"/>
                    <a:gd name="T2" fmla="*/ 468 w 1122"/>
                    <a:gd name="T3" fmla="*/ 24 h 444"/>
                    <a:gd name="T4" fmla="*/ 630 w 1122"/>
                    <a:gd name="T5" fmla="*/ 144 h 444"/>
                    <a:gd name="T6" fmla="*/ 660 w 1122"/>
                    <a:gd name="T7" fmla="*/ 156 h 444"/>
                    <a:gd name="T8" fmla="*/ 654 w 1122"/>
                    <a:gd name="T9" fmla="*/ 126 h 444"/>
                    <a:gd name="T10" fmla="*/ 660 w 1122"/>
                    <a:gd name="T11" fmla="*/ 114 h 444"/>
                    <a:gd name="T12" fmla="*/ 708 w 1122"/>
                    <a:gd name="T13" fmla="*/ 132 h 444"/>
                    <a:gd name="T14" fmla="*/ 762 w 1122"/>
                    <a:gd name="T15" fmla="*/ 168 h 444"/>
                    <a:gd name="T16" fmla="*/ 798 w 1122"/>
                    <a:gd name="T17" fmla="*/ 198 h 444"/>
                    <a:gd name="T18" fmla="*/ 822 w 1122"/>
                    <a:gd name="T19" fmla="*/ 246 h 444"/>
                    <a:gd name="T20" fmla="*/ 870 w 1122"/>
                    <a:gd name="T21" fmla="*/ 270 h 444"/>
                    <a:gd name="T22" fmla="*/ 930 w 1122"/>
                    <a:gd name="T23" fmla="*/ 294 h 444"/>
                    <a:gd name="T24" fmla="*/ 942 w 1122"/>
                    <a:gd name="T25" fmla="*/ 306 h 444"/>
                    <a:gd name="T26" fmla="*/ 924 w 1122"/>
                    <a:gd name="T27" fmla="*/ 324 h 444"/>
                    <a:gd name="T28" fmla="*/ 954 w 1122"/>
                    <a:gd name="T29" fmla="*/ 330 h 444"/>
                    <a:gd name="T30" fmla="*/ 990 w 1122"/>
                    <a:gd name="T31" fmla="*/ 324 h 444"/>
                    <a:gd name="T32" fmla="*/ 1020 w 1122"/>
                    <a:gd name="T33" fmla="*/ 342 h 444"/>
                    <a:gd name="T34" fmla="*/ 1020 w 1122"/>
                    <a:gd name="T35" fmla="*/ 366 h 444"/>
                    <a:gd name="T36" fmla="*/ 1068 w 1122"/>
                    <a:gd name="T37" fmla="*/ 384 h 444"/>
                    <a:gd name="T38" fmla="*/ 1116 w 1122"/>
                    <a:gd name="T39" fmla="*/ 396 h 444"/>
                    <a:gd name="T40" fmla="*/ 1110 w 1122"/>
                    <a:gd name="T41" fmla="*/ 414 h 444"/>
                    <a:gd name="T42" fmla="*/ 1068 w 1122"/>
                    <a:gd name="T43" fmla="*/ 426 h 444"/>
                    <a:gd name="T44" fmla="*/ 1008 w 1122"/>
                    <a:gd name="T45" fmla="*/ 426 h 444"/>
                    <a:gd name="T46" fmla="*/ 966 w 1122"/>
                    <a:gd name="T47" fmla="*/ 432 h 444"/>
                    <a:gd name="T48" fmla="*/ 942 w 1122"/>
                    <a:gd name="T49" fmla="*/ 438 h 444"/>
                    <a:gd name="T50" fmla="*/ 852 w 1122"/>
                    <a:gd name="T51" fmla="*/ 444 h 444"/>
                    <a:gd name="T52" fmla="*/ 804 w 1122"/>
                    <a:gd name="T53" fmla="*/ 426 h 444"/>
                    <a:gd name="T54" fmla="*/ 738 w 1122"/>
                    <a:gd name="T55" fmla="*/ 438 h 444"/>
                    <a:gd name="T56" fmla="*/ 708 w 1122"/>
                    <a:gd name="T57" fmla="*/ 426 h 444"/>
                    <a:gd name="T58" fmla="*/ 726 w 1122"/>
                    <a:gd name="T59" fmla="*/ 396 h 444"/>
                    <a:gd name="T60" fmla="*/ 762 w 1122"/>
                    <a:gd name="T61" fmla="*/ 372 h 444"/>
                    <a:gd name="T62" fmla="*/ 762 w 1122"/>
                    <a:gd name="T63" fmla="*/ 348 h 444"/>
                    <a:gd name="T64" fmla="*/ 714 w 1122"/>
                    <a:gd name="T65" fmla="*/ 318 h 444"/>
                    <a:gd name="T66" fmla="*/ 702 w 1122"/>
                    <a:gd name="T67" fmla="*/ 282 h 444"/>
                    <a:gd name="T68" fmla="*/ 678 w 1122"/>
                    <a:gd name="T69" fmla="*/ 282 h 444"/>
                    <a:gd name="T70" fmla="*/ 642 w 1122"/>
                    <a:gd name="T71" fmla="*/ 282 h 444"/>
                    <a:gd name="T72" fmla="*/ 618 w 1122"/>
                    <a:gd name="T73" fmla="*/ 246 h 444"/>
                    <a:gd name="T74" fmla="*/ 606 w 1122"/>
                    <a:gd name="T75" fmla="*/ 204 h 444"/>
                    <a:gd name="T76" fmla="*/ 576 w 1122"/>
                    <a:gd name="T77" fmla="*/ 210 h 444"/>
                    <a:gd name="T78" fmla="*/ 534 w 1122"/>
                    <a:gd name="T79" fmla="*/ 216 h 444"/>
                    <a:gd name="T80" fmla="*/ 474 w 1122"/>
                    <a:gd name="T81" fmla="*/ 198 h 444"/>
                    <a:gd name="T82" fmla="*/ 444 w 1122"/>
                    <a:gd name="T83" fmla="*/ 174 h 444"/>
                    <a:gd name="T84" fmla="*/ 432 w 1122"/>
                    <a:gd name="T85" fmla="*/ 150 h 444"/>
                    <a:gd name="T86" fmla="*/ 408 w 1122"/>
                    <a:gd name="T87" fmla="*/ 150 h 444"/>
                    <a:gd name="T88" fmla="*/ 378 w 1122"/>
                    <a:gd name="T89" fmla="*/ 162 h 444"/>
                    <a:gd name="T90" fmla="*/ 342 w 1122"/>
                    <a:gd name="T91" fmla="*/ 144 h 444"/>
                    <a:gd name="T92" fmla="*/ 300 w 1122"/>
                    <a:gd name="T93" fmla="*/ 138 h 444"/>
                    <a:gd name="T94" fmla="*/ 288 w 1122"/>
                    <a:gd name="T95" fmla="*/ 120 h 444"/>
                    <a:gd name="T96" fmla="*/ 306 w 1122"/>
                    <a:gd name="T97" fmla="*/ 102 h 444"/>
                    <a:gd name="T98" fmla="*/ 306 w 1122"/>
                    <a:gd name="T99" fmla="*/ 84 h 444"/>
                    <a:gd name="T100" fmla="*/ 264 w 1122"/>
                    <a:gd name="T101" fmla="*/ 84 h 444"/>
                    <a:gd name="T102" fmla="*/ 228 w 1122"/>
                    <a:gd name="T103" fmla="*/ 96 h 444"/>
                    <a:gd name="T104" fmla="*/ 192 w 1122"/>
                    <a:gd name="T105" fmla="*/ 90 h 444"/>
                    <a:gd name="T106" fmla="*/ 162 w 1122"/>
                    <a:gd name="T107" fmla="*/ 96 h 444"/>
                    <a:gd name="T108" fmla="*/ 120 w 1122"/>
                    <a:gd name="T109" fmla="*/ 102 h 444"/>
                    <a:gd name="T110" fmla="*/ 102 w 1122"/>
                    <a:gd name="T111" fmla="*/ 126 h 444"/>
                    <a:gd name="T112" fmla="*/ 78 w 1122"/>
                    <a:gd name="T113" fmla="*/ 144 h 444"/>
                    <a:gd name="T114" fmla="*/ 18 w 1122"/>
                    <a:gd name="T115" fmla="*/ 144 h 444"/>
                    <a:gd name="T116" fmla="*/ 0 w 1122"/>
                    <a:gd name="T117" fmla="*/ 120 h 444"/>
                    <a:gd name="T118" fmla="*/ 18 w 1122"/>
                    <a:gd name="T119" fmla="*/ 108 h 444"/>
                    <a:gd name="T120" fmla="*/ 48 w 1122"/>
                    <a:gd name="T121" fmla="*/ 102 h 444"/>
                    <a:gd name="T122" fmla="*/ 78 w 1122"/>
                    <a:gd name="T123" fmla="*/ 72 h 444"/>
                    <a:gd name="T124" fmla="*/ 252 w 1122"/>
                    <a:gd name="T125" fmla="*/ 0 h 4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122" h="444">
                      <a:moveTo>
                        <a:pt x="252" y="0"/>
                      </a:moveTo>
                      <a:lnTo>
                        <a:pt x="312" y="6"/>
                      </a:lnTo>
                      <a:lnTo>
                        <a:pt x="360" y="12"/>
                      </a:lnTo>
                      <a:lnTo>
                        <a:pt x="396" y="18"/>
                      </a:lnTo>
                      <a:lnTo>
                        <a:pt x="432" y="18"/>
                      </a:lnTo>
                      <a:lnTo>
                        <a:pt x="468" y="24"/>
                      </a:lnTo>
                      <a:lnTo>
                        <a:pt x="552" y="72"/>
                      </a:lnTo>
                      <a:lnTo>
                        <a:pt x="618" y="132"/>
                      </a:lnTo>
                      <a:lnTo>
                        <a:pt x="630" y="144"/>
                      </a:lnTo>
                      <a:lnTo>
                        <a:pt x="642" y="156"/>
                      </a:lnTo>
                      <a:lnTo>
                        <a:pt x="654" y="156"/>
                      </a:lnTo>
                      <a:lnTo>
                        <a:pt x="660" y="156"/>
                      </a:lnTo>
                      <a:lnTo>
                        <a:pt x="660" y="144"/>
                      </a:lnTo>
                      <a:lnTo>
                        <a:pt x="660" y="132"/>
                      </a:lnTo>
                      <a:lnTo>
                        <a:pt x="654" y="126"/>
                      </a:lnTo>
                      <a:lnTo>
                        <a:pt x="654" y="114"/>
                      </a:lnTo>
                      <a:lnTo>
                        <a:pt x="654" y="114"/>
                      </a:lnTo>
                      <a:lnTo>
                        <a:pt x="660" y="114"/>
                      </a:lnTo>
                      <a:lnTo>
                        <a:pt x="672" y="114"/>
                      </a:lnTo>
                      <a:lnTo>
                        <a:pt x="690" y="120"/>
                      </a:lnTo>
                      <a:lnTo>
                        <a:pt x="708" y="132"/>
                      </a:lnTo>
                      <a:lnTo>
                        <a:pt x="726" y="144"/>
                      </a:lnTo>
                      <a:lnTo>
                        <a:pt x="744" y="156"/>
                      </a:lnTo>
                      <a:lnTo>
                        <a:pt x="762" y="168"/>
                      </a:lnTo>
                      <a:lnTo>
                        <a:pt x="774" y="180"/>
                      </a:lnTo>
                      <a:lnTo>
                        <a:pt x="786" y="186"/>
                      </a:lnTo>
                      <a:lnTo>
                        <a:pt x="798" y="198"/>
                      </a:lnTo>
                      <a:lnTo>
                        <a:pt x="810" y="216"/>
                      </a:lnTo>
                      <a:lnTo>
                        <a:pt x="816" y="234"/>
                      </a:lnTo>
                      <a:lnTo>
                        <a:pt x="822" y="246"/>
                      </a:lnTo>
                      <a:lnTo>
                        <a:pt x="834" y="258"/>
                      </a:lnTo>
                      <a:lnTo>
                        <a:pt x="852" y="264"/>
                      </a:lnTo>
                      <a:lnTo>
                        <a:pt x="870" y="270"/>
                      </a:lnTo>
                      <a:lnTo>
                        <a:pt x="888" y="276"/>
                      </a:lnTo>
                      <a:lnTo>
                        <a:pt x="906" y="282"/>
                      </a:lnTo>
                      <a:lnTo>
                        <a:pt x="930" y="294"/>
                      </a:lnTo>
                      <a:lnTo>
                        <a:pt x="942" y="294"/>
                      </a:lnTo>
                      <a:lnTo>
                        <a:pt x="948" y="300"/>
                      </a:lnTo>
                      <a:lnTo>
                        <a:pt x="942" y="306"/>
                      </a:lnTo>
                      <a:lnTo>
                        <a:pt x="930" y="312"/>
                      </a:lnTo>
                      <a:lnTo>
                        <a:pt x="924" y="318"/>
                      </a:lnTo>
                      <a:lnTo>
                        <a:pt x="924" y="324"/>
                      </a:lnTo>
                      <a:lnTo>
                        <a:pt x="930" y="324"/>
                      </a:lnTo>
                      <a:lnTo>
                        <a:pt x="942" y="330"/>
                      </a:lnTo>
                      <a:lnTo>
                        <a:pt x="954" y="330"/>
                      </a:lnTo>
                      <a:lnTo>
                        <a:pt x="966" y="324"/>
                      </a:lnTo>
                      <a:lnTo>
                        <a:pt x="972" y="324"/>
                      </a:lnTo>
                      <a:lnTo>
                        <a:pt x="990" y="324"/>
                      </a:lnTo>
                      <a:lnTo>
                        <a:pt x="1002" y="330"/>
                      </a:lnTo>
                      <a:lnTo>
                        <a:pt x="1014" y="336"/>
                      </a:lnTo>
                      <a:lnTo>
                        <a:pt x="1020" y="342"/>
                      </a:lnTo>
                      <a:lnTo>
                        <a:pt x="1014" y="348"/>
                      </a:lnTo>
                      <a:lnTo>
                        <a:pt x="1014" y="360"/>
                      </a:lnTo>
                      <a:lnTo>
                        <a:pt x="1020" y="366"/>
                      </a:lnTo>
                      <a:lnTo>
                        <a:pt x="1032" y="372"/>
                      </a:lnTo>
                      <a:lnTo>
                        <a:pt x="1050" y="378"/>
                      </a:lnTo>
                      <a:lnTo>
                        <a:pt x="1068" y="384"/>
                      </a:lnTo>
                      <a:lnTo>
                        <a:pt x="1086" y="390"/>
                      </a:lnTo>
                      <a:lnTo>
                        <a:pt x="1110" y="390"/>
                      </a:lnTo>
                      <a:lnTo>
                        <a:pt x="1116" y="396"/>
                      </a:lnTo>
                      <a:lnTo>
                        <a:pt x="1122" y="402"/>
                      </a:lnTo>
                      <a:lnTo>
                        <a:pt x="1116" y="408"/>
                      </a:lnTo>
                      <a:lnTo>
                        <a:pt x="1110" y="414"/>
                      </a:lnTo>
                      <a:lnTo>
                        <a:pt x="1098" y="420"/>
                      </a:lnTo>
                      <a:lnTo>
                        <a:pt x="1080" y="426"/>
                      </a:lnTo>
                      <a:lnTo>
                        <a:pt x="1068" y="426"/>
                      </a:lnTo>
                      <a:lnTo>
                        <a:pt x="1050" y="426"/>
                      </a:lnTo>
                      <a:lnTo>
                        <a:pt x="1032" y="426"/>
                      </a:lnTo>
                      <a:lnTo>
                        <a:pt x="1008" y="426"/>
                      </a:lnTo>
                      <a:lnTo>
                        <a:pt x="990" y="426"/>
                      </a:lnTo>
                      <a:lnTo>
                        <a:pt x="978" y="426"/>
                      </a:lnTo>
                      <a:lnTo>
                        <a:pt x="966" y="432"/>
                      </a:lnTo>
                      <a:lnTo>
                        <a:pt x="960" y="438"/>
                      </a:lnTo>
                      <a:lnTo>
                        <a:pt x="948" y="438"/>
                      </a:lnTo>
                      <a:lnTo>
                        <a:pt x="942" y="438"/>
                      </a:lnTo>
                      <a:lnTo>
                        <a:pt x="918" y="438"/>
                      </a:lnTo>
                      <a:lnTo>
                        <a:pt x="882" y="444"/>
                      </a:lnTo>
                      <a:lnTo>
                        <a:pt x="852" y="444"/>
                      </a:lnTo>
                      <a:lnTo>
                        <a:pt x="828" y="438"/>
                      </a:lnTo>
                      <a:lnTo>
                        <a:pt x="816" y="426"/>
                      </a:lnTo>
                      <a:lnTo>
                        <a:pt x="804" y="426"/>
                      </a:lnTo>
                      <a:lnTo>
                        <a:pt x="786" y="432"/>
                      </a:lnTo>
                      <a:lnTo>
                        <a:pt x="762" y="438"/>
                      </a:lnTo>
                      <a:lnTo>
                        <a:pt x="738" y="438"/>
                      </a:lnTo>
                      <a:lnTo>
                        <a:pt x="726" y="438"/>
                      </a:lnTo>
                      <a:lnTo>
                        <a:pt x="714" y="426"/>
                      </a:lnTo>
                      <a:lnTo>
                        <a:pt x="708" y="426"/>
                      </a:lnTo>
                      <a:lnTo>
                        <a:pt x="708" y="414"/>
                      </a:lnTo>
                      <a:lnTo>
                        <a:pt x="714" y="408"/>
                      </a:lnTo>
                      <a:lnTo>
                        <a:pt x="726" y="396"/>
                      </a:lnTo>
                      <a:lnTo>
                        <a:pt x="738" y="390"/>
                      </a:lnTo>
                      <a:lnTo>
                        <a:pt x="750" y="384"/>
                      </a:lnTo>
                      <a:lnTo>
                        <a:pt x="762" y="372"/>
                      </a:lnTo>
                      <a:lnTo>
                        <a:pt x="768" y="366"/>
                      </a:lnTo>
                      <a:lnTo>
                        <a:pt x="768" y="360"/>
                      </a:lnTo>
                      <a:lnTo>
                        <a:pt x="762" y="348"/>
                      </a:lnTo>
                      <a:lnTo>
                        <a:pt x="750" y="342"/>
                      </a:lnTo>
                      <a:lnTo>
                        <a:pt x="732" y="336"/>
                      </a:lnTo>
                      <a:lnTo>
                        <a:pt x="714" y="318"/>
                      </a:lnTo>
                      <a:lnTo>
                        <a:pt x="708" y="306"/>
                      </a:lnTo>
                      <a:lnTo>
                        <a:pt x="708" y="288"/>
                      </a:lnTo>
                      <a:lnTo>
                        <a:pt x="702" y="282"/>
                      </a:lnTo>
                      <a:lnTo>
                        <a:pt x="696" y="282"/>
                      </a:lnTo>
                      <a:lnTo>
                        <a:pt x="690" y="282"/>
                      </a:lnTo>
                      <a:lnTo>
                        <a:pt x="678" y="282"/>
                      </a:lnTo>
                      <a:lnTo>
                        <a:pt x="666" y="282"/>
                      </a:lnTo>
                      <a:lnTo>
                        <a:pt x="654" y="282"/>
                      </a:lnTo>
                      <a:lnTo>
                        <a:pt x="642" y="282"/>
                      </a:lnTo>
                      <a:lnTo>
                        <a:pt x="630" y="270"/>
                      </a:lnTo>
                      <a:lnTo>
                        <a:pt x="624" y="258"/>
                      </a:lnTo>
                      <a:lnTo>
                        <a:pt x="618" y="246"/>
                      </a:lnTo>
                      <a:lnTo>
                        <a:pt x="612" y="228"/>
                      </a:lnTo>
                      <a:lnTo>
                        <a:pt x="612" y="216"/>
                      </a:lnTo>
                      <a:lnTo>
                        <a:pt x="606" y="204"/>
                      </a:lnTo>
                      <a:lnTo>
                        <a:pt x="600" y="204"/>
                      </a:lnTo>
                      <a:lnTo>
                        <a:pt x="588" y="204"/>
                      </a:lnTo>
                      <a:lnTo>
                        <a:pt x="576" y="210"/>
                      </a:lnTo>
                      <a:lnTo>
                        <a:pt x="558" y="210"/>
                      </a:lnTo>
                      <a:lnTo>
                        <a:pt x="546" y="216"/>
                      </a:lnTo>
                      <a:lnTo>
                        <a:pt x="534" y="216"/>
                      </a:lnTo>
                      <a:lnTo>
                        <a:pt x="516" y="210"/>
                      </a:lnTo>
                      <a:lnTo>
                        <a:pt x="492" y="204"/>
                      </a:lnTo>
                      <a:lnTo>
                        <a:pt x="474" y="198"/>
                      </a:lnTo>
                      <a:lnTo>
                        <a:pt x="462" y="186"/>
                      </a:lnTo>
                      <a:lnTo>
                        <a:pt x="450" y="180"/>
                      </a:lnTo>
                      <a:lnTo>
                        <a:pt x="444" y="174"/>
                      </a:lnTo>
                      <a:lnTo>
                        <a:pt x="438" y="168"/>
                      </a:lnTo>
                      <a:lnTo>
                        <a:pt x="432" y="156"/>
                      </a:lnTo>
                      <a:lnTo>
                        <a:pt x="432" y="150"/>
                      </a:lnTo>
                      <a:lnTo>
                        <a:pt x="426" y="150"/>
                      </a:lnTo>
                      <a:lnTo>
                        <a:pt x="420" y="144"/>
                      </a:lnTo>
                      <a:lnTo>
                        <a:pt x="408" y="150"/>
                      </a:lnTo>
                      <a:lnTo>
                        <a:pt x="396" y="156"/>
                      </a:lnTo>
                      <a:lnTo>
                        <a:pt x="384" y="162"/>
                      </a:lnTo>
                      <a:lnTo>
                        <a:pt x="378" y="162"/>
                      </a:lnTo>
                      <a:lnTo>
                        <a:pt x="366" y="156"/>
                      </a:lnTo>
                      <a:lnTo>
                        <a:pt x="354" y="150"/>
                      </a:lnTo>
                      <a:lnTo>
                        <a:pt x="342" y="144"/>
                      </a:lnTo>
                      <a:lnTo>
                        <a:pt x="330" y="138"/>
                      </a:lnTo>
                      <a:lnTo>
                        <a:pt x="312" y="138"/>
                      </a:lnTo>
                      <a:lnTo>
                        <a:pt x="300" y="138"/>
                      </a:lnTo>
                      <a:lnTo>
                        <a:pt x="288" y="132"/>
                      </a:lnTo>
                      <a:lnTo>
                        <a:pt x="288" y="126"/>
                      </a:lnTo>
                      <a:lnTo>
                        <a:pt x="288" y="120"/>
                      </a:lnTo>
                      <a:lnTo>
                        <a:pt x="294" y="114"/>
                      </a:lnTo>
                      <a:lnTo>
                        <a:pt x="300" y="108"/>
                      </a:lnTo>
                      <a:lnTo>
                        <a:pt x="306" y="102"/>
                      </a:lnTo>
                      <a:lnTo>
                        <a:pt x="312" y="96"/>
                      </a:lnTo>
                      <a:lnTo>
                        <a:pt x="312" y="90"/>
                      </a:lnTo>
                      <a:lnTo>
                        <a:pt x="306" y="84"/>
                      </a:lnTo>
                      <a:lnTo>
                        <a:pt x="294" y="84"/>
                      </a:lnTo>
                      <a:lnTo>
                        <a:pt x="276" y="84"/>
                      </a:lnTo>
                      <a:lnTo>
                        <a:pt x="264" y="84"/>
                      </a:lnTo>
                      <a:lnTo>
                        <a:pt x="246" y="90"/>
                      </a:lnTo>
                      <a:lnTo>
                        <a:pt x="240" y="96"/>
                      </a:lnTo>
                      <a:lnTo>
                        <a:pt x="228" y="96"/>
                      </a:lnTo>
                      <a:lnTo>
                        <a:pt x="216" y="96"/>
                      </a:lnTo>
                      <a:lnTo>
                        <a:pt x="204" y="90"/>
                      </a:lnTo>
                      <a:lnTo>
                        <a:pt x="192" y="90"/>
                      </a:lnTo>
                      <a:lnTo>
                        <a:pt x="186" y="90"/>
                      </a:lnTo>
                      <a:lnTo>
                        <a:pt x="180" y="96"/>
                      </a:lnTo>
                      <a:lnTo>
                        <a:pt x="162" y="96"/>
                      </a:lnTo>
                      <a:lnTo>
                        <a:pt x="150" y="96"/>
                      </a:lnTo>
                      <a:lnTo>
                        <a:pt x="132" y="102"/>
                      </a:lnTo>
                      <a:lnTo>
                        <a:pt x="120" y="102"/>
                      </a:lnTo>
                      <a:lnTo>
                        <a:pt x="108" y="108"/>
                      </a:lnTo>
                      <a:lnTo>
                        <a:pt x="108" y="120"/>
                      </a:lnTo>
                      <a:lnTo>
                        <a:pt x="102" y="126"/>
                      </a:lnTo>
                      <a:lnTo>
                        <a:pt x="102" y="138"/>
                      </a:lnTo>
                      <a:lnTo>
                        <a:pt x="90" y="144"/>
                      </a:lnTo>
                      <a:lnTo>
                        <a:pt x="78" y="144"/>
                      </a:lnTo>
                      <a:lnTo>
                        <a:pt x="66" y="144"/>
                      </a:lnTo>
                      <a:lnTo>
                        <a:pt x="42" y="144"/>
                      </a:lnTo>
                      <a:lnTo>
                        <a:pt x="18" y="144"/>
                      </a:lnTo>
                      <a:lnTo>
                        <a:pt x="6" y="138"/>
                      </a:lnTo>
                      <a:lnTo>
                        <a:pt x="0" y="132"/>
                      </a:lnTo>
                      <a:lnTo>
                        <a:pt x="0" y="120"/>
                      </a:lnTo>
                      <a:lnTo>
                        <a:pt x="0" y="114"/>
                      </a:lnTo>
                      <a:lnTo>
                        <a:pt x="12" y="108"/>
                      </a:lnTo>
                      <a:lnTo>
                        <a:pt x="18" y="108"/>
                      </a:lnTo>
                      <a:lnTo>
                        <a:pt x="30" y="102"/>
                      </a:lnTo>
                      <a:lnTo>
                        <a:pt x="36" y="102"/>
                      </a:lnTo>
                      <a:lnTo>
                        <a:pt x="48" y="102"/>
                      </a:lnTo>
                      <a:lnTo>
                        <a:pt x="54" y="96"/>
                      </a:lnTo>
                      <a:lnTo>
                        <a:pt x="66" y="84"/>
                      </a:lnTo>
                      <a:lnTo>
                        <a:pt x="78" y="72"/>
                      </a:lnTo>
                      <a:lnTo>
                        <a:pt x="126" y="42"/>
                      </a:lnTo>
                      <a:lnTo>
                        <a:pt x="186" y="12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1" name="Freeform 323">
                  <a:extLst>
                    <a:ext uri="{FF2B5EF4-FFF2-40B4-BE49-F238E27FC236}">
                      <a16:creationId xmlns:a16="http://schemas.microsoft.com/office/drawing/2014/main" id="{3D623510-62DD-40D2-A218-70D5931BC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419" y="1254"/>
                  <a:ext cx="264" cy="102"/>
                </a:xfrm>
                <a:custGeom>
                  <a:avLst/>
                  <a:gdLst>
                    <a:gd name="T0" fmla="*/ 162 w 264"/>
                    <a:gd name="T1" fmla="*/ 0 h 102"/>
                    <a:gd name="T2" fmla="*/ 210 w 264"/>
                    <a:gd name="T3" fmla="*/ 24 h 102"/>
                    <a:gd name="T4" fmla="*/ 258 w 264"/>
                    <a:gd name="T5" fmla="*/ 60 h 102"/>
                    <a:gd name="T6" fmla="*/ 264 w 264"/>
                    <a:gd name="T7" fmla="*/ 66 h 102"/>
                    <a:gd name="T8" fmla="*/ 264 w 264"/>
                    <a:gd name="T9" fmla="*/ 72 h 102"/>
                    <a:gd name="T10" fmla="*/ 258 w 264"/>
                    <a:gd name="T11" fmla="*/ 78 h 102"/>
                    <a:gd name="T12" fmla="*/ 246 w 264"/>
                    <a:gd name="T13" fmla="*/ 78 h 102"/>
                    <a:gd name="T14" fmla="*/ 234 w 264"/>
                    <a:gd name="T15" fmla="*/ 78 h 102"/>
                    <a:gd name="T16" fmla="*/ 222 w 264"/>
                    <a:gd name="T17" fmla="*/ 78 h 102"/>
                    <a:gd name="T18" fmla="*/ 210 w 264"/>
                    <a:gd name="T19" fmla="*/ 84 h 102"/>
                    <a:gd name="T20" fmla="*/ 198 w 264"/>
                    <a:gd name="T21" fmla="*/ 84 h 102"/>
                    <a:gd name="T22" fmla="*/ 192 w 264"/>
                    <a:gd name="T23" fmla="*/ 90 h 102"/>
                    <a:gd name="T24" fmla="*/ 186 w 264"/>
                    <a:gd name="T25" fmla="*/ 96 h 102"/>
                    <a:gd name="T26" fmla="*/ 180 w 264"/>
                    <a:gd name="T27" fmla="*/ 102 h 102"/>
                    <a:gd name="T28" fmla="*/ 168 w 264"/>
                    <a:gd name="T29" fmla="*/ 102 h 102"/>
                    <a:gd name="T30" fmla="*/ 162 w 264"/>
                    <a:gd name="T31" fmla="*/ 102 h 102"/>
                    <a:gd name="T32" fmla="*/ 150 w 264"/>
                    <a:gd name="T33" fmla="*/ 102 h 102"/>
                    <a:gd name="T34" fmla="*/ 144 w 264"/>
                    <a:gd name="T35" fmla="*/ 90 h 102"/>
                    <a:gd name="T36" fmla="*/ 120 w 264"/>
                    <a:gd name="T37" fmla="*/ 72 h 102"/>
                    <a:gd name="T38" fmla="*/ 90 w 264"/>
                    <a:gd name="T39" fmla="*/ 66 h 102"/>
                    <a:gd name="T40" fmla="*/ 54 w 264"/>
                    <a:gd name="T41" fmla="*/ 60 h 102"/>
                    <a:gd name="T42" fmla="*/ 18 w 264"/>
                    <a:gd name="T43" fmla="*/ 54 h 102"/>
                    <a:gd name="T44" fmla="*/ 6 w 264"/>
                    <a:gd name="T45" fmla="*/ 48 h 102"/>
                    <a:gd name="T46" fmla="*/ 0 w 264"/>
                    <a:gd name="T47" fmla="*/ 36 h 102"/>
                    <a:gd name="T48" fmla="*/ 6 w 264"/>
                    <a:gd name="T49" fmla="*/ 30 h 102"/>
                    <a:gd name="T50" fmla="*/ 12 w 264"/>
                    <a:gd name="T51" fmla="*/ 30 h 102"/>
                    <a:gd name="T52" fmla="*/ 24 w 264"/>
                    <a:gd name="T53" fmla="*/ 24 h 102"/>
                    <a:gd name="T54" fmla="*/ 36 w 264"/>
                    <a:gd name="T55" fmla="*/ 18 h 102"/>
                    <a:gd name="T56" fmla="*/ 48 w 264"/>
                    <a:gd name="T57" fmla="*/ 18 h 102"/>
                    <a:gd name="T58" fmla="*/ 60 w 264"/>
                    <a:gd name="T59" fmla="*/ 12 h 102"/>
                    <a:gd name="T60" fmla="*/ 108 w 264"/>
                    <a:gd name="T61" fmla="*/ 6 h 102"/>
                    <a:gd name="T62" fmla="*/ 162 w 264"/>
                    <a:gd name="T63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64" h="102">
                      <a:moveTo>
                        <a:pt x="162" y="0"/>
                      </a:moveTo>
                      <a:lnTo>
                        <a:pt x="210" y="24"/>
                      </a:lnTo>
                      <a:lnTo>
                        <a:pt x="258" y="60"/>
                      </a:lnTo>
                      <a:lnTo>
                        <a:pt x="264" y="66"/>
                      </a:lnTo>
                      <a:lnTo>
                        <a:pt x="264" y="72"/>
                      </a:lnTo>
                      <a:lnTo>
                        <a:pt x="258" y="78"/>
                      </a:lnTo>
                      <a:lnTo>
                        <a:pt x="246" y="78"/>
                      </a:lnTo>
                      <a:lnTo>
                        <a:pt x="234" y="78"/>
                      </a:lnTo>
                      <a:lnTo>
                        <a:pt x="222" y="78"/>
                      </a:lnTo>
                      <a:lnTo>
                        <a:pt x="210" y="84"/>
                      </a:lnTo>
                      <a:lnTo>
                        <a:pt x="198" y="84"/>
                      </a:lnTo>
                      <a:lnTo>
                        <a:pt x="192" y="90"/>
                      </a:lnTo>
                      <a:lnTo>
                        <a:pt x="186" y="96"/>
                      </a:lnTo>
                      <a:lnTo>
                        <a:pt x="180" y="102"/>
                      </a:lnTo>
                      <a:lnTo>
                        <a:pt x="168" y="102"/>
                      </a:lnTo>
                      <a:lnTo>
                        <a:pt x="162" y="102"/>
                      </a:lnTo>
                      <a:lnTo>
                        <a:pt x="150" y="102"/>
                      </a:lnTo>
                      <a:lnTo>
                        <a:pt x="144" y="90"/>
                      </a:lnTo>
                      <a:lnTo>
                        <a:pt x="120" y="72"/>
                      </a:lnTo>
                      <a:lnTo>
                        <a:pt x="90" y="66"/>
                      </a:lnTo>
                      <a:lnTo>
                        <a:pt x="54" y="60"/>
                      </a:lnTo>
                      <a:lnTo>
                        <a:pt x="18" y="54"/>
                      </a:lnTo>
                      <a:lnTo>
                        <a:pt x="6" y="48"/>
                      </a:lnTo>
                      <a:lnTo>
                        <a:pt x="0" y="36"/>
                      </a:lnTo>
                      <a:lnTo>
                        <a:pt x="6" y="30"/>
                      </a:lnTo>
                      <a:lnTo>
                        <a:pt x="12" y="30"/>
                      </a:lnTo>
                      <a:lnTo>
                        <a:pt x="24" y="24"/>
                      </a:lnTo>
                      <a:lnTo>
                        <a:pt x="36" y="18"/>
                      </a:lnTo>
                      <a:lnTo>
                        <a:pt x="48" y="18"/>
                      </a:lnTo>
                      <a:lnTo>
                        <a:pt x="60" y="12"/>
                      </a:lnTo>
                      <a:lnTo>
                        <a:pt x="108" y="6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2" name="Freeform 331">
                  <a:extLst>
                    <a:ext uri="{FF2B5EF4-FFF2-40B4-BE49-F238E27FC236}">
                      <a16:creationId xmlns:a16="http://schemas.microsoft.com/office/drawing/2014/main" id="{41B29D2B-47C2-4A61-88D4-07E60D7C46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213" y="522"/>
                  <a:ext cx="144" cy="192"/>
                </a:xfrm>
                <a:custGeom>
                  <a:avLst/>
                  <a:gdLst>
                    <a:gd name="T0" fmla="*/ 30 w 144"/>
                    <a:gd name="T1" fmla="*/ 0 h 192"/>
                    <a:gd name="T2" fmla="*/ 48 w 144"/>
                    <a:gd name="T3" fmla="*/ 6 h 192"/>
                    <a:gd name="T4" fmla="*/ 66 w 144"/>
                    <a:gd name="T5" fmla="*/ 18 h 192"/>
                    <a:gd name="T6" fmla="*/ 96 w 144"/>
                    <a:gd name="T7" fmla="*/ 36 h 192"/>
                    <a:gd name="T8" fmla="*/ 120 w 144"/>
                    <a:gd name="T9" fmla="*/ 60 h 192"/>
                    <a:gd name="T10" fmla="*/ 138 w 144"/>
                    <a:gd name="T11" fmla="*/ 72 h 192"/>
                    <a:gd name="T12" fmla="*/ 144 w 144"/>
                    <a:gd name="T13" fmla="*/ 90 h 192"/>
                    <a:gd name="T14" fmla="*/ 144 w 144"/>
                    <a:gd name="T15" fmla="*/ 102 h 192"/>
                    <a:gd name="T16" fmla="*/ 144 w 144"/>
                    <a:gd name="T17" fmla="*/ 114 h 192"/>
                    <a:gd name="T18" fmla="*/ 138 w 144"/>
                    <a:gd name="T19" fmla="*/ 126 h 192"/>
                    <a:gd name="T20" fmla="*/ 126 w 144"/>
                    <a:gd name="T21" fmla="*/ 132 h 192"/>
                    <a:gd name="T22" fmla="*/ 120 w 144"/>
                    <a:gd name="T23" fmla="*/ 144 h 192"/>
                    <a:gd name="T24" fmla="*/ 108 w 144"/>
                    <a:gd name="T25" fmla="*/ 156 h 192"/>
                    <a:gd name="T26" fmla="*/ 96 w 144"/>
                    <a:gd name="T27" fmla="*/ 174 h 192"/>
                    <a:gd name="T28" fmla="*/ 78 w 144"/>
                    <a:gd name="T29" fmla="*/ 192 h 192"/>
                    <a:gd name="T30" fmla="*/ 54 w 144"/>
                    <a:gd name="T31" fmla="*/ 192 h 192"/>
                    <a:gd name="T32" fmla="*/ 24 w 144"/>
                    <a:gd name="T33" fmla="*/ 180 h 192"/>
                    <a:gd name="T34" fmla="*/ 0 w 144"/>
                    <a:gd name="T35" fmla="*/ 150 h 192"/>
                    <a:gd name="T36" fmla="*/ 0 w 144"/>
                    <a:gd name="T37" fmla="*/ 126 h 192"/>
                    <a:gd name="T38" fmla="*/ 12 w 144"/>
                    <a:gd name="T39" fmla="*/ 102 h 192"/>
                    <a:gd name="T40" fmla="*/ 24 w 144"/>
                    <a:gd name="T41" fmla="*/ 84 h 192"/>
                    <a:gd name="T42" fmla="*/ 24 w 144"/>
                    <a:gd name="T43" fmla="*/ 60 h 192"/>
                    <a:gd name="T44" fmla="*/ 18 w 144"/>
                    <a:gd name="T45" fmla="*/ 18 h 192"/>
                    <a:gd name="T46" fmla="*/ 30 w 144"/>
                    <a:gd name="T47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44" h="192">
                      <a:moveTo>
                        <a:pt x="30" y="0"/>
                      </a:moveTo>
                      <a:lnTo>
                        <a:pt x="48" y="6"/>
                      </a:lnTo>
                      <a:lnTo>
                        <a:pt x="66" y="18"/>
                      </a:lnTo>
                      <a:lnTo>
                        <a:pt x="96" y="36"/>
                      </a:lnTo>
                      <a:lnTo>
                        <a:pt x="120" y="60"/>
                      </a:lnTo>
                      <a:lnTo>
                        <a:pt x="138" y="72"/>
                      </a:lnTo>
                      <a:lnTo>
                        <a:pt x="144" y="90"/>
                      </a:lnTo>
                      <a:lnTo>
                        <a:pt x="144" y="102"/>
                      </a:lnTo>
                      <a:lnTo>
                        <a:pt x="144" y="114"/>
                      </a:lnTo>
                      <a:lnTo>
                        <a:pt x="138" y="126"/>
                      </a:lnTo>
                      <a:lnTo>
                        <a:pt x="126" y="132"/>
                      </a:lnTo>
                      <a:lnTo>
                        <a:pt x="120" y="144"/>
                      </a:lnTo>
                      <a:lnTo>
                        <a:pt x="108" y="156"/>
                      </a:lnTo>
                      <a:lnTo>
                        <a:pt x="96" y="174"/>
                      </a:lnTo>
                      <a:lnTo>
                        <a:pt x="78" y="192"/>
                      </a:lnTo>
                      <a:lnTo>
                        <a:pt x="54" y="192"/>
                      </a:lnTo>
                      <a:lnTo>
                        <a:pt x="24" y="180"/>
                      </a:lnTo>
                      <a:lnTo>
                        <a:pt x="0" y="150"/>
                      </a:lnTo>
                      <a:lnTo>
                        <a:pt x="0" y="126"/>
                      </a:lnTo>
                      <a:lnTo>
                        <a:pt x="12" y="102"/>
                      </a:lnTo>
                      <a:lnTo>
                        <a:pt x="24" y="84"/>
                      </a:lnTo>
                      <a:lnTo>
                        <a:pt x="24" y="60"/>
                      </a:lnTo>
                      <a:lnTo>
                        <a:pt x="18" y="18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3" name="Freeform 333">
                  <a:extLst>
                    <a:ext uri="{FF2B5EF4-FFF2-40B4-BE49-F238E27FC236}">
                      <a16:creationId xmlns:a16="http://schemas.microsoft.com/office/drawing/2014/main" id="{DDB63C66-0A1D-405A-B4C2-E145FD6263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303" y="318"/>
                  <a:ext cx="54" cy="42"/>
                </a:xfrm>
                <a:custGeom>
                  <a:avLst/>
                  <a:gdLst>
                    <a:gd name="T0" fmla="*/ 30 w 54"/>
                    <a:gd name="T1" fmla="*/ 0 h 42"/>
                    <a:gd name="T2" fmla="*/ 42 w 54"/>
                    <a:gd name="T3" fmla="*/ 6 h 42"/>
                    <a:gd name="T4" fmla="*/ 48 w 54"/>
                    <a:gd name="T5" fmla="*/ 12 h 42"/>
                    <a:gd name="T6" fmla="*/ 54 w 54"/>
                    <a:gd name="T7" fmla="*/ 24 h 42"/>
                    <a:gd name="T8" fmla="*/ 54 w 54"/>
                    <a:gd name="T9" fmla="*/ 30 h 42"/>
                    <a:gd name="T10" fmla="*/ 48 w 54"/>
                    <a:gd name="T11" fmla="*/ 36 h 42"/>
                    <a:gd name="T12" fmla="*/ 42 w 54"/>
                    <a:gd name="T13" fmla="*/ 42 h 42"/>
                    <a:gd name="T14" fmla="*/ 30 w 54"/>
                    <a:gd name="T15" fmla="*/ 42 h 42"/>
                    <a:gd name="T16" fmla="*/ 24 w 54"/>
                    <a:gd name="T17" fmla="*/ 36 h 42"/>
                    <a:gd name="T18" fmla="*/ 12 w 54"/>
                    <a:gd name="T19" fmla="*/ 30 h 42"/>
                    <a:gd name="T20" fmla="*/ 6 w 54"/>
                    <a:gd name="T21" fmla="*/ 24 h 42"/>
                    <a:gd name="T22" fmla="*/ 0 w 54"/>
                    <a:gd name="T23" fmla="*/ 12 h 42"/>
                    <a:gd name="T24" fmla="*/ 6 w 54"/>
                    <a:gd name="T25" fmla="*/ 6 h 42"/>
                    <a:gd name="T26" fmla="*/ 18 w 54"/>
                    <a:gd name="T27" fmla="*/ 0 h 42"/>
                    <a:gd name="T28" fmla="*/ 30 w 54"/>
                    <a:gd name="T29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4" h="42">
                      <a:moveTo>
                        <a:pt x="30" y="0"/>
                      </a:moveTo>
                      <a:lnTo>
                        <a:pt x="42" y="6"/>
                      </a:lnTo>
                      <a:lnTo>
                        <a:pt x="48" y="12"/>
                      </a:lnTo>
                      <a:lnTo>
                        <a:pt x="54" y="24"/>
                      </a:lnTo>
                      <a:lnTo>
                        <a:pt x="54" y="30"/>
                      </a:lnTo>
                      <a:lnTo>
                        <a:pt x="48" y="36"/>
                      </a:lnTo>
                      <a:lnTo>
                        <a:pt x="42" y="42"/>
                      </a:lnTo>
                      <a:lnTo>
                        <a:pt x="30" y="42"/>
                      </a:lnTo>
                      <a:lnTo>
                        <a:pt x="24" y="36"/>
                      </a:lnTo>
                      <a:lnTo>
                        <a:pt x="12" y="30"/>
                      </a:lnTo>
                      <a:lnTo>
                        <a:pt x="6" y="24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8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4" name="Freeform 334">
                  <a:extLst>
                    <a:ext uri="{FF2B5EF4-FFF2-40B4-BE49-F238E27FC236}">
                      <a16:creationId xmlns:a16="http://schemas.microsoft.com/office/drawing/2014/main" id="{886FEFE5-EBE0-485F-9D5B-0CD2E88F98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435" y="264"/>
                  <a:ext cx="66" cy="60"/>
                </a:xfrm>
                <a:custGeom>
                  <a:avLst/>
                  <a:gdLst>
                    <a:gd name="T0" fmla="*/ 36 w 66"/>
                    <a:gd name="T1" fmla="*/ 0 h 60"/>
                    <a:gd name="T2" fmla="*/ 42 w 66"/>
                    <a:gd name="T3" fmla="*/ 0 h 60"/>
                    <a:gd name="T4" fmla="*/ 54 w 66"/>
                    <a:gd name="T5" fmla="*/ 6 h 60"/>
                    <a:gd name="T6" fmla="*/ 60 w 66"/>
                    <a:gd name="T7" fmla="*/ 18 h 60"/>
                    <a:gd name="T8" fmla="*/ 66 w 66"/>
                    <a:gd name="T9" fmla="*/ 36 h 60"/>
                    <a:gd name="T10" fmla="*/ 66 w 66"/>
                    <a:gd name="T11" fmla="*/ 48 h 60"/>
                    <a:gd name="T12" fmla="*/ 54 w 66"/>
                    <a:gd name="T13" fmla="*/ 54 h 60"/>
                    <a:gd name="T14" fmla="*/ 48 w 66"/>
                    <a:gd name="T15" fmla="*/ 60 h 60"/>
                    <a:gd name="T16" fmla="*/ 30 w 66"/>
                    <a:gd name="T17" fmla="*/ 60 h 60"/>
                    <a:gd name="T18" fmla="*/ 18 w 66"/>
                    <a:gd name="T19" fmla="*/ 60 h 60"/>
                    <a:gd name="T20" fmla="*/ 6 w 66"/>
                    <a:gd name="T21" fmla="*/ 54 h 60"/>
                    <a:gd name="T22" fmla="*/ 0 w 66"/>
                    <a:gd name="T23" fmla="*/ 48 h 60"/>
                    <a:gd name="T24" fmla="*/ 0 w 66"/>
                    <a:gd name="T25" fmla="*/ 36 h 60"/>
                    <a:gd name="T26" fmla="*/ 0 w 66"/>
                    <a:gd name="T27" fmla="*/ 24 h 60"/>
                    <a:gd name="T28" fmla="*/ 6 w 66"/>
                    <a:gd name="T29" fmla="*/ 18 h 60"/>
                    <a:gd name="T30" fmla="*/ 18 w 66"/>
                    <a:gd name="T31" fmla="*/ 6 h 60"/>
                    <a:gd name="T32" fmla="*/ 24 w 66"/>
                    <a:gd name="T33" fmla="*/ 0 h 60"/>
                    <a:gd name="T34" fmla="*/ 36 w 66"/>
                    <a:gd name="T35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6" h="60">
                      <a:moveTo>
                        <a:pt x="36" y="0"/>
                      </a:moveTo>
                      <a:lnTo>
                        <a:pt x="42" y="0"/>
                      </a:lnTo>
                      <a:lnTo>
                        <a:pt x="54" y="6"/>
                      </a:lnTo>
                      <a:lnTo>
                        <a:pt x="60" y="18"/>
                      </a:lnTo>
                      <a:lnTo>
                        <a:pt x="66" y="36"/>
                      </a:lnTo>
                      <a:lnTo>
                        <a:pt x="66" y="48"/>
                      </a:lnTo>
                      <a:lnTo>
                        <a:pt x="54" y="54"/>
                      </a:lnTo>
                      <a:lnTo>
                        <a:pt x="48" y="60"/>
                      </a:lnTo>
                      <a:lnTo>
                        <a:pt x="30" y="60"/>
                      </a:lnTo>
                      <a:lnTo>
                        <a:pt x="18" y="60"/>
                      </a:lnTo>
                      <a:lnTo>
                        <a:pt x="6" y="54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6" y="18"/>
                      </a:lnTo>
                      <a:lnTo>
                        <a:pt x="18" y="6"/>
                      </a:lnTo>
                      <a:lnTo>
                        <a:pt x="24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5" name="Freeform 336">
                  <a:extLst>
                    <a:ext uri="{FF2B5EF4-FFF2-40B4-BE49-F238E27FC236}">
                      <a16:creationId xmlns:a16="http://schemas.microsoft.com/office/drawing/2014/main" id="{CCA005FA-432C-4F89-BB13-E426DFDD35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967" y="-8364"/>
                  <a:ext cx="960" cy="744"/>
                </a:xfrm>
                <a:custGeom>
                  <a:avLst/>
                  <a:gdLst>
                    <a:gd name="T0" fmla="*/ 408 w 960"/>
                    <a:gd name="T1" fmla="*/ 18 h 744"/>
                    <a:gd name="T2" fmla="*/ 492 w 960"/>
                    <a:gd name="T3" fmla="*/ 48 h 744"/>
                    <a:gd name="T4" fmla="*/ 588 w 960"/>
                    <a:gd name="T5" fmla="*/ 84 h 744"/>
                    <a:gd name="T6" fmla="*/ 660 w 960"/>
                    <a:gd name="T7" fmla="*/ 204 h 744"/>
                    <a:gd name="T8" fmla="*/ 678 w 960"/>
                    <a:gd name="T9" fmla="*/ 228 h 744"/>
                    <a:gd name="T10" fmla="*/ 696 w 960"/>
                    <a:gd name="T11" fmla="*/ 204 h 744"/>
                    <a:gd name="T12" fmla="*/ 714 w 960"/>
                    <a:gd name="T13" fmla="*/ 174 h 744"/>
                    <a:gd name="T14" fmla="*/ 732 w 960"/>
                    <a:gd name="T15" fmla="*/ 204 h 744"/>
                    <a:gd name="T16" fmla="*/ 750 w 960"/>
                    <a:gd name="T17" fmla="*/ 228 h 744"/>
                    <a:gd name="T18" fmla="*/ 774 w 960"/>
                    <a:gd name="T19" fmla="*/ 216 h 744"/>
                    <a:gd name="T20" fmla="*/ 786 w 960"/>
                    <a:gd name="T21" fmla="*/ 186 h 744"/>
                    <a:gd name="T22" fmla="*/ 816 w 960"/>
                    <a:gd name="T23" fmla="*/ 168 h 744"/>
                    <a:gd name="T24" fmla="*/ 864 w 960"/>
                    <a:gd name="T25" fmla="*/ 198 h 744"/>
                    <a:gd name="T26" fmla="*/ 906 w 960"/>
                    <a:gd name="T27" fmla="*/ 288 h 744"/>
                    <a:gd name="T28" fmla="*/ 948 w 960"/>
                    <a:gd name="T29" fmla="*/ 366 h 744"/>
                    <a:gd name="T30" fmla="*/ 960 w 960"/>
                    <a:gd name="T31" fmla="*/ 390 h 744"/>
                    <a:gd name="T32" fmla="*/ 900 w 960"/>
                    <a:gd name="T33" fmla="*/ 426 h 744"/>
                    <a:gd name="T34" fmla="*/ 792 w 960"/>
                    <a:gd name="T35" fmla="*/ 462 h 744"/>
                    <a:gd name="T36" fmla="*/ 738 w 960"/>
                    <a:gd name="T37" fmla="*/ 498 h 744"/>
                    <a:gd name="T38" fmla="*/ 690 w 960"/>
                    <a:gd name="T39" fmla="*/ 504 h 744"/>
                    <a:gd name="T40" fmla="*/ 588 w 960"/>
                    <a:gd name="T41" fmla="*/ 528 h 744"/>
                    <a:gd name="T42" fmla="*/ 474 w 960"/>
                    <a:gd name="T43" fmla="*/ 600 h 744"/>
                    <a:gd name="T44" fmla="*/ 366 w 960"/>
                    <a:gd name="T45" fmla="*/ 630 h 744"/>
                    <a:gd name="T46" fmla="*/ 336 w 960"/>
                    <a:gd name="T47" fmla="*/ 660 h 744"/>
                    <a:gd name="T48" fmla="*/ 318 w 960"/>
                    <a:gd name="T49" fmla="*/ 696 h 744"/>
                    <a:gd name="T50" fmla="*/ 288 w 960"/>
                    <a:gd name="T51" fmla="*/ 708 h 744"/>
                    <a:gd name="T52" fmla="*/ 252 w 960"/>
                    <a:gd name="T53" fmla="*/ 672 h 744"/>
                    <a:gd name="T54" fmla="*/ 228 w 960"/>
                    <a:gd name="T55" fmla="*/ 666 h 744"/>
                    <a:gd name="T56" fmla="*/ 216 w 960"/>
                    <a:gd name="T57" fmla="*/ 690 h 744"/>
                    <a:gd name="T58" fmla="*/ 162 w 960"/>
                    <a:gd name="T59" fmla="*/ 732 h 744"/>
                    <a:gd name="T60" fmla="*/ 48 w 960"/>
                    <a:gd name="T61" fmla="*/ 732 h 744"/>
                    <a:gd name="T62" fmla="*/ 60 w 960"/>
                    <a:gd name="T63" fmla="*/ 666 h 744"/>
                    <a:gd name="T64" fmla="*/ 54 w 960"/>
                    <a:gd name="T65" fmla="*/ 534 h 744"/>
                    <a:gd name="T66" fmla="*/ 0 w 960"/>
                    <a:gd name="T67" fmla="*/ 480 h 744"/>
                    <a:gd name="T68" fmla="*/ 18 w 960"/>
                    <a:gd name="T69" fmla="*/ 456 h 744"/>
                    <a:gd name="T70" fmla="*/ 72 w 960"/>
                    <a:gd name="T71" fmla="*/ 444 h 744"/>
                    <a:gd name="T72" fmla="*/ 96 w 960"/>
                    <a:gd name="T73" fmla="*/ 432 h 744"/>
                    <a:gd name="T74" fmla="*/ 96 w 960"/>
                    <a:gd name="T75" fmla="*/ 402 h 744"/>
                    <a:gd name="T76" fmla="*/ 120 w 960"/>
                    <a:gd name="T77" fmla="*/ 378 h 744"/>
                    <a:gd name="T78" fmla="*/ 168 w 960"/>
                    <a:gd name="T79" fmla="*/ 372 h 744"/>
                    <a:gd name="T80" fmla="*/ 174 w 960"/>
                    <a:gd name="T81" fmla="*/ 342 h 744"/>
                    <a:gd name="T82" fmla="*/ 150 w 960"/>
                    <a:gd name="T83" fmla="*/ 318 h 744"/>
                    <a:gd name="T84" fmla="*/ 162 w 960"/>
                    <a:gd name="T85" fmla="*/ 288 h 744"/>
                    <a:gd name="T86" fmla="*/ 204 w 960"/>
                    <a:gd name="T87" fmla="*/ 270 h 744"/>
                    <a:gd name="T88" fmla="*/ 234 w 960"/>
                    <a:gd name="T89" fmla="*/ 246 h 744"/>
                    <a:gd name="T90" fmla="*/ 264 w 960"/>
                    <a:gd name="T91" fmla="*/ 228 h 744"/>
                    <a:gd name="T92" fmla="*/ 306 w 960"/>
                    <a:gd name="T93" fmla="*/ 246 h 744"/>
                    <a:gd name="T94" fmla="*/ 348 w 960"/>
                    <a:gd name="T95" fmla="*/ 258 h 744"/>
                    <a:gd name="T96" fmla="*/ 348 w 960"/>
                    <a:gd name="T97" fmla="*/ 234 h 744"/>
                    <a:gd name="T98" fmla="*/ 336 w 960"/>
                    <a:gd name="T99" fmla="*/ 204 h 744"/>
                    <a:gd name="T100" fmla="*/ 324 w 960"/>
                    <a:gd name="T101" fmla="*/ 162 h 744"/>
                    <a:gd name="T102" fmla="*/ 348 w 960"/>
                    <a:gd name="T103" fmla="*/ 120 h 744"/>
                    <a:gd name="T104" fmla="*/ 348 w 960"/>
                    <a:gd name="T105" fmla="*/ 102 h 744"/>
                    <a:gd name="T106" fmla="*/ 312 w 960"/>
                    <a:gd name="T107" fmla="*/ 66 h 744"/>
                    <a:gd name="T108" fmla="*/ 306 w 960"/>
                    <a:gd name="T109" fmla="*/ 30 h 744"/>
                    <a:gd name="T110" fmla="*/ 342 w 960"/>
                    <a:gd name="T111" fmla="*/ 6 h 7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960" h="744">
                      <a:moveTo>
                        <a:pt x="378" y="0"/>
                      </a:moveTo>
                      <a:lnTo>
                        <a:pt x="390" y="6"/>
                      </a:lnTo>
                      <a:lnTo>
                        <a:pt x="408" y="18"/>
                      </a:lnTo>
                      <a:lnTo>
                        <a:pt x="426" y="30"/>
                      </a:lnTo>
                      <a:lnTo>
                        <a:pt x="450" y="42"/>
                      </a:lnTo>
                      <a:lnTo>
                        <a:pt x="492" y="48"/>
                      </a:lnTo>
                      <a:lnTo>
                        <a:pt x="534" y="48"/>
                      </a:lnTo>
                      <a:lnTo>
                        <a:pt x="564" y="66"/>
                      </a:lnTo>
                      <a:lnTo>
                        <a:pt x="588" y="84"/>
                      </a:lnTo>
                      <a:lnTo>
                        <a:pt x="606" y="102"/>
                      </a:lnTo>
                      <a:lnTo>
                        <a:pt x="636" y="144"/>
                      </a:lnTo>
                      <a:lnTo>
                        <a:pt x="660" y="204"/>
                      </a:lnTo>
                      <a:lnTo>
                        <a:pt x="666" y="222"/>
                      </a:lnTo>
                      <a:lnTo>
                        <a:pt x="672" y="228"/>
                      </a:lnTo>
                      <a:lnTo>
                        <a:pt x="678" y="228"/>
                      </a:lnTo>
                      <a:lnTo>
                        <a:pt x="684" y="222"/>
                      </a:lnTo>
                      <a:lnTo>
                        <a:pt x="690" y="216"/>
                      </a:lnTo>
                      <a:lnTo>
                        <a:pt x="696" y="204"/>
                      </a:lnTo>
                      <a:lnTo>
                        <a:pt x="702" y="192"/>
                      </a:lnTo>
                      <a:lnTo>
                        <a:pt x="708" y="180"/>
                      </a:lnTo>
                      <a:lnTo>
                        <a:pt x="714" y="174"/>
                      </a:lnTo>
                      <a:lnTo>
                        <a:pt x="720" y="180"/>
                      </a:lnTo>
                      <a:lnTo>
                        <a:pt x="726" y="186"/>
                      </a:lnTo>
                      <a:lnTo>
                        <a:pt x="732" y="204"/>
                      </a:lnTo>
                      <a:lnTo>
                        <a:pt x="732" y="216"/>
                      </a:lnTo>
                      <a:lnTo>
                        <a:pt x="738" y="222"/>
                      </a:lnTo>
                      <a:lnTo>
                        <a:pt x="750" y="228"/>
                      </a:lnTo>
                      <a:lnTo>
                        <a:pt x="756" y="228"/>
                      </a:lnTo>
                      <a:lnTo>
                        <a:pt x="768" y="222"/>
                      </a:lnTo>
                      <a:lnTo>
                        <a:pt x="774" y="216"/>
                      </a:lnTo>
                      <a:lnTo>
                        <a:pt x="774" y="204"/>
                      </a:lnTo>
                      <a:lnTo>
                        <a:pt x="780" y="192"/>
                      </a:lnTo>
                      <a:lnTo>
                        <a:pt x="786" y="186"/>
                      </a:lnTo>
                      <a:lnTo>
                        <a:pt x="792" y="174"/>
                      </a:lnTo>
                      <a:lnTo>
                        <a:pt x="804" y="168"/>
                      </a:lnTo>
                      <a:lnTo>
                        <a:pt x="816" y="168"/>
                      </a:lnTo>
                      <a:lnTo>
                        <a:pt x="834" y="174"/>
                      </a:lnTo>
                      <a:lnTo>
                        <a:pt x="852" y="186"/>
                      </a:lnTo>
                      <a:lnTo>
                        <a:pt x="864" y="198"/>
                      </a:lnTo>
                      <a:lnTo>
                        <a:pt x="876" y="222"/>
                      </a:lnTo>
                      <a:lnTo>
                        <a:pt x="894" y="246"/>
                      </a:lnTo>
                      <a:lnTo>
                        <a:pt x="906" y="288"/>
                      </a:lnTo>
                      <a:lnTo>
                        <a:pt x="918" y="324"/>
                      </a:lnTo>
                      <a:lnTo>
                        <a:pt x="936" y="354"/>
                      </a:lnTo>
                      <a:lnTo>
                        <a:pt x="948" y="366"/>
                      </a:lnTo>
                      <a:lnTo>
                        <a:pt x="954" y="372"/>
                      </a:lnTo>
                      <a:lnTo>
                        <a:pt x="960" y="384"/>
                      </a:lnTo>
                      <a:lnTo>
                        <a:pt x="960" y="390"/>
                      </a:lnTo>
                      <a:lnTo>
                        <a:pt x="960" y="402"/>
                      </a:lnTo>
                      <a:lnTo>
                        <a:pt x="948" y="408"/>
                      </a:lnTo>
                      <a:lnTo>
                        <a:pt x="900" y="426"/>
                      </a:lnTo>
                      <a:lnTo>
                        <a:pt x="846" y="438"/>
                      </a:lnTo>
                      <a:lnTo>
                        <a:pt x="816" y="450"/>
                      </a:lnTo>
                      <a:lnTo>
                        <a:pt x="792" y="462"/>
                      </a:lnTo>
                      <a:lnTo>
                        <a:pt x="774" y="474"/>
                      </a:lnTo>
                      <a:lnTo>
                        <a:pt x="756" y="486"/>
                      </a:lnTo>
                      <a:lnTo>
                        <a:pt x="738" y="498"/>
                      </a:lnTo>
                      <a:lnTo>
                        <a:pt x="726" y="504"/>
                      </a:lnTo>
                      <a:lnTo>
                        <a:pt x="708" y="504"/>
                      </a:lnTo>
                      <a:lnTo>
                        <a:pt x="690" y="504"/>
                      </a:lnTo>
                      <a:lnTo>
                        <a:pt x="666" y="498"/>
                      </a:lnTo>
                      <a:lnTo>
                        <a:pt x="630" y="504"/>
                      </a:lnTo>
                      <a:lnTo>
                        <a:pt x="588" y="528"/>
                      </a:lnTo>
                      <a:lnTo>
                        <a:pt x="558" y="558"/>
                      </a:lnTo>
                      <a:lnTo>
                        <a:pt x="516" y="582"/>
                      </a:lnTo>
                      <a:lnTo>
                        <a:pt x="474" y="600"/>
                      </a:lnTo>
                      <a:lnTo>
                        <a:pt x="408" y="612"/>
                      </a:lnTo>
                      <a:lnTo>
                        <a:pt x="384" y="618"/>
                      </a:lnTo>
                      <a:lnTo>
                        <a:pt x="366" y="630"/>
                      </a:lnTo>
                      <a:lnTo>
                        <a:pt x="354" y="636"/>
                      </a:lnTo>
                      <a:lnTo>
                        <a:pt x="342" y="648"/>
                      </a:lnTo>
                      <a:lnTo>
                        <a:pt x="336" y="660"/>
                      </a:lnTo>
                      <a:lnTo>
                        <a:pt x="330" y="672"/>
                      </a:lnTo>
                      <a:lnTo>
                        <a:pt x="324" y="684"/>
                      </a:lnTo>
                      <a:lnTo>
                        <a:pt x="318" y="696"/>
                      </a:lnTo>
                      <a:lnTo>
                        <a:pt x="306" y="708"/>
                      </a:lnTo>
                      <a:lnTo>
                        <a:pt x="294" y="708"/>
                      </a:lnTo>
                      <a:lnTo>
                        <a:pt x="288" y="708"/>
                      </a:lnTo>
                      <a:lnTo>
                        <a:pt x="276" y="702"/>
                      </a:lnTo>
                      <a:lnTo>
                        <a:pt x="264" y="690"/>
                      </a:lnTo>
                      <a:lnTo>
                        <a:pt x="252" y="672"/>
                      </a:lnTo>
                      <a:lnTo>
                        <a:pt x="246" y="666"/>
                      </a:lnTo>
                      <a:lnTo>
                        <a:pt x="234" y="660"/>
                      </a:lnTo>
                      <a:lnTo>
                        <a:pt x="228" y="666"/>
                      </a:lnTo>
                      <a:lnTo>
                        <a:pt x="222" y="672"/>
                      </a:lnTo>
                      <a:lnTo>
                        <a:pt x="216" y="678"/>
                      </a:lnTo>
                      <a:lnTo>
                        <a:pt x="216" y="690"/>
                      </a:lnTo>
                      <a:lnTo>
                        <a:pt x="216" y="696"/>
                      </a:lnTo>
                      <a:lnTo>
                        <a:pt x="198" y="720"/>
                      </a:lnTo>
                      <a:lnTo>
                        <a:pt x="162" y="732"/>
                      </a:lnTo>
                      <a:lnTo>
                        <a:pt x="90" y="744"/>
                      </a:lnTo>
                      <a:lnTo>
                        <a:pt x="60" y="744"/>
                      </a:lnTo>
                      <a:lnTo>
                        <a:pt x="48" y="732"/>
                      </a:lnTo>
                      <a:lnTo>
                        <a:pt x="48" y="714"/>
                      </a:lnTo>
                      <a:lnTo>
                        <a:pt x="54" y="690"/>
                      </a:lnTo>
                      <a:lnTo>
                        <a:pt x="60" y="666"/>
                      </a:lnTo>
                      <a:lnTo>
                        <a:pt x="72" y="636"/>
                      </a:lnTo>
                      <a:lnTo>
                        <a:pt x="72" y="582"/>
                      </a:lnTo>
                      <a:lnTo>
                        <a:pt x="54" y="534"/>
                      </a:lnTo>
                      <a:lnTo>
                        <a:pt x="18" y="498"/>
                      </a:lnTo>
                      <a:lnTo>
                        <a:pt x="6" y="486"/>
                      </a:lnTo>
                      <a:lnTo>
                        <a:pt x="0" y="480"/>
                      </a:lnTo>
                      <a:lnTo>
                        <a:pt x="0" y="468"/>
                      </a:lnTo>
                      <a:lnTo>
                        <a:pt x="6" y="462"/>
                      </a:lnTo>
                      <a:lnTo>
                        <a:pt x="18" y="456"/>
                      </a:lnTo>
                      <a:lnTo>
                        <a:pt x="36" y="450"/>
                      </a:lnTo>
                      <a:lnTo>
                        <a:pt x="54" y="450"/>
                      </a:lnTo>
                      <a:lnTo>
                        <a:pt x="72" y="444"/>
                      </a:lnTo>
                      <a:lnTo>
                        <a:pt x="84" y="444"/>
                      </a:lnTo>
                      <a:lnTo>
                        <a:pt x="96" y="438"/>
                      </a:lnTo>
                      <a:lnTo>
                        <a:pt x="96" y="432"/>
                      </a:lnTo>
                      <a:lnTo>
                        <a:pt x="96" y="426"/>
                      </a:lnTo>
                      <a:lnTo>
                        <a:pt x="96" y="414"/>
                      </a:lnTo>
                      <a:lnTo>
                        <a:pt x="96" y="402"/>
                      </a:lnTo>
                      <a:lnTo>
                        <a:pt x="102" y="390"/>
                      </a:lnTo>
                      <a:lnTo>
                        <a:pt x="108" y="384"/>
                      </a:lnTo>
                      <a:lnTo>
                        <a:pt x="120" y="378"/>
                      </a:lnTo>
                      <a:lnTo>
                        <a:pt x="138" y="372"/>
                      </a:lnTo>
                      <a:lnTo>
                        <a:pt x="156" y="372"/>
                      </a:lnTo>
                      <a:lnTo>
                        <a:pt x="168" y="372"/>
                      </a:lnTo>
                      <a:lnTo>
                        <a:pt x="174" y="366"/>
                      </a:lnTo>
                      <a:lnTo>
                        <a:pt x="174" y="354"/>
                      </a:lnTo>
                      <a:lnTo>
                        <a:pt x="174" y="342"/>
                      </a:lnTo>
                      <a:lnTo>
                        <a:pt x="168" y="336"/>
                      </a:lnTo>
                      <a:lnTo>
                        <a:pt x="156" y="324"/>
                      </a:lnTo>
                      <a:lnTo>
                        <a:pt x="150" y="318"/>
                      </a:lnTo>
                      <a:lnTo>
                        <a:pt x="150" y="312"/>
                      </a:lnTo>
                      <a:lnTo>
                        <a:pt x="150" y="300"/>
                      </a:lnTo>
                      <a:lnTo>
                        <a:pt x="162" y="288"/>
                      </a:lnTo>
                      <a:lnTo>
                        <a:pt x="174" y="282"/>
                      </a:lnTo>
                      <a:lnTo>
                        <a:pt x="186" y="276"/>
                      </a:lnTo>
                      <a:lnTo>
                        <a:pt x="204" y="270"/>
                      </a:lnTo>
                      <a:lnTo>
                        <a:pt x="210" y="264"/>
                      </a:lnTo>
                      <a:lnTo>
                        <a:pt x="222" y="258"/>
                      </a:lnTo>
                      <a:lnTo>
                        <a:pt x="234" y="246"/>
                      </a:lnTo>
                      <a:lnTo>
                        <a:pt x="246" y="234"/>
                      </a:lnTo>
                      <a:lnTo>
                        <a:pt x="258" y="228"/>
                      </a:lnTo>
                      <a:lnTo>
                        <a:pt x="264" y="228"/>
                      </a:lnTo>
                      <a:lnTo>
                        <a:pt x="276" y="228"/>
                      </a:lnTo>
                      <a:lnTo>
                        <a:pt x="288" y="234"/>
                      </a:lnTo>
                      <a:lnTo>
                        <a:pt x="306" y="246"/>
                      </a:lnTo>
                      <a:lnTo>
                        <a:pt x="324" y="252"/>
                      </a:lnTo>
                      <a:lnTo>
                        <a:pt x="342" y="258"/>
                      </a:lnTo>
                      <a:lnTo>
                        <a:pt x="348" y="258"/>
                      </a:lnTo>
                      <a:lnTo>
                        <a:pt x="354" y="252"/>
                      </a:lnTo>
                      <a:lnTo>
                        <a:pt x="354" y="246"/>
                      </a:lnTo>
                      <a:lnTo>
                        <a:pt x="348" y="234"/>
                      </a:lnTo>
                      <a:lnTo>
                        <a:pt x="342" y="228"/>
                      </a:lnTo>
                      <a:lnTo>
                        <a:pt x="342" y="216"/>
                      </a:lnTo>
                      <a:lnTo>
                        <a:pt x="336" y="204"/>
                      </a:lnTo>
                      <a:lnTo>
                        <a:pt x="330" y="198"/>
                      </a:lnTo>
                      <a:lnTo>
                        <a:pt x="324" y="180"/>
                      </a:lnTo>
                      <a:lnTo>
                        <a:pt x="324" y="162"/>
                      </a:lnTo>
                      <a:lnTo>
                        <a:pt x="330" y="144"/>
                      </a:lnTo>
                      <a:lnTo>
                        <a:pt x="342" y="132"/>
                      </a:lnTo>
                      <a:lnTo>
                        <a:pt x="348" y="120"/>
                      </a:lnTo>
                      <a:lnTo>
                        <a:pt x="348" y="114"/>
                      </a:lnTo>
                      <a:lnTo>
                        <a:pt x="354" y="108"/>
                      </a:lnTo>
                      <a:lnTo>
                        <a:pt x="348" y="102"/>
                      </a:lnTo>
                      <a:lnTo>
                        <a:pt x="342" y="90"/>
                      </a:lnTo>
                      <a:lnTo>
                        <a:pt x="330" y="84"/>
                      </a:lnTo>
                      <a:lnTo>
                        <a:pt x="312" y="66"/>
                      </a:lnTo>
                      <a:lnTo>
                        <a:pt x="300" y="54"/>
                      </a:lnTo>
                      <a:lnTo>
                        <a:pt x="300" y="42"/>
                      </a:lnTo>
                      <a:lnTo>
                        <a:pt x="306" y="30"/>
                      </a:lnTo>
                      <a:lnTo>
                        <a:pt x="312" y="18"/>
                      </a:lnTo>
                      <a:lnTo>
                        <a:pt x="330" y="12"/>
                      </a:lnTo>
                      <a:lnTo>
                        <a:pt x="342" y="6"/>
                      </a:lnTo>
                      <a:lnTo>
                        <a:pt x="360" y="0"/>
                      </a:lnTo>
                      <a:lnTo>
                        <a:pt x="37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6" name="Freeform 337">
                  <a:extLst>
                    <a:ext uri="{FF2B5EF4-FFF2-40B4-BE49-F238E27FC236}">
                      <a16:creationId xmlns:a16="http://schemas.microsoft.com/office/drawing/2014/main" id="{3FFF340D-4764-445D-9A0F-DF4B7C168A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83" y="-6780"/>
                  <a:ext cx="288" cy="270"/>
                </a:xfrm>
                <a:custGeom>
                  <a:avLst/>
                  <a:gdLst>
                    <a:gd name="T0" fmla="*/ 186 w 288"/>
                    <a:gd name="T1" fmla="*/ 0 h 270"/>
                    <a:gd name="T2" fmla="*/ 198 w 288"/>
                    <a:gd name="T3" fmla="*/ 0 h 270"/>
                    <a:gd name="T4" fmla="*/ 210 w 288"/>
                    <a:gd name="T5" fmla="*/ 6 h 270"/>
                    <a:gd name="T6" fmla="*/ 222 w 288"/>
                    <a:gd name="T7" fmla="*/ 18 h 270"/>
                    <a:gd name="T8" fmla="*/ 234 w 288"/>
                    <a:gd name="T9" fmla="*/ 30 h 270"/>
                    <a:gd name="T10" fmla="*/ 240 w 288"/>
                    <a:gd name="T11" fmla="*/ 48 h 270"/>
                    <a:gd name="T12" fmla="*/ 240 w 288"/>
                    <a:gd name="T13" fmla="*/ 66 h 270"/>
                    <a:gd name="T14" fmla="*/ 240 w 288"/>
                    <a:gd name="T15" fmla="*/ 102 h 270"/>
                    <a:gd name="T16" fmla="*/ 258 w 288"/>
                    <a:gd name="T17" fmla="*/ 138 h 270"/>
                    <a:gd name="T18" fmla="*/ 282 w 288"/>
                    <a:gd name="T19" fmla="*/ 174 h 270"/>
                    <a:gd name="T20" fmla="*/ 282 w 288"/>
                    <a:gd name="T21" fmla="*/ 192 h 270"/>
                    <a:gd name="T22" fmla="*/ 288 w 288"/>
                    <a:gd name="T23" fmla="*/ 210 h 270"/>
                    <a:gd name="T24" fmla="*/ 288 w 288"/>
                    <a:gd name="T25" fmla="*/ 228 h 270"/>
                    <a:gd name="T26" fmla="*/ 288 w 288"/>
                    <a:gd name="T27" fmla="*/ 240 h 270"/>
                    <a:gd name="T28" fmla="*/ 288 w 288"/>
                    <a:gd name="T29" fmla="*/ 258 h 270"/>
                    <a:gd name="T30" fmla="*/ 282 w 288"/>
                    <a:gd name="T31" fmla="*/ 264 h 270"/>
                    <a:gd name="T32" fmla="*/ 270 w 288"/>
                    <a:gd name="T33" fmla="*/ 270 h 270"/>
                    <a:gd name="T34" fmla="*/ 240 w 288"/>
                    <a:gd name="T35" fmla="*/ 270 h 270"/>
                    <a:gd name="T36" fmla="*/ 198 w 288"/>
                    <a:gd name="T37" fmla="*/ 264 h 270"/>
                    <a:gd name="T38" fmla="*/ 156 w 288"/>
                    <a:gd name="T39" fmla="*/ 246 h 270"/>
                    <a:gd name="T40" fmla="*/ 138 w 288"/>
                    <a:gd name="T41" fmla="*/ 228 h 270"/>
                    <a:gd name="T42" fmla="*/ 120 w 288"/>
                    <a:gd name="T43" fmla="*/ 216 h 270"/>
                    <a:gd name="T44" fmla="*/ 102 w 288"/>
                    <a:gd name="T45" fmla="*/ 210 h 270"/>
                    <a:gd name="T46" fmla="*/ 90 w 288"/>
                    <a:gd name="T47" fmla="*/ 198 h 270"/>
                    <a:gd name="T48" fmla="*/ 78 w 288"/>
                    <a:gd name="T49" fmla="*/ 186 h 270"/>
                    <a:gd name="T50" fmla="*/ 72 w 288"/>
                    <a:gd name="T51" fmla="*/ 174 h 270"/>
                    <a:gd name="T52" fmla="*/ 54 w 288"/>
                    <a:gd name="T53" fmla="*/ 168 h 270"/>
                    <a:gd name="T54" fmla="*/ 42 w 288"/>
                    <a:gd name="T55" fmla="*/ 162 h 270"/>
                    <a:gd name="T56" fmla="*/ 24 w 288"/>
                    <a:gd name="T57" fmla="*/ 156 h 270"/>
                    <a:gd name="T58" fmla="*/ 12 w 288"/>
                    <a:gd name="T59" fmla="*/ 144 h 270"/>
                    <a:gd name="T60" fmla="*/ 0 w 288"/>
                    <a:gd name="T61" fmla="*/ 132 h 270"/>
                    <a:gd name="T62" fmla="*/ 0 w 288"/>
                    <a:gd name="T63" fmla="*/ 126 h 270"/>
                    <a:gd name="T64" fmla="*/ 0 w 288"/>
                    <a:gd name="T65" fmla="*/ 114 h 270"/>
                    <a:gd name="T66" fmla="*/ 6 w 288"/>
                    <a:gd name="T67" fmla="*/ 108 h 270"/>
                    <a:gd name="T68" fmla="*/ 18 w 288"/>
                    <a:gd name="T69" fmla="*/ 108 h 270"/>
                    <a:gd name="T70" fmla="*/ 36 w 288"/>
                    <a:gd name="T71" fmla="*/ 102 h 270"/>
                    <a:gd name="T72" fmla="*/ 66 w 288"/>
                    <a:gd name="T73" fmla="*/ 102 h 270"/>
                    <a:gd name="T74" fmla="*/ 84 w 288"/>
                    <a:gd name="T75" fmla="*/ 102 h 270"/>
                    <a:gd name="T76" fmla="*/ 96 w 288"/>
                    <a:gd name="T77" fmla="*/ 102 h 270"/>
                    <a:gd name="T78" fmla="*/ 102 w 288"/>
                    <a:gd name="T79" fmla="*/ 90 h 270"/>
                    <a:gd name="T80" fmla="*/ 108 w 288"/>
                    <a:gd name="T81" fmla="*/ 84 h 270"/>
                    <a:gd name="T82" fmla="*/ 108 w 288"/>
                    <a:gd name="T83" fmla="*/ 72 h 270"/>
                    <a:gd name="T84" fmla="*/ 114 w 288"/>
                    <a:gd name="T85" fmla="*/ 60 h 270"/>
                    <a:gd name="T86" fmla="*/ 114 w 288"/>
                    <a:gd name="T87" fmla="*/ 48 h 270"/>
                    <a:gd name="T88" fmla="*/ 114 w 288"/>
                    <a:gd name="T89" fmla="*/ 30 h 270"/>
                    <a:gd name="T90" fmla="*/ 120 w 288"/>
                    <a:gd name="T91" fmla="*/ 18 h 270"/>
                    <a:gd name="T92" fmla="*/ 132 w 288"/>
                    <a:gd name="T93" fmla="*/ 12 h 270"/>
                    <a:gd name="T94" fmla="*/ 150 w 288"/>
                    <a:gd name="T95" fmla="*/ 0 h 270"/>
                    <a:gd name="T96" fmla="*/ 168 w 288"/>
                    <a:gd name="T97" fmla="*/ 0 h 270"/>
                    <a:gd name="T98" fmla="*/ 186 w 288"/>
                    <a:gd name="T99" fmla="*/ 0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88" h="270">
                      <a:moveTo>
                        <a:pt x="186" y="0"/>
                      </a:moveTo>
                      <a:lnTo>
                        <a:pt x="198" y="0"/>
                      </a:lnTo>
                      <a:lnTo>
                        <a:pt x="210" y="6"/>
                      </a:lnTo>
                      <a:lnTo>
                        <a:pt x="222" y="18"/>
                      </a:lnTo>
                      <a:lnTo>
                        <a:pt x="234" y="30"/>
                      </a:lnTo>
                      <a:lnTo>
                        <a:pt x="240" y="48"/>
                      </a:lnTo>
                      <a:lnTo>
                        <a:pt x="240" y="66"/>
                      </a:lnTo>
                      <a:lnTo>
                        <a:pt x="240" y="102"/>
                      </a:lnTo>
                      <a:lnTo>
                        <a:pt x="258" y="138"/>
                      </a:lnTo>
                      <a:lnTo>
                        <a:pt x="282" y="174"/>
                      </a:lnTo>
                      <a:lnTo>
                        <a:pt x="282" y="192"/>
                      </a:lnTo>
                      <a:lnTo>
                        <a:pt x="288" y="210"/>
                      </a:lnTo>
                      <a:lnTo>
                        <a:pt x="288" y="228"/>
                      </a:lnTo>
                      <a:lnTo>
                        <a:pt x="288" y="240"/>
                      </a:lnTo>
                      <a:lnTo>
                        <a:pt x="288" y="258"/>
                      </a:lnTo>
                      <a:lnTo>
                        <a:pt x="282" y="264"/>
                      </a:lnTo>
                      <a:lnTo>
                        <a:pt x="270" y="270"/>
                      </a:lnTo>
                      <a:lnTo>
                        <a:pt x="240" y="270"/>
                      </a:lnTo>
                      <a:lnTo>
                        <a:pt x="198" y="264"/>
                      </a:lnTo>
                      <a:lnTo>
                        <a:pt x="156" y="246"/>
                      </a:lnTo>
                      <a:lnTo>
                        <a:pt x="138" y="228"/>
                      </a:lnTo>
                      <a:lnTo>
                        <a:pt x="120" y="216"/>
                      </a:lnTo>
                      <a:lnTo>
                        <a:pt x="102" y="210"/>
                      </a:lnTo>
                      <a:lnTo>
                        <a:pt x="90" y="198"/>
                      </a:lnTo>
                      <a:lnTo>
                        <a:pt x="78" y="186"/>
                      </a:lnTo>
                      <a:lnTo>
                        <a:pt x="72" y="174"/>
                      </a:lnTo>
                      <a:lnTo>
                        <a:pt x="54" y="168"/>
                      </a:lnTo>
                      <a:lnTo>
                        <a:pt x="42" y="162"/>
                      </a:lnTo>
                      <a:lnTo>
                        <a:pt x="24" y="156"/>
                      </a:lnTo>
                      <a:lnTo>
                        <a:pt x="12" y="144"/>
                      </a:lnTo>
                      <a:lnTo>
                        <a:pt x="0" y="132"/>
                      </a:lnTo>
                      <a:lnTo>
                        <a:pt x="0" y="126"/>
                      </a:lnTo>
                      <a:lnTo>
                        <a:pt x="0" y="114"/>
                      </a:lnTo>
                      <a:lnTo>
                        <a:pt x="6" y="108"/>
                      </a:lnTo>
                      <a:lnTo>
                        <a:pt x="18" y="108"/>
                      </a:lnTo>
                      <a:lnTo>
                        <a:pt x="36" y="102"/>
                      </a:lnTo>
                      <a:lnTo>
                        <a:pt x="66" y="102"/>
                      </a:lnTo>
                      <a:lnTo>
                        <a:pt x="84" y="102"/>
                      </a:lnTo>
                      <a:lnTo>
                        <a:pt x="96" y="102"/>
                      </a:lnTo>
                      <a:lnTo>
                        <a:pt x="102" y="90"/>
                      </a:lnTo>
                      <a:lnTo>
                        <a:pt x="108" y="84"/>
                      </a:lnTo>
                      <a:lnTo>
                        <a:pt x="108" y="72"/>
                      </a:lnTo>
                      <a:lnTo>
                        <a:pt x="114" y="60"/>
                      </a:lnTo>
                      <a:lnTo>
                        <a:pt x="114" y="48"/>
                      </a:lnTo>
                      <a:lnTo>
                        <a:pt x="114" y="30"/>
                      </a:lnTo>
                      <a:lnTo>
                        <a:pt x="120" y="18"/>
                      </a:lnTo>
                      <a:lnTo>
                        <a:pt x="132" y="12"/>
                      </a:lnTo>
                      <a:lnTo>
                        <a:pt x="150" y="0"/>
                      </a:lnTo>
                      <a:lnTo>
                        <a:pt x="168" y="0"/>
                      </a:lnTo>
                      <a:lnTo>
                        <a:pt x="18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7" name="Freeform 338">
                  <a:extLst>
                    <a:ext uri="{FF2B5EF4-FFF2-40B4-BE49-F238E27FC236}">
                      <a16:creationId xmlns:a16="http://schemas.microsoft.com/office/drawing/2014/main" id="{0B524CF6-3F17-4F3F-B665-E4201DE339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263" y="-7794"/>
                  <a:ext cx="174" cy="162"/>
                </a:xfrm>
                <a:custGeom>
                  <a:avLst/>
                  <a:gdLst>
                    <a:gd name="T0" fmla="*/ 30 w 174"/>
                    <a:gd name="T1" fmla="*/ 0 h 162"/>
                    <a:gd name="T2" fmla="*/ 42 w 174"/>
                    <a:gd name="T3" fmla="*/ 0 h 162"/>
                    <a:gd name="T4" fmla="*/ 54 w 174"/>
                    <a:gd name="T5" fmla="*/ 6 h 162"/>
                    <a:gd name="T6" fmla="*/ 72 w 174"/>
                    <a:gd name="T7" fmla="*/ 18 h 162"/>
                    <a:gd name="T8" fmla="*/ 84 w 174"/>
                    <a:gd name="T9" fmla="*/ 30 h 162"/>
                    <a:gd name="T10" fmla="*/ 96 w 174"/>
                    <a:gd name="T11" fmla="*/ 36 h 162"/>
                    <a:gd name="T12" fmla="*/ 108 w 174"/>
                    <a:gd name="T13" fmla="*/ 42 h 162"/>
                    <a:gd name="T14" fmla="*/ 114 w 174"/>
                    <a:gd name="T15" fmla="*/ 42 h 162"/>
                    <a:gd name="T16" fmla="*/ 132 w 174"/>
                    <a:gd name="T17" fmla="*/ 42 h 162"/>
                    <a:gd name="T18" fmla="*/ 144 w 174"/>
                    <a:gd name="T19" fmla="*/ 42 h 162"/>
                    <a:gd name="T20" fmla="*/ 150 w 174"/>
                    <a:gd name="T21" fmla="*/ 48 h 162"/>
                    <a:gd name="T22" fmla="*/ 156 w 174"/>
                    <a:gd name="T23" fmla="*/ 48 h 162"/>
                    <a:gd name="T24" fmla="*/ 156 w 174"/>
                    <a:gd name="T25" fmla="*/ 60 h 162"/>
                    <a:gd name="T26" fmla="*/ 162 w 174"/>
                    <a:gd name="T27" fmla="*/ 66 h 162"/>
                    <a:gd name="T28" fmla="*/ 168 w 174"/>
                    <a:gd name="T29" fmla="*/ 72 h 162"/>
                    <a:gd name="T30" fmla="*/ 174 w 174"/>
                    <a:gd name="T31" fmla="*/ 90 h 162"/>
                    <a:gd name="T32" fmla="*/ 174 w 174"/>
                    <a:gd name="T33" fmla="*/ 102 h 162"/>
                    <a:gd name="T34" fmla="*/ 168 w 174"/>
                    <a:gd name="T35" fmla="*/ 120 h 162"/>
                    <a:gd name="T36" fmla="*/ 150 w 174"/>
                    <a:gd name="T37" fmla="*/ 138 h 162"/>
                    <a:gd name="T38" fmla="*/ 132 w 174"/>
                    <a:gd name="T39" fmla="*/ 150 h 162"/>
                    <a:gd name="T40" fmla="*/ 108 w 174"/>
                    <a:gd name="T41" fmla="*/ 162 h 162"/>
                    <a:gd name="T42" fmla="*/ 84 w 174"/>
                    <a:gd name="T43" fmla="*/ 150 h 162"/>
                    <a:gd name="T44" fmla="*/ 60 w 174"/>
                    <a:gd name="T45" fmla="*/ 132 h 162"/>
                    <a:gd name="T46" fmla="*/ 24 w 174"/>
                    <a:gd name="T47" fmla="*/ 96 h 162"/>
                    <a:gd name="T48" fmla="*/ 12 w 174"/>
                    <a:gd name="T49" fmla="*/ 84 h 162"/>
                    <a:gd name="T50" fmla="*/ 0 w 174"/>
                    <a:gd name="T51" fmla="*/ 72 h 162"/>
                    <a:gd name="T52" fmla="*/ 0 w 174"/>
                    <a:gd name="T53" fmla="*/ 54 h 162"/>
                    <a:gd name="T54" fmla="*/ 0 w 174"/>
                    <a:gd name="T55" fmla="*/ 36 h 162"/>
                    <a:gd name="T56" fmla="*/ 6 w 174"/>
                    <a:gd name="T57" fmla="*/ 18 h 162"/>
                    <a:gd name="T58" fmla="*/ 18 w 174"/>
                    <a:gd name="T59" fmla="*/ 6 h 162"/>
                    <a:gd name="T60" fmla="*/ 30 w 174"/>
                    <a:gd name="T61" fmla="*/ 0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74" h="162">
                      <a:moveTo>
                        <a:pt x="30" y="0"/>
                      </a:moveTo>
                      <a:lnTo>
                        <a:pt x="42" y="0"/>
                      </a:lnTo>
                      <a:lnTo>
                        <a:pt x="54" y="6"/>
                      </a:lnTo>
                      <a:lnTo>
                        <a:pt x="72" y="18"/>
                      </a:lnTo>
                      <a:lnTo>
                        <a:pt x="84" y="30"/>
                      </a:lnTo>
                      <a:lnTo>
                        <a:pt x="96" y="36"/>
                      </a:lnTo>
                      <a:lnTo>
                        <a:pt x="108" y="42"/>
                      </a:lnTo>
                      <a:lnTo>
                        <a:pt x="114" y="42"/>
                      </a:lnTo>
                      <a:lnTo>
                        <a:pt x="132" y="42"/>
                      </a:lnTo>
                      <a:lnTo>
                        <a:pt x="144" y="42"/>
                      </a:lnTo>
                      <a:lnTo>
                        <a:pt x="150" y="48"/>
                      </a:lnTo>
                      <a:lnTo>
                        <a:pt x="156" y="48"/>
                      </a:lnTo>
                      <a:lnTo>
                        <a:pt x="156" y="60"/>
                      </a:lnTo>
                      <a:lnTo>
                        <a:pt x="162" y="66"/>
                      </a:lnTo>
                      <a:lnTo>
                        <a:pt x="168" y="72"/>
                      </a:lnTo>
                      <a:lnTo>
                        <a:pt x="174" y="90"/>
                      </a:lnTo>
                      <a:lnTo>
                        <a:pt x="174" y="102"/>
                      </a:lnTo>
                      <a:lnTo>
                        <a:pt x="168" y="120"/>
                      </a:lnTo>
                      <a:lnTo>
                        <a:pt x="150" y="138"/>
                      </a:lnTo>
                      <a:lnTo>
                        <a:pt x="132" y="150"/>
                      </a:lnTo>
                      <a:lnTo>
                        <a:pt x="108" y="162"/>
                      </a:lnTo>
                      <a:lnTo>
                        <a:pt x="84" y="150"/>
                      </a:lnTo>
                      <a:lnTo>
                        <a:pt x="60" y="132"/>
                      </a:lnTo>
                      <a:lnTo>
                        <a:pt x="24" y="96"/>
                      </a:lnTo>
                      <a:lnTo>
                        <a:pt x="12" y="84"/>
                      </a:lnTo>
                      <a:lnTo>
                        <a:pt x="0" y="72"/>
                      </a:lnTo>
                      <a:lnTo>
                        <a:pt x="0" y="54"/>
                      </a:lnTo>
                      <a:lnTo>
                        <a:pt x="0" y="36"/>
                      </a:lnTo>
                      <a:lnTo>
                        <a:pt x="6" y="18"/>
                      </a:lnTo>
                      <a:lnTo>
                        <a:pt x="18" y="6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8" name="Freeform 339">
                  <a:extLst>
                    <a:ext uri="{FF2B5EF4-FFF2-40B4-BE49-F238E27FC236}">
                      <a16:creationId xmlns:a16="http://schemas.microsoft.com/office/drawing/2014/main" id="{1DB390F1-42D2-498E-8CF2-DC8D4262F8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47" y="-8586"/>
                  <a:ext cx="966" cy="570"/>
                </a:xfrm>
                <a:custGeom>
                  <a:avLst/>
                  <a:gdLst>
                    <a:gd name="T0" fmla="*/ 360 w 966"/>
                    <a:gd name="T1" fmla="*/ 30 h 570"/>
                    <a:gd name="T2" fmla="*/ 378 w 966"/>
                    <a:gd name="T3" fmla="*/ 90 h 570"/>
                    <a:gd name="T4" fmla="*/ 414 w 966"/>
                    <a:gd name="T5" fmla="*/ 102 h 570"/>
                    <a:gd name="T6" fmla="*/ 480 w 966"/>
                    <a:gd name="T7" fmla="*/ 168 h 570"/>
                    <a:gd name="T8" fmla="*/ 498 w 966"/>
                    <a:gd name="T9" fmla="*/ 270 h 570"/>
                    <a:gd name="T10" fmla="*/ 516 w 966"/>
                    <a:gd name="T11" fmla="*/ 330 h 570"/>
                    <a:gd name="T12" fmla="*/ 588 w 966"/>
                    <a:gd name="T13" fmla="*/ 330 h 570"/>
                    <a:gd name="T14" fmla="*/ 666 w 966"/>
                    <a:gd name="T15" fmla="*/ 366 h 570"/>
                    <a:gd name="T16" fmla="*/ 690 w 966"/>
                    <a:gd name="T17" fmla="*/ 318 h 570"/>
                    <a:gd name="T18" fmla="*/ 678 w 966"/>
                    <a:gd name="T19" fmla="*/ 252 h 570"/>
                    <a:gd name="T20" fmla="*/ 708 w 966"/>
                    <a:gd name="T21" fmla="*/ 204 h 570"/>
                    <a:gd name="T22" fmla="*/ 648 w 966"/>
                    <a:gd name="T23" fmla="*/ 132 h 570"/>
                    <a:gd name="T24" fmla="*/ 690 w 966"/>
                    <a:gd name="T25" fmla="*/ 126 h 570"/>
                    <a:gd name="T26" fmla="*/ 792 w 966"/>
                    <a:gd name="T27" fmla="*/ 90 h 570"/>
                    <a:gd name="T28" fmla="*/ 840 w 966"/>
                    <a:gd name="T29" fmla="*/ 156 h 570"/>
                    <a:gd name="T30" fmla="*/ 816 w 966"/>
                    <a:gd name="T31" fmla="*/ 222 h 570"/>
                    <a:gd name="T32" fmla="*/ 810 w 966"/>
                    <a:gd name="T33" fmla="*/ 264 h 570"/>
                    <a:gd name="T34" fmla="*/ 810 w 966"/>
                    <a:gd name="T35" fmla="*/ 306 h 570"/>
                    <a:gd name="T36" fmla="*/ 786 w 966"/>
                    <a:gd name="T37" fmla="*/ 342 h 570"/>
                    <a:gd name="T38" fmla="*/ 828 w 966"/>
                    <a:gd name="T39" fmla="*/ 360 h 570"/>
                    <a:gd name="T40" fmla="*/ 858 w 966"/>
                    <a:gd name="T41" fmla="*/ 378 h 570"/>
                    <a:gd name="T42" fmla="*/ 888 w 966"/>
                    <a:gd name="T43" fmla="*/ 318 h 570"/>
                    <a:gd name="T44" fmla="*/ 948 w 966"/>
                    <a:gd name="T45" fmla="*/ 318 h 570"/>
                    <a:gd name="T46" fmla="*/ 954 w 966"/>
                    <a:gd name="T47" fmla="*/ 456 h 570"/>
                    <a:gd name="T48" fmla="*/ 876 w 966"/>
                    <a:gd name="T49" fmla="*/ 522 h 570"/>
                    <a:gd name="T50" fmla="*/ 834 w 966"/>
                    <a:gd name="T51" fmla="*/ 564 h 570"/>
                    <a:gd name="T52" fmla="*/ 690 w 966"/>
                    <a:gd name="T53" fmla="*/ 510 h 570"/>
                    <a:gd name="T54" fmla="*/ 606 w 966"/>
                    <a:gd name="T55" fmla="*/ 480 h 570"/>
                    <a:gd name="T56" fmla="*/ 540 w 966"/>
                    <a:gd name="T57" fmla="*/ 504 h 570"/>
                    <a:gd name="T58" fmla="*/ 474 w 966"/>
                    <a:gd name="T59" fmla="*/ 546 h 570"/>
                    <a:gd name="T60" fmla="*/ 288 w 966"/>
                    <a:gd name="T61" fmla="*/ 528 h 570"/>
                    <a:gd name="T62" fmla="*/ 216 w 966"/>
                    <a:gd name="T63" fmla="*/ 474 h 570"/>
                    <a:gd name="T64" fmla="*/ 222 w 966"/>
                    <a:gd name="T65" fmla="*/ 432 h 570"/>
                    <a:gd name="T66" fmla="*/ 288 w 966"/>
                    <a:gd name="T67" fmla="*/ 426 h 570"/>
                    <a:gd name="T68" fmla="*/ 378 w 966"/>
                    <a:gd name="T69" fmla="*/ 450 h 570"/>
                    <a:gd name="T70" fmla="*/ 480 w 966"/>
                    <a:gd name="T71" fmla="*/ 396 h 570"/>
                    <a:gd name="T72" fmla="*/ 426 w 966"/>
                    <a:gd name="T73" fmla="*/ 372 h 570"/>
                    <a:gd name="T74" fmla="*/ 378 w 966"/>
                    <a:gd name="T75" fmla="*/ 366 h 570"/>
                    <a:gd name="T76" fmla="*/ 318 w 966"/>
                    <a:gd name="T77" fmla="*/ 366 h 570"/>
                    <a:gd name="T78" fmla="*/ 294 w 966"/>
                    <a:gd name="T79" fmla="*/ 336 h 570"/>
                    <a:gd name="T80" fmla="*/ 276 w 966"/>
                    <a:gd name="T81" fmla="*/ 288 h 570"/>
                    <a:gd name="T82" fmla="*/ 246 w 966"/>
                    <a:gd name="T83" fmla="*/ 294 h 570"/>
                    <a:gd name="T84" fmla="*/ 174 w 966"/>
                    <a:gd name="T85" fmla="*/ 318 h 570"/>
                    <a:gd name="T86" fmla="*/ 114 w 966"/>
                    <a:gd name="T87" fmla="*/ 252 h 570"/>
                    <a:gd name="T88" fmla="*/ 48 w 966"/>
                    <a:gd name="T89" fmla="*/ 252 h 570"/>
                    <a:gd name="T90" fmla="*/ 0 w 966"/>
                    <a:gd name="T91" fmla="*/ 222 h 570"/>
                    <a:gd name="T92" fmla="*/ 12 w 966"/>
                    <a:gd name="T93" fmla="*/ 174 h 570"/>
                    <a:gd name="T94" fmla="*/ 84 w 966"/>
                    <a:gd name="T95" fmla="*/ 180 h 570"/>
                    <a:gd name="T96" fmla="*/ 156 w 966"/>
                    <a:gd name="T97" fmla="*/ 180 h 570"/>
                    <a:gd name="T98" fmla="*/ 174 w 966"/>
                    <a:gd name="T99" fmla="*/ 150 h 570"/>
                    <a:gd name="T100" fmla="*/ 126 w 966"/>
                    <a:gd name="T101" fmla="*/ 126 h 570"/>
                    <a:gd name="T102" fmla="*/ 168 w 966"/>
                    <a:gd name="T103" fmla="*/ 108 h 570"/>
                    <a:gd name="T104" fmla="*/ 240 w 966"/>
                    <a:gd name="T105" fmla="*/ 108 h 570"/>
                    <a:gd name="T106" fmla="*/ 198 w 966"/>
                    <a:gd name="T107" fmla="*/ 72 h 570"/>
                    <a:gd name="T108" fmla="*/ 156 w 966"/>
                    <a:gd name="T109" fmla="*/ 42 h 570"/>
                    <a:gd name="T110" fmla="*/ 216 w 966"/>
                    <a:gd name="T111" fmla="*/ 30 h 570"/>
                    <a:gd name="T112" fmla="*/ 258 w 966"/>
                    <a:gd name="T113" fmla="*/ 18 h 5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966" h="570">
                      <a:moveTo>
                        <a:pt x="294" y="0"/>
                      </a:moveTo>
                      <a:lnTo>
                        <a:pt x="306" y="6"/>
                      </a:lnTo>
                      <a:lnTo>
                        <a:pt x="318" y="12"/>
                      </a:lnTo>
                      <a:lnTo>
                        <a:pt x="336" y="18"/>
                      </a:lnTo>
                      <a:lnTo>
                        <a:pt x="360" y="30"/>
                      </a:lnTo>
                      <a:lnTo>
                        <a:pt x="366" y="42"/>
                      </a:lnTo>
                      <a:lnTo>
                        <a:pt x="378" y="54"/>
                      </a:lnTo>
                      <a:lnTo>
                        <a:pt x="378" y="66"/>
                      </a:lnTo>
                      <a:lnTo>
                        <a:pt x="378" y="78"/>
                      </a:lnTo>
                      <a:lnTo>
                        <a:pt x="378" y="90"/>
                      </a:lnTo>
                      <a:lnTo>
                        <a:pt x="384" y="96"/>
                      </a:lnTo>
                      <a:lnTo>
                        <a:pt x="384" y="102"/>
                      </a:lnTo>
                      <a:lnTo>
                        <a:pt x="396" y="102"/>
                      </a:lnTo>
                      <a:lnTo>
                        <a:pt x="402" y="102"/>
                      </a:lnTo>
                      <a:lnTo>
                        <a:pt x="414" y="102"/>
                      </a:lnTo>
                      <a:lnTo>
                        <a:pt x="426" y="102"/>
                      </a:lnTo>
                      <a:lnTo>
                        <a:pt x="438" y="108"/>
                      </a:lnTo>
                      <a:lnTo>
                        <a:pt x="450" y="120"/>
                      </a:lnTo>
                      <a:lnTo>
                        <a:pt x="462" y="132"/>
                      </a:lnTo>
                      <a:lnTo>
                        <a:pt x="480" y="168"/>
                      </a:lnTo>
                      <a:lnTo>
                        <a:pt x="474" y="204"/>
                      </a:lnTo>
                      <a:lnTo>
                        <a:pt x="486" y="234"/>
                      </a:lnTo>
                      <a:lnTo>
                        <a:pt x="498" y="252"/>
                      </a:lnTo>
                      <a:lnTo>
                        <a:pt x="498" y="264"/>
                      </a:lnTo>
                      <a:lnTo>
                        <a:pt x="498" y="270"/>
                      </a:lnTo>
                      <a:lnTo>
                        <a:pt x="498" y="282"/>
                      </a:lnTo>
                      <a:lnTo>
                        <a:pt x="498" y="294"/>
                      </a:lnTo>
                      <a:lnTo>
                        <a:pt x="498" y="306"/>
                      </a:lnTo>
                      <a:lnTo>
                        <a:pt x="504" y="324"/>
                      </a:lnTo>
                      <a:lnTo>
                        <a:pt x="516" y="330"/>
                      </a:lnTo>
                      <a:lnTo>
                        <a:pt x="528" y="336"/>
                      </a:lnTo>
                      <a:lnTo>
                        <a:pt x="540" y="336"/>
                      </a:lnTo>
                      <a:lnTo>
                        <a:pt x="558" y="336"/>
                      </a:lnTo>
                      <a:lnTo>
                        <a:pt x="576" y="330"/>
                      </a:lnTo>
                      <a:lnTo>
                        <a:pt x="588" y="330"/>
                      </a:lnTo>
                      <a:lnTo>
                        <a:pt x="600" y="336"/>
                      </a:lnTo>
                      <a:lnTo>
                        <a:pt x="612" y="342"/>
                      </a:lnTo>
                      <a:lnTo>
                        <a:pt x="624" y="348"/>
                      </a:lnTo>
                      <a:lnTo>
                        <a:pt x="648" y="360"/>
                      </a:lnTo>
                      <a:lnTo>
                        <a:pt x="666" y="366"/>
                      </a:lnTo>
                      <a:lnTo>
                        <a:pt x="684" y="360"/>
                      </a:lnTo>
                      <a:lnTo>
                        <a:pt x="696" y="348"/>
                      </a:lnTo>
                      <a:lnTo>
                        <a:pt x="696" y="342"/>
                      </a:lnTo>
                      <a:lnTo>
                        <a:pt x="696" y="330"/>
                      </a:lnTo>
                      <a:lnTo>
                        <a:pt x="690" y="318"/>
                      </a:lnTo>
                      <a:lnTo>
                        <a:pt x="684" y="306"/>
                      </a:lnTo>
                      <a:lnTo>
                        <a:pt x="678" y="288"/>
                      </a:lnTo>
                      <a:lnTo>
                        <a:pt x="672" y="276"/>
                      </a:lnTo>
                      <a:lnTo>
                        <a:pt x="672" y="264"/>
                      </a:lnTo>
                      <a:lnTo>
                        <a:pt x="678" y="252"/>
                      </a:lnTo>
                      <a:lnTo>
                        <a:pt x="684" y="240"/>
                      </a:lnTo>
                      <a:lnTo>
                        <a:pt x="696" y="234"/>
                      </a:lnTo>
                      <a:lnTo>
                        <a:pt x="702" y="222"/>
                      </a:lnTo>
                      <a:lnTo>
                        <a:pt x="708" y="216"/>
                      </a:lnTo>
                      <a:lnTo>
                        <a:pt x="708" y="204"/>
                      </a:lnTo>
                      <a:lnTo>
                        <a:pt x="696" y="192"/>
                      </a:lnTo>
                      <a:lnTo>
                        <a:pt x="678" y="180"/>
                      </a:lnTo>
                      <a:lnTo>
                        <a:pt x="666" y="162"/>
                      </a:lnTo>
                      <a:lnTo>
                        <a:pt x="654" y="150"/>
                      </a:lnTo>
                      <a:lnTo>
                        <a:pt x="648" y="132"/>
                      </a:lnTo>
                      <a:lnTo>
                        <a:pt x="648" y="126"/>
                      </a:lnTo>
                      <a:lnTo>
                        <a:pt x="654" y="126"/>
                      </a:lnTo>
                      <a:lnTo>
                        <a:pt x="666" y="126"/>
                      </a:lnTo>
                      <a:lnTo>
                        <a:pt x="678" y="126"/>
                      </a:lnTo>
                      <a:lnTo>
                        <a:pt x="690" y="126"/>
                      </a:lnTo>
                      <a:lnTo>
                        <a:pt x="702" y="126"/>
                      </a:lnTo>
                      <a:lnTo>
                        <a:pt x="714" y="126"/>
                      </a:lnTo>
                      <a:lnTo>
                        <a:pt x="720" y="114"/>
                      </a:lnTo>
                      <a:lnTo>
                        <a:pt x="750" y="90"/>
                      </a:lnTo>
                      <a:lnTo>
                        <a:pt x="792" y="90"/>
                      </a:lnTo>
                      <a:lnTo>
                        <a:pt x="840" y="84"/>
                      </a:lnTo>
                      <a:lnTo>
                        <a:pt x="858" y="90"/>
                      </a:lnTo>
                      <a:lnTo>
                        <a:pt x="858" y="102"/>
                      </a:lnTo>
                      <a:lnTo>
                        <a:pt x="852" y="126"/>
                      </a:lnTo>
                      <a:lnTo>
                        <a:pt x="840" y="156"/>
                      </a:lnTo>
                      <a:lnTo>
                        <a:pt x="840" y="180"/>
                      </a:lnTo>
                      <a:lnTo>
                        <a:pt x="840" y="198"/>
                      </a:lnTo>
                      <a:lnTo>
                        <a:pt x="834" y="210"/>
                      </a:lnTo>
                      <a:lnTo>
                        <a:pt x="822" y="216"/>
                      </a:lnTo>
                      <a:lnTo>
                        <a:pt x="816" y="222"/>
                      </a:lnTo>
                      <a:lnTo>
                        <a:pt x="810" y="228"/>
                      </a:lnTo>
                      <a:lnTo>
                        <a:pt x="804" y="240"/>
                      </a:lnTo>
                      <a:lnTo>
                        <a:pt x="804" y="246"/>
                      </a:lnTo>
                      <a:lnTo>
                        <a:pt x="804" y="252"/>
                      </a:lnTo>
                      <a:lnTo>
                        <a:pt x="810" y="264"/>
                      </a:lnTo>
                      <a:lnTo>
                        <a:pt x="810" y="270"/>
                      </a:lnTo>
                      <a:lnTo>
                        <a:pt x="816" y="282"/>
                      </a:lnTo>
                      <a:lnTo>
                        <a:pt x="816" y="288"/>
                      </a:lnTo>
                      <a:lnTo>
                        <a:pt x="816" y="294"/>
                      </a:lnTo>
                      <a:lnTo>
                        <a:pt x="810" y="306"/>
                      </a:lnTo>
                      <a:lnTo>
                        <a:pt x="792" y="318"/>
                      </a:lnTo>
                      <a:lnTo>
                        <a:pt x="780" y="324"/>
                      </a:lnTo>
                      <a:lnTo>
                        <a:pt x="780" y="330"/>
                      </a:lnTo>
                      <a:lnTo>
                        <a:pt x="780" y="336"/>
                      </a:lnTo>
                      <a:lnTo>
                        <a:pt x="786" y="342"/>
                      </a:lnTo>
                      <a:lnTo>
                        <a:pt x="792" y="342"/>
                      </a:lnTo>
                      <a:lnTo>
                        <a:pt x="804" y="348"/>
                      </a:lnTo>
                      <a:lnTo>
                        <a:pt x="810" y="348"/>
                      </a:lnTo>
                      <a:lnTo>
                        <a:pt x="822" y="354"/>
                      </a:lnTo>
                      <a:lnTo>
                        <a:pt x="828" y="360"/>
                      </a:lnTo>
                      <a:lnTo>
                        <a:pt x="828" y="366"/>
                      </a:lnTo>
                      <a:lnTo>
                        <a:pt x="834" y="378"/>
                      </a:lnTo>
                      <a:lnTo>
                        <a:pt x="840" y="378"/>
                      </a:lnTo>
                      <a:lnTo>
                        <a:pt x="846" y="384"/>
                      </a:lnTo>
                      <a:lnTo>
                        <a:pt x="858" y="378"/>
                      </a:lnTo>
                      <a:lnTo>
                        <a:pt x="870" y="372"/>
                      </a:lnTo>
                      <a:lnTo>
                        <a:pt x="876" y="360"/>
                      </a:lnTo>
                      <a:lnTo>
                        <a:pt x="876" y="348"/>
                      </a:lnTo>
                      <a:lnTo>
                        <a:pt x="882" y="336"/>
                      </a:lnTo>
                      <a:lnTo>
                        <a:pt x="888" y="318"/>
                      </a:lnTo>
                      <a:lnTo>
                        <a:pt x="900" y="306"/>
                      </a:lnTo>
                      <a:lnTo>
                        <a:pt x="912" y="300"/>
                      </a:lnTo>
                      <a:lnTo>
                        <a:pt x="924" y="300"/>
                      </a:lnTo>
                      <a:lnTo>
                        <a:pt x="936" y="300"/>
                      </a:lnTo>
                      <a:lnTo>
                        <a:pt x="948" y="318"/>
                      </a:lnTo>
                      <a:lnTo>
                        <a:pt x="960" y="336"/>
                      </a:lnTo>
                      <a:lnTo>
                        <a:pt x="966" y="360"/>
                      </a:lnTo>
                      <a:lnTo>
                        <a:pt x="966" y="384"/>
                      </a:lnTo>
                      <a:lnTo>
                        <a:pt x="966" y="420"/>
                      </a:lnTo>
                      <a:lnTo>
                        <a:pt x="954" y="456"/>
                      </a:lnTo>
                      <a:lnTo>
                        <a:pt x="936" y="486"/>
                      </a:lnTo>
                      <a:lnTo>
                        <a:pt x="906" y="504"/>
                      </a:lnTo>
                      <a:lnTo>
                        <a:pt x="894" y="510"/>
                      </a:lnTo>
                      <a:lnTo>
                        <a:pt x="882" y="516"/>
                      </a:lnTo>
                      <a:lnTo>
                        <a:pt x="876" y="522"/>
                      </a:lnTo>
                      <a:lnTo>
                        <a:pt x="876" y="528"/>
                      </a:lnTo>
                      <a:lnTo>
                        <a:pt x="876" y="534"/>
                      </a:lnTo>
                      <a:lnTo>
                        <a:pt x="870" y="546"/>
                      </a:lnTo>
                      <a:lnTo>
                        <a:pt x="858" y="552"/>
                      </a:lnTo>
                      <a:lnTo>
                        <a:pt x="834" y="564"/>
                      </a:lnTo>
                      <a:lnTo>
                        <a:pt x="804" y="558"/>
                      </a:lnTo>
                      <a:lnTo>
                        <a:pt x="774" y="540"/>
                      </a:lnTo>
                      <a:lnTo>
                        <a:pt x="750" y="522"/>
                      </a:lnTo>
                      <a:lnTo>
                        <a:pt x="720" y="510"/>
                      </a:lnTo>
                      <a:lnTo>
                        <a:pt x="690" y="510"/>
                      </a:lnTo>
                      <a:lnTo>
                        <a:pt x="660" y="510"/>
                      </a:lnTo>
                      <a:lnTo>
                        <a:pt x="636" y="492"/>
                      </a:lnTo>
                      <a:lnTo>
                        <a:pt x="630" y="486"/>
                      </a:lnTo>
                      <a:lnTo>
                        <a:pt x="618" y="480"/>
                      </a:lnTo>
                      <a:lnTo>
                        <a:pt x="606" y="480"/>
                      </a:lnTo>
                      <a:lnTo>
                        <a:pt x="588" y="486"/>
                      </a:lnTo>
                      <a:lnTo>
                        <a:pt x="576" y="492"/>
                      </a:lnTo>
                      <a:lnTo>
                        <a:pt x="564" y="498"/>
                      </a:lnTo>
                      <a:lnTo>
                        <a:pt x="552" y="504"/>
                      </a:lnTo>
                      <a:lnTo>
                        <a:pt x="540" y="504"/>
                      </a:lnTo>
                      <a:lnTo>
                        <a:pt x="528" y="504"/>
                      </a:lnTo>
                      <a:lnTo>
                        <a:pt x="516" y="504"/>
                      </a:lnTo>
                      <a:lnTo>
                        <a:pt x="498" y="510"/>
                      </a:lnTo>
                      <a:lnTo>
                        <a:pt x="486" y="522"/>
                      </a:lnTo>
                      <a:lnTo>
                        <a:pt x="474" y="546"/>
                      </a:lnTo>
                      <a:lnTo>
                        <a:pt x="456" y="564"/>
                      </a:lnTo>
                      <a:lnTo>
                        <a:pt x="426" y="570"/>
                      </a:lnTo>
                      <a:lnTo>
                        <a:pt x="384" y="564"/>
                      </a:lnTo>
                      <a:lnTo>
                        <a:pt x="336" y="546"/>
                      </a:lnTo>
                      <a:lnTo>
                        <a:pt x="288" y="528"/>
                      </a:lnTo>
                      <a:lnTo>
                        <a:pt x="258" y="522"/>
                      </a:lnTo>
                      <a:lnTo>
                        <a:pt x="240" y="510"/>
                      </a:lnTo>
                      <a:lnTo>
                        <a:pt x="228" y="498"/>
                      </a:lnTo>
                      <a:lnTo>
                        <a:pt x="222" y="486"/>
                      </a:lnTo>
                      <a:lnTo>
                        <a:pt x="216" y="474"/>
                      </a:lnTo>
                      <a:lnTo>
                        <a:pt x="216" y="462"/>
                      </a:lnTo>
                      <a:lnTo>
                        <a:pt x="210" y="450"/>
                      </a:lnTo>
                      <a:lnTo>
                        <a:pt x="210" y="438"/>
                      </a:lnTo>
                      <a:lnTo>
                        <a:pt x="210" y="432"/>
                      </a:lnTo>
                      <a:lnTo>
                        <a:pt x="222" y="432"/>
                      </a:lnTo>
                      <a:lnTo>
                        <a:pt x="234" y="426"/>
                      </a:lnTo>
                      <a:lnTo>
                        <a:pt x="246" y="426"/>
                      </a:lnTo>
                      <a:lnTo>
                        <a:pt x="258" y="426"/>
                      </a:lnTo>
                      <a:lnTo>
                        <a:pt x="276" y="426"/>
                      </a:lnTo>
                      <a:lnTo>
                        <a:pt x="288" y="426"/>
                      </a:lnTo>
                      <a:lnTo>
                        <a:pt x="306" y="426"/>
                      </a:lnTo>
                      <a:lnTo>
                        <a:pt x="318" y="432"/>
                      </a:lnTo>
                      <a:lnTo>
                        <a:pt x="336" y="438"/>
                      </a:lnTo>
                      <a:lnTo>
                        <a:pt x="360" y="444"/>
                      </a:lnTo>
                      <a:lnTo>
                        <a:pt x="378" y="450"/>
                      </a:lnTo>
                      <a:lnTo>
                        <a:pt x="408" y="444"/>
                      </a:lnTo>
                      <a:lnTo>
                        <a:pt x="438" y="438"/>
                      </a:lnTo>
                      <a:lnTo>
                        <a:pt x="456" y="420"/>
                      </a:lnTo>
                      <a:lnTo>
                        <a:pt x="474" y="408"/>
                      </a:lnTo>
                      <a:lnTo>
                        <a:pt x="480" y="396"/>
                      </a:lnTo>
                      <a:lnTo>
                        <a:pt x="480" y="384"/>
                      </a:lnTo>
                      <a:lnTo>
                        <a:pt x="468" y="378"/>
                      </a:lnTo>
                      <a:lnTo>
                        <a:pt x="456" y="372"/>
                      </a:lnTo>
                      <a:lnTo>
                        <a:pt x="444" y="372"/>
                      </a:lnTo>
                      <a:lnTo>
                        <a:pt x="426" y="372"/>
                      </a:lnTo>
                      <a:lnTo>
                        <a:pt x="414" y="378"/>
                      </a:lnTo>
                      <a:lnTo>
                        <a:pt x="402" y="378"/>
                      </a:lnTo>
                      <a:lnTo>
                        <a:pt x="396" y="378"/>
                      </a:lnTo>
                      <a:lnTo>
                        <a:pt x="384" y="372"/>
                      </a:lnTo>
                      <a:lnTo>
                        <a:pt x="378" y="366"/>
                      </a:lnTo>
                      <a:lnTo>
                        <a:pt x="366" y="360"/>
                      </a:lnTo>
                      <a:lnTo>
                        <a:pt x="354" y="354"/>
                      </a:lnTo>
                      <a:lnTo>
                        <a:pt x="342" y="354"/>
                      </a:lnTo>
                      <a:lnTo>
                        <a:pt x="330" y="360"/>
                      </a:lnTo>
                      <a:lnTo>
                        <a:pt x="318" y="366"/>
                      </a:lnTo>
                      <a:lnTo>
                        <a:pt x="312" y="366"/>
                      </a:lnTo>
                      <a:lnTo>
                        <a:pt x="306" y="366"/>
                      </a:lnTo>
                      <a:lnTo>
                        <a:pt x="300" y="360"/>
                      </a:lnTo>
                      <a:lnTo>
                        <a:pt x="300" y="348"/>
                      </a:lnTo>
                      <a:lnTo>
                        <a:pt x="294" y="336"/>
                      </a:lnTo>
                      <a:lnTo>
                        <a:pt x="288" y="330"/>
                      </a:lnTo>
                      <a:lnTo>
                        <a:pt x="288" y="324"/>
                      </a:lnTo>
                      <a:lnTo>
                        <a:pt x="282" y="312"/>
                      </a:lnTo>
                      <a:lnTo>
                        <a:pt x="282" y="300"/>
                      </a:lnTo>
                      <a:lnTo>
                        <a:pt x="276" y="288"/>
                      </a:lnTo>
                      <a:lnTo>
                        <a:pt x="270" y="282"/>
                      </a:lnTo>
                      <a:lnTo>
                        <a:pt x="264" y="276"/>
                      </a:lnTo>
                      <a:lnTo>
                        <a:pt x="258" y="282"/>
                      </a:lnTo>
                      <a:lnTo>
                        <a:pt x="252" y="288"/>
                      </a:lnTo>
                      <a:lnTo>
                        <a:pt x="246" y="294"/>
                      </a:lnTo>
                      <a:lnTo>
                        <a:pt x="240" y="294"/>
                      </a:lnTo>
                      <a:lnTo>
                        <a:pt x="228" y="306"/>
                      </a:lnTo>
                      <a:lnTo>
                        <a:pt x="210" y="312"/>
                      </a:lnTo>
                      <a:lnTo>
                        <a:pt x="192" y="318"/>
                      </a:lnTo>
                      <a:lnTo>
                        <a:pt x="174" y="318"/>
                      </a:lnTo>
                      <a:lnTo>
                        <a:pt x="156" y="312"/>
                      </a:lnTo>
                      <a:lnTo>
                        <a:pt x="144" y="300"/>
                      </a:lnTo>
                      <a:lnTo>
                        <a:pt x="132" y="288"/>
                      </a:lnTo>
                      <a:lnTo>
                        <a:pt x="120" y="270"/>
                      </a:lnTo>
                      <a:lnTo>
                        <a:pt x="114" y="252"/>
                      </a:lnTo>
                      <a:lnTo>
                        <a:pt x="102" y="246"/>
                      </a:lnTo>
                      <a:lnTo>
                        <a:pt x="90" y="240"/>
                      </a:lnTo>
                      <a:lnTo>
                        <a:pt x="78" y="246"/>
                      </a:lnTo>
                      <a:lnTo>
                        <a:pt x="66" y="246"/>
                      </a:lnTo>
                      <a:lnTo>
                        <a:pt x="48" y="252"/>
                      </a:lnTo>
                      <a:lnTo>
                        <a:pt x="30" y="252"/>
                      </a:lnTo>
                      <a:lnTo>
                        <a:pt x="18" y="246"/>
                      </a:lnTo>
                      <a:lnTo>
                        <a:pt x="6" y="240"/>
                      </a:lnTo>
                      <a:lnTo>
                        <a:pt x="6" y="228"/>
                      </a:lnTo>
                      <a:lnTo>
                        <a:pt x="0" y="222"/>
                      </a:lnTo>
                      <a:lnTo>
                        <a:pt x="0" y="210"/>
                      </a:lnTo>
                      <a:lnTo>
                        <a:pt x="6" y="198"/>
                      </a:lnTo>
                      <a:lnTo>
                        <a:pt x="6" y="186"/>
                      </a:lnTo>
                      <a:lnTo>
                        <a:pt x="12" y="180"/>
                      </a:lnTo>
                      <a:lnTo>
                        <a:pt x="12" y="174"/>
                      </a:lnTo>
                      <a:lnTo>
                        <a:pt x="24" y="174"/>
                      </a:lnTo>
                      <a:lnTo>
                        <a:pt x="36" y="174"/>
                      </a:lnTo>
                      <a:lnTo>
                        <a:pt x="54" y="174"/>
                      </a:lnTo>
                      <a:lnTo>
                        <a:pt x="66" y="180"/>
                      </a:lnTo>
                      <a:lnTo>
                        <a:pt x="84" y="180"/>
                      </a:lnTo>
                      <a:lnTo>
                        <a:pt x="96" y="186"/>
                      </a:lnTo>
                      <a:lnTo>
                        <a:pt x="114" y="192"/>
                      </a:lnTo>
                      <a:lnTo>
                        <a:pt x="132" y="192"/>
                      </a:lnTo>
                      <a:lnTo>
                        <a:pt x="144" y="186"/>
                      </a:lnTo>
                      <a:lnTo>
                        <a:pt x="156" y="180"/>
                      </a:lnTo>
                      <a:lnTo>
                        <a:pt x="162" y="174"/>
                      </a:lnTo>
                      <a:lnTo>
                        <a:pt x="168" y="168"/>
                      </a:lnTo>
                      <a:lnTo>
                        <a:pt x="174" y="162"/>
                      </a:lnTo>
                      <a:lnTo>
                        <a:pt x="180" y="156"/>
                      </a:lnTo>
                      <a:lnTo>
                        <a:pt x="174" y="150"/>
                      </a:lnTo>
                      <a:lnTo>
                        <a:pt x="168" y="150"/>
                      </a:lnTo>
                      <a:lnTo>
                        <a:pt x="156" y="144"/>
                      </a:lnTo>
                      <a:lnTo>
                        <a:pt x="144" y="138"/>
                      </a:lnTo>
                      <a:lnTo>
                        <a:pt x="132" y="132"/>
                      </a:lnTo>
                      <a:lnTo>
                        <a:pt x="126" y="126"/>
                      </a:lnTo>
                      <a:lnTo>
                        <a:pt x="120" y="114"/>
                      </a:lnTo>
                      <a:lnTo>
                        <a:pt x="120" y="114"/>
                      </a:lnTo>
                      <a:lnTo>
                        <a:pt x="126" y="108"/>
                      </a:lnTo>
                      <a:lnTo>
                        <a:pt x="144" y="108"/>
                      </a:lnTo>
                      <a:lnTo>
                        <a:pt x="168" y="108"/>
                      </a:lnTo>
                      <a:lnTo>
                        <a:pt x="192" y="114"/>
                      </a:lnTo>
                      <a:lnTo>
                        <a:pt x="216" y="120"/>
                      </a:lnTo>
                      <a:lnTo>
                        <a:pt x="228" y="120"/>
                      </a:lnTo>
                      <a:lnTo>
                        <a:pt x="234" y="114"/>
                      </a:lnTo>
                      <a:lnTo>
                        <a:pt x="240" y="108"/>
                      </a:lnTo>
                      <a:lnTo>
                        <a:pt x="240" y="102"/>
                      </a:lnTo>
                      <a:lnTo>
                        <a:pt x="234" y="90"/>
                      </a:lnTo>
                      <a:lnTo>
                        <a:pt x="228" y="84"/>
                      </a:lnTo>
                      <a:lnTo>
                        <a:pt x="216" y="78"/>
                      </a:lnTo>
                      <a:lnTo>
                        <a:pt x="198" y="72"/>
                      </a:lnTo>
                      <a:lnTo>
                        <a:pt x="186" y="66"/>
                      </a:lnTo>
                      <a:lnTo>
                        <a:pt x="168" y="66"/>
                      </a:lnTo>
                      <a:lnTo>
                        <a:pt x="150" y="54"/>
                      </a:lnTo>
                      <a:lnTo>
                        <a:pt x="150" y="48"/>
                      </a:lnTo>
                      <a:lnTo>
                        <a:pt x="156" y="42"/>
                      </a:lnTo>
                      <a:lnTo>
                        <a:pt x="162" y="36"/>
                      </a:lnTo>
                      <a:lnTo>
                        <a:pt x="180" y="36"/>
                      </a:lnTo>
                      <a:lnTo>
                        <a:pt x="192" y="30"/>
                      </a:lnTo>
                      <a:lnTo>
                        <a:pt x="204" y="30"/>
                      </a:lnTo>
                      <a:lnTo>
                        <a:pt x="216" y="30"/>
                      </a:lnTo>
                      <a:lnTo>
                        <a:pt x="222" y="30"/>
                      </a:lnTo>
                      <a:lnTo>
                        <a:pt x="222" y="30"/>
                      </a:lnTo>
                      <a:lnTo>
                        <a:pt x="234" y="30"/>
                      </a:lnTo>
                      <a:lnTo>
                        <a:pt x="246" y="24"/>
                      </a:lnTo>
                      <a:lnTo>
                        <a:pt x="258" y="18"/>
                      </a:lnTo>
                      <a:lnTo>
                        <a:pt x="270" y="12"/>
                      </a:lnTo>
                      <a:lnTo>
                        <a:pt x="282" y="0"/>
                      </a:lnTo>
                      <a:lnTo>
                        <a:pt x="29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79" name="Freeform 340">
                  <a:extLst>
                    <a:ext uri="{FF2B5EF4-FFF2-40B4-BE49-F238E27FC236}">
                      <a16:creationId xmlns:a16="http://schemas.microsoft.com/office/drawing/2014/main" id="{7B7E4FE6-9732-4130-AA92-95CBF3ABF8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001" y="-8568"/>
                  <a:ext cx="126" cy="96"/>
                </a:xfrm>
                <a:custGeom>
                  <a:avLst/>
                  <a:gdLst>
                    <a:gd name="T0" fmla="*/ 108 w 126"/>
                    <a:gd name="T1" fmla="*/ 0 h 96"/>
                    <a:gd name="T2" fmla="*/ 120 w 126"/>
                    <a:gd name="T3" fmla="*/ 0 h 96"/>
                    <a:gd name="T4" fmla="*/ 126 w 126"/>
                    <a:gd name="T5" fmla="*/ 6 h 96"/>
                    <a:gd name="T6" fmla="*/ 126 w 126"/>
                    <a:gd name="T7" fmla="*/ 12 h 96"/>
                    <a:gd name="T8" fmla="*/ 126 w 126"/>
                    <a:gd name="T9" fmla="*/ 24 h 96"/>
                    <a:gd name="T10" fmla="*/ 120 w 126"/>
                    <a:gd name="T11" fmla="*/ 36 h 96"/>
                    <a:gd name="T12" fmla="*/ 114 w 126"/>
                    <a:gd name="T13" fmla="*/ 42 h 96"/>
                    <a:gd name="T14" fmla="*/ 102 w 126"/>
                    <a:gd name="T15" fmla="*/ 54 h 96"/>
                    <a:gd name="T16" fmla="*/ 78 w 126"/>
                    <a:gd name="T17" fmla="*/ 66 h 96"/>
                    <a:gd name="T18" fmla="*/ 54 w 126"/>
                    <a:gd name="T19" fmla="*/ 84 h 96"/>
                    <a:gd name="T20" fmla="*/ 30 w 126"/>
                    <a:gd name="T21" fmla="*/ 90 h 96"/>
                    <a:gd name="T22" fmla="*/ 12 w 126"/>
                    <a:gd name="T23" fmla="*/ 96 h 96"/>
                    <a:gd name="T24" fmla="*/ 6 w 126"/>
                    <a:gd name="T25" fmla="*/ 96 h 96"/>
                    <a:gd name="T26" fmla="*/ 0 w 126"/>
                    <a:gd name="T27" fmla="*/ 90 h 96"/>
                    <a:gd name="T28" fmla="*/ 0 w 126"/>
                    <a:gd name="T29" fmla="*/ 84 h 96"/>
                    <a:gd name="T30" fmla="*/ 6 w 126"/>
                    <a:gd name="T31" fmla="*/ 78 h 96"/>
                    <a:gd name="T32" fmla="*/ 12 w 126"/>
                    <a:gd name="T33" fmla="*/ 66 h 96"/>
                    <a:gd name="T34" fmla="*/ 18 w 126"/>
                    <a:gd name="T35" fmla="*/ 60 h 96"/>
                    <a:gd name="T36" fmla="*/ 30 w 126"/>
                    <a:gd name="T37" fmla="*/ 48 h 96"/>
                    <a:gd name="T38" fmla="*/ 36 w 126"/>
                    <a:gd name="T39" fmla="*/ 36 h 96"/>
                    <a:gd name="T40" fmla="*/ 54 w 126"/>
                    <a:gd name="T41" fmla="*/ 24 h 96"/>
                    <a:gd name="T42" fmla="*/ 72 w 126"/>
                    <a:gd name="T43" fmla="*/ 12 h 96"/>
                    <a:gd name="T44" fmla="*/ 96 w 126"/>
                    <a:gd name="T45" fmla="*/ 0 h 96"/>
                    <a:gd name="T46" fmla="*/ 108 w 126"/>
                    <a:gd name="T47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6" h="96">
                      <a:moveTo>
                        <a:pt x="108" y="0"/>
                      </a:moveTo>
                      <a:lnTo>
                        <a:pt x="120" y="0"/>
                      </a:lnTo>
                      <a:lnTo>
                        <a:pt x="126" y="6"/>
                      </a:lnTo>
                      <a:lnTo>
                        <a:pt x="126" y="12"/>
                      </a:lnTo>
                      <a:lnTo>
                        <a:pt x="126" y="24"/>
                      </a:lnTo>
                      <a:lnTo>
                        <a:pt x="120" y="36"/>
                      </a:lnTo>
                      <a:lnTo>
                        <a:pt x="114" y="42"/>
                      </a:lnTo>
                      <a:lnTo>
                        <a:pt x="102" y="54"/>
                      </a:lnTo>
                      <a:lnTo>
                        <a:pt x="78" y="66"/>
                      </a:lnTo>
                      <a:lnTo>
                        <a:pt x="54" y="84"/>
                      </a:lnTo>
                      <a:lnTo>
                        <a:pt x="30" y="90"/>
                      </a:lnTo>
                      <a:lnTo>
                        <a:pt x="12" y="96"/>
                      </a:lnTo>
                      <a:lnTo>
                        <a:pt x="6" y="96"/>
                      </a:lnTo>
                      <a:lnTo>
                        <a:pt x="0" y="90"/>
                      </a:lnTo>
                      <a:lnTo>
                        <a:pt x="0" y="84"/>
                      </a:lnTo>
                      <a:lnTo>
                        <a:pt x="6" y="78"/>
                      </a:lnTo>
                      <a:lnTo>
                        <a:pt x="12" y="66"/>
                      </a:lnTo>
                      <a:lnTo>
                        <a:pt x="18" y="60"/>
                      </a:lnTo>
                      <a:lnTo>
                        <a:pt x="30" y="48"/>
                      </a:lnTo>
                      <a:lnTo>
                        <a:pt x="36" y="36"/>
                      </a:lnTo>
                      <a:lnTo>
                        <a:pt x="54" y="24"/>
                      </a:lnTo>
                      <a:lnTo>
                        <a:pt x="72" y="12"/>
                      </a:lnTo>
                      <a:lnTo>
                        <a:pt x="96" y="0"/>
                      </a:lnTo>
                      <a:lnTo>
                        <a:pt x="10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0" name="Freeform 341">
                  <a:extLst>
                    <a:ext uri="{FF2B5EF4-FFF2-40B4-BE49-F238E27FC236}">
                      <a16:creationId xmlns:a16="http://schemas.microsoft.com/office/drawing/2014/main" id="{EA57E479-2BD9-48E1-B401-09674108FC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277" y="-8898"/>
                  <a:ext cx="750" cy="318"/>
                </a:xfrm>
                <a:custGeom>
                  <a:avLst/>
                  <a:gdLst>
                    <a:gd name="T0" fmla="*/ 462 w 750"/>
                    <a:gd name="T1" fmla="*/ 12 h 318"/>
                    <a:gd name="T2" fmla="*/ 504 w 750"/>
                    <a:gd name="T3" fmla="*/ 60 h 318"/>
                    <a:gd name="T4" fmla="*/ 612 w 750"/>
                    <a:gd name="T5" fmla="*/ 42 h 318"/>
                    <a:gd name="T6" fmla="*/ 642 w 750"/>
                    <a:gd name="T7" fmla="*/ 30 h 318"/>
                    <a:gd name="T8" fmla="*/ 684 w 750"/>
                    <a:gd name="T9" fmla="*/ 42 h 318"/>
                    <a:gd name="T10" fmla="*/ 732 w 750"/>
                    <a:gd name="T11" fmla="*/ 60 h 318"/>
                    <a:gd name="T12" fmla="*/ 750 w 750"/>
                    <a:gd name="T13" fmla="*/ 90 h 318"/>
                    <a:gd name="T14" fmla="*/ 720 w 750"/>
                    <a:gd name="T15" fmla="*/ 126 h 318"/>
                    <a:gd name="T16" fmla="*/ 678 w 750"/>
                    <a:gd name="T17" fmla="*/ 156 h 318"/>
                    <a:gd name="T18" fmla="*/ 642 w 750"/>
                    <a:gd name="T19" fmla="*/ 150 h 318"/>
                    <a:gd name="T20" fmla="*/ 636 w 750"/>
                    <a:gd name="T21" fmla="*/ 180 h 318"/>
                    <a:gd name="T22" fmla="*/ 612 w 750"/>
                    <a:gd name="T23" fmla="*/ 216 h 318"/>
                    <a:gd name="T24" fmla="*/ 570 w 750"/>
                    <a:gd name="T25" fmla="*/ 222 h 318"/>
                    <a:gd name="T26" fmla="*/ 546 w 750"/>
                    <a:gd name="T27" fmla="*/ 240 h 318"/>
                    <a:gd name="T28" fmla="*/ 528 w 750"/>
                    <a:gd name="T29" fmla="*/ 294 h 318"/>
                    <a:gd name="T30" fmla="*/ 486 w 750"/>
                    <a:gd name="T31" fmla="*/ 306 h 318"/>
                    <a:gd name="T32" fmla="*/ 450 w 750"/>
                    <a:gd name="T33" fmla="*/ 270 h 318"/>
                    <a:gd name="T34" fmla="*/ 444 w 750"/>
                    <a:gd name="T35" fmla="*/ 234 h 318"/>
                    <a:gd name="T36" fmla="*/ 468 w 750"/>
                    <a:gd name="T37" fmla="*/ 210 h 318"/>
                    <a:gd name="T38" fmla="*/ 492 w 750"/>
                    <a:gd name="T39" fmla="*/ 174 h 318"/>
                    <a:gd name="T40" fmla="*/ 480 w 750"/>
                    <a:gd name="T41" fmla="*/ 144 h 318"/>
                    <a:gd name="T42" fmla="*/ 438 w 750"/>
                    <a:gd name="T43" fmla="*/ 150 h 318"/>
                    <a:gd name="T44" fmla="*/ 402 w 750"/>
                    <a:gd name="T45" fmla="*/ 192 h 318"/>
                    <a:gd name="T46" fmla="*/ 372 w 750"/>
                    <a:gd name="T47" fmla="*/ 222 h 318"/>
                    <a:gd name="T48" fmla="*/ 330 w 750"/>
                    <a:gd name="T49" fmla="*/ 234 h 318"/>
                    <a:gd name="T50" fmla="*/ 312 w 750"/>
                    <a:gd name="T51" fmla="*/ 270 h 318"/>
                    <a:gd name="T52" fmla="*/ 294 w 750"/>
                    <a:gd name="T53" fmla="*/ 306 h 318"/>
                    <a:gd name="T54" fmla="*/ 264 w 750"/>
                    <a:gd name="T55" fmla="*/ 306 h 318"/>
                    <a:gd name="T56" fmla="*/ 246 w 750"/>
                    <a:gd name="T57" fmla="*/ 282 h 318"/>
                    <a:gd name="T58" fmla="*/ 204 w 750"/>
                    <a:gd name="T59" fmla="*/ 300 h 318"/>
                    <a:gd name="T60" fmla="*/ 156 w 750"/>
                    <a:gd name="T61" fmla="*/ 312 h 318"/>
                    <a:gd name="T62" fmla="*/ 120 w 750"/>
                    <a:gd name="T63" fmla="*/ 270 h 318"/>
                    <a:gd name="T64" fmla="*/ 60 w 750"/>
                    <a:gd name="T65" fmla="*/ 258 h 318"/>
                    <a:gd name="T66" fmla="*/ 0 w 750"/>
                    <a:gd name="T67" fmla="*/ 240 h 318"/>
                    <a:gd name="T68" fmla="*/ 12 w 750"/>
                    <a:gd name="T69" fmla="*/ 150 h 318"/>
                    <a:gd name="T70" fmla="*/ 42 w 750"/>
                    <a:gd name="T71" fmla="*/ 114 h 318"/>
                    <a:gd name="T72" fmla="*/ 102 w 750"/>
                    <a:gd name="T73" fmla="*/ 120 h 318"/>
                    <a:gd name="T74" fmla="*/ 150 w 750"/>
                    <a:gd name="T75" fmla="*/ 138 h 318"/>
                    <a:gd name="T76" fmla="*/ 180 w 750"/>
                    <a:gd name="T77" fmla="*/ 126 h 318"/>
                    <a:gd name="T78" fmla="*/ 216 w 750"/>
                    <a:gd name="T79" fmla="*/ 102 h 318"/>
                    <a:gd name="T80" fmla="*/ 318 w 750"/>
                    <a:gd name="T81" fmla="*/ 84 h 318"/>
                    <a:gd name="T82" fmla="*/ 342 w 750"/>
                    <a:gd name="T83" fmla="*/ 72 h 318"/>
                    <a:gd name="T84" fmla="*/ 342 w 750"/>
                    <a:gd name="T85" fmla="*/ 42 h 318"/>
                    <a:gd name="T86" fmla="*/ 372 w 750"/>
                    <a:gd name="T87" fmla="*/ 24 h 318"/>
                    <a:gd name="T88" fmla="*/ 420 w 750"/>
                    <a:gd name="T89" fmla="*/ 6 h 3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0" h="318">
                      <a:moveTo>
                        <a:pt x="450" y="0"/>
                      </a:moveTo>
                      <a:lnTo>
                        <a:pt x="456" y="0"/>
                      </a:lnTo>
                      <a:lnTo>
                        <a:pt x="462" y="12"/>
                      </a:lnTo>
                      <a:lnTo>
                        <a:pt x="474" y="24"/>
                      </a:lnTo>
                      <a:lnTo>
                        <a:pt x="480" y="36"/>
                      </a:lnTo>
                      <a:lnTo>
                        <a:pt x="504" y="60"/>
                      </a:lnTo>
                      <a:lnTo>
                        <a:pt x="546" y="66"/>
                      </a:lnTo>
                      <a:lnTo>
                        <a:pt x="588" y="60"/>
                      </a:lnTo>
                      <a:lnTo>
                        <a:pt x="612" y="42"/>
                      </a:lnTo>
                      <a:lnTo>
                        <a:pt x="624" y="30"/>
                      </a:lnTo>
                      <a:lnTo>
                        <a:pt x="630" y="24"/>
                      </a:lnTo>
                      <a:lnTo>
                        <a:pt x="642" y="30"/>
                      </a:lnTo>
                      <a:lnTo>
                        <a:pt x="654" y="30"/>
                      </a:lnTo>
                      <a:lnTo>
                        <a:pt x="666" y="36"/>
                      </a:lnTo>
                      <a:lnTo>
                        <a:pt x="684" y="42"/>
                      </a:lnTo>
                      <a:lnTo>
                        <a:pt x="702" y="48"/>
                      </a:lnTo>
                      <a:lnTo>
                        <a:pt x="720" y="54"/>
                      </a:lnTo>
                      <a:lnTo>
                        <a:pt x="732" y="60"/>
                      </a:lnTo>
                      <a:lnTo>
                        <a:pt x="744" y="72"/>
                      </a:lnTo>
                      <a:lnTo>
                        <a:pt x="750" y="78"/>
                      </a:lnTo>
                      <a:lnTo>
                        <a:pt x="750" y="90"/>
                      </a:lnTo>
                      <a:lnTo>
                        <a:pt x="744" y="102"/>
                      </a:lnTo>
                      <a:lnTo>
                        <a:pt x="732" y="114"/>
                      </a:lnTo>
                      <a:lnTo>
                        <a:pt x="720" y="126"/>
                      </a:lnTo>
                      <a:lnTo>
                        <a:pt x="702" y="138"/>
                      </a:lnTo>
                      <a:lnTo>
                        <a:pt x="690" y="150"/>
                      </a:lnTo>
                      <a:lnTo>
                        <a:pt x="678" y="156"/>
                      </a:lnTo>
                      <a:lnTo>
                        <a:pt x="660" y="150"/>
                      </a:lnTo>
                      <a:lnTo>
                        <a:pt x="648" y="150"/>
                      </a:lnTo>
                      <a:lnTo>
                        <a:pt x="642" y="150"/>
                      </a:lnTo>
                      <a:lnTo>
                        <a:pt x="636" y="156"/>
                      </a:lnTo>
                      <a:lnTo>
                        <a:pt x="636" y="168"/>
                      </a:lnTo>
                      <a:lnTo>
                        <a:pt x="636" y="180"/>
                      </a:lnTo>
                      <a:lnTo>
                        <a:pt x="630" y="198"/>
                      </a:lnTo>
                      <a:lnTo>
                        <a:pt x="624" y="210"/>
                      </a:lnTo>
                      <a:lnTo>
                        <a:pt x="612" y="216"/>
                      </a:lnTo>
                      <a:lnTo>
                        <a:pt x="600" y="222"/>
                      </a:lnTo>
                      <a:lnTo>
                        <a:pt x="582" y="222"/>
                      </a:lnTo>
                      <a:lnTo>
                        <a:pt x="570" y="222"/>
                      </a:lnTo>
                      <a:lnTo>
                        <a:pt x="558" y="222"/>
                      </a:lnTo>
                      <a:lnTo>
                        <a:pt x="552" y="228"/>
                      </a:lnTo>
                      <a:lnTo>
                        <a:pt x="546" y="240"/>
                      </a:lnTo>
                      <a:lnTo>
                        <a:pt x="540" y="258"/>
                      </a:lnTo>
                      <a:lnTo>
                        <a:pt x="534" y="276"/>
                      </a:lnTo>
                      <a:lnTo>
                        <a:pt x="528" y="294"/>
                      </a:lnTo>
                      <a:lnTo>
                        <a:pt x="516" y="300"/>
                      </a:lnTo>
                      <a:lnTo>
                        <a:pt x="504" y="306"/>
                      </a:lnTo>
                      <a:lnTo>
                        <a:pt x="486" y="306"/>
                      </a:lnTo>
                      <a:lnTo>
                        <a:pt x="474" y="300"/>
                      </a:lnTo>
                      <a:lnTo>
                        <a:pt x="462" y="288"/>
                      </a:lnTo>
                      <a:lnTo>
                        <a:pt x="450" y="270"/>
                      </a:lnTo>
                      <a:lnTo>
                        <a:pt x="438" y="258"/>
                      </a:lnTo>
                      <a:lnTo>
                        <a:pt x="438" y="246"/>
                      </a:lnTo>
                      <a:lnTo>
                        <a:pt x="444" y="234"/>
                      </a:lnTo>
                      <a:lnTo>
                        <a:pt x="450" y="222"/>
                      </a:lnTo>
                      <a:lnTo>
                        <a:pt x="456" y="216"/>
                      </a:lnTo>
                      <a:lnTo>
                        <a:pt x="468" y="210"/>
                      </a:lnTo>
                      <a:lnTo>
                        <a:pt x="480" y="198"/>
                      </a:lnTo>
                      <a:lnTo>
                        <a:pt x="486" y="186"/>
                      </a:lnTo>
                      <a:lnTo>
                        <a:pt x="492" y="174"/>
                      </a:lnTo>
                      <a:lnTo>
                        <a:pt x="498" y="162"/>
                      </a:lnTo>
                      <a:lnTo>
                        <a:pt x="492" y="150"/>
                      </a:lnTo>
                      <a:lnTo>
                        <a:pt x="480" y="144"/>
                      </a:lnTo>
                      <a:lnTo>
                        <a:pt x="468" y="144"/>
                      </a:lnTo>
                      <a:lnTo>
                        <a:pt x="456" y="144"/>
                      </a:lnTo>
                      <a:lnTo>
                        <a:pt x="438" y="150"/>
                      </a:lnTo>
                      <a:lnTo>
                        <a:pt x="420" y="162"/>
                      </a:lnTo>
                      <a:lnTo>
                        <a:pt x="414" y="174"/>
                      </a:lnTo>
                      <a:lnTo>
                        <a:pt x="402" y="192"/>
                      </a:lnTo>
                      <a:lnTo>
                        <a:pt x="390" y="210"/>
                      </a:lnTo>
                      <a:lnTo>
                        <a:pt x="384" y="216"/>
                      </a:lnTo>
                      <a:lnTo>
                        <a:pt x="372" y="222"/>
                      </a:lnTo>
                      <a:lnTo>
                        <a:pt x="360" y="228"/>
                      </a:lnTo>
                      <a:lnTo>
                        <a:pt x="342" y="228"/>
                      </a:lnTo>
                      <a:lnTo>
                        <a:pt x="330" y="234"/>
                      </a:lnTo>
                      <a:lnTo>
                        <a:pt x="324" y="240"/>
                      </a:lnTo>
                      <a:lnTo>
                        <a:pt x="318" y="258"/>
                      </a:lnTo>
                      <a:lnTo>
                        <a:pt x="312" y="270"/>
                      </a:lnTo>
                      <a:lnTo>
                        <a:pt x="312" y="288"/>
                      </a:lnTo>
                      <a:lnTo>
                        <a:pt x="306" y="294"/>
                      </a:lnTo>
                      <a:lnTo>
                        <a:pt x="294" y="306"/>
                      </a:lnTo>
                      <a:lnTo>
                        <a:pt x="282" y="306"/>
                      </a:lnTo>
                      <a:lnTo>
                        <a:pt x="276" y="306"/>
                      </a:lnTo>
                      <a:lnTo>
                        <a:pt x="264" y="306"/>
                      </a:lnTo>
                      <a:lnTo>
                        <a:pt x="258" y="294"/>
                      </a:lnTo>
                      <a:lnTo>
                        <a:pt x="252" y="288"/>
                      </a:lnTo>
                      <a:lnTo>
                        <a:pt x="246" y="282"/>
                      </a:lnTo>
                      <a:lnTo>
                        <a:pt x="234" y="282"/>
                      </a:lnTo>
                      <a:lnTo>
                        <a:pt x="222" y="288"/>
                      </a:lnTo>
                      <a:lnTo>
                        <a:pt x="204" y="300"/>
                      </a:lnTo>
                      <a:lnTo>
                        <a:pt x="186" y="312"/>
                      </a:lnTo>
                      <a:lnTo>
                        <a:pt x="168" y="318"/>
                      </a:lnTo>
                      <a:lnTo>
                        <a:pt x="156" y="312"/>
                      </a:lnTo>
                      <a:lnTo>
                        <a:pt x="144" y="306"/>
                      </a:lnTo>
                      <a:lnTo>
                        <a:pt x="132" y="294"/>
                      </a:lnTo>
                      <a:lnTo>
                        <a:pt x="120" y="270"/>
                      </a:lnTo>
                      <a:lnTo>
                        <a:pt x="108" y="252"/>
                      </a:lnTo>
                      <a:lnTo>
                        <a:pt x="84" y="252"/>
                      </a:lnTo>
                      <a:lnTo>
                        <a:pt x="60" y="258"/>
                      </a:lnTo>
                      <a:lnTo>
                        <a:pt x="36" y="264"/>
                      </a:lnTo>
                      <a:lnTo>
                        <a:pt x="12" y="258"/>
                      </a:lnTo>
                      <a:lnTo>
                        <a:pt x="0" y="240"/>
                      </a:lnTo>
                      <a:lnTo>
                        <a:pt x="0" y="210"/>
                      </a:lnTo>
                      <a:lnTo>
                        <a:pt x="6" y="180"/>
                      </a:lnTo>
                      <a:lnTo>
                        <a:pt x="12" y="150"/>
                      </a:lnTo>
                      <a:lnTo>
                        <a:pt x="18" y="132"/>
                      </a:lnTo>
                      <a:lnTo>
                        <a:pt x="30" y="120"/>
                      </a:lnTo>
                      <a:lnTo>
                        <a:pt x="42" y="114"/>
                      </a:lnTo>
                      <a:lnTo>
                        <a:pt x="60" y="114"/>
                      </a:lnTo>
                      <a:lnTo>
                        <a:pt x="78" y="114"/>
                      </a:lnTo>
                      <a:lnTo>
                        <a:pt x="102" y="120"/>
                      </a:lnTo>
                      <a:lnTo>
                        <a:pt x="120" y="132"/>
                      </a:lnTo>
                      <a:lnTo>
                        <a:pt x="138" y="138"/>
                      </a:lnTo>
                      <a:lnTo>
                        <a:pt x="150" y="138"/>
                      </a:lnTo>
                      <a:lnTo>
                        <a:pt x="162" y="132"/>
                      </a:lnTo>
                      <a:lnTo>
                        <a:pt x="174" y="126"/>
                      </a:lnTo>
                      <a:lnTo>
                        <a:pt x="180" y="126"/>
                      </a:lnTo>
                      <a:lnTo>
                        <a:pt x="186" y="120"/>
                      </a:lnTo>
                      <a:lnTo>
                        <a:pt x="192" y="114"/>
                      </a:lnTo>
                      <a:lnTo>
                        <a:pt x="216" y="102"/>
                      </a:lnTo>
                      <a:lnTo>
                        <a:pt x="258" y="90"/>
                      </a:lnTo>
                      <a:lnTo>
                        <a:pt x="306" y="84"/>
                      </a:lnTo>
                      <a:lnTo>
                        <a:pt x="318" y="84"/>
                      </a:lnTo>
                      <a:lnTo>
                        <a:pt x="330" y="84"/>
                      </a:lnTo>
                      <a:lnTo>
                        <a:pt x="336" y="78"/>
                      </a:lnTo>
                      <a:lnTo>
                        <a:pt x="342" y="72"/>
                      </a:lnTo>
                      <a:lnTo>
                        <a:pt x="342" y="66"/>
                      </a:lnTo>
                      <a:lnTo>
                        <a:pt x="342" y="48"/>
                      </a:lnTo>
                      <a:lnTo>
                        <a:pt x="342" y="42"/>
                      </a:lnTo>
                      <a:lnTo>
                        <a:pt x="348" y="36"/>
                      </a:lnTo>
                      <a:lnTo>
                        <a:pt x="360" y="30"/>
                      </a:lnTo>
                      <a:lnTo>
                        <a:pt x="372" y="24"/>
                      </a:lnTo>
                      <a:lnTo>
                        <a:pt x="390" y="18"/>
                      </a:lnTo>
                      <a:lnTo>
                        <a:pt x="408" y="12"/>
                      </a:lnTo>
                      <a:lnTo>
                        <a:pt x="420" y="6"/>
                      </a:lnTo>
                      <a:lnTo>
                        <a:pt x="438" y="0"/>
                      </a:lnTo>
                      <a:lnTo>
                        <a:pt x="45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1" name="Freeform 342">
                  <a:extLst>
                    <a:ext uri="{FF2B5EF4-FFF2-40B4-BE49-F238E27FC236}">
                      <a16:creationId xmlns:a16="http://schemas.microsoft.com/office/drawing/2014/main" id="{1EE61F19-9009-460B-B9D4-26AF793D6D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299" y="-8982"/>
                  <a:ext cx="318" cy="102"/>
                </a:xfrm>
                <a:custGeom>
                  <a:avLst/>
                  <a:gdLst>
                    <a:gd name="T0" fmla="*/ 246 w 318"/>
                    <a:gd name="T1" fmla="*/ 0 h 102"/>
                    <a:gd name="T2" fmla="*/ 276 w 318"/>
                    <a:gd name="T3" fmla="*/ 6 h 102"/>
                    <a:gd name="T4" fmla="*/ 288 w 318"/>
                    <a:gd name="T5" fmla="*/ 12 h 102"/>
                    <a:gd name="T6" fmla="*/ 300 w 318"/>
                    <a:gd name="T7" fmla="*/ 18 h 102"/>
                    <a:gd name="T8" fmla="*/ 306 w 318"/>
                    <a:gd name="T9" fmla="*/ 36 h 102"/>
                    <a:gd name="T10" fmla="*/ 318 w 318"/>
                    <a:gd name="T11" fmla="*/ 48 h 102"/>
                    <a:gd name="T12" fmla="*/ 318 w 318"/>
                    <a:gd name="T13" fmla="*/ 60 h 102"/>
                    <a:gd name="T14" fmla="*/ 318 w 318"/>
                    <a:gd name="T15" fmla="*/ 72 h 102"/>
                    <a:gd name="T16" fmla="*/ 312 w 318"/>
                    <a:gd name="T17" fmla="*/ 84 h 102"/>
                    <a:gd name="T18" fmla="*/ 300 w 318"/>
                    <a:gd name="T19" fmla="*/ 90 h 102"/>
                    <a:gd name="T20" fmla="*/ 288 w 318"/>
                    <a:gd name="T21" fmla="*/ 96 h 102"/>
                    <a:gd name="T22" fmla="*/ 270 w 318"/>
                    <a:gd name="T23" fmla="*/ 102 h 102"/>
                    <a:gd name="T24" fmla="*/ 252 w 318"/>
                    <a:gd name="T25" fmla="*/ 102 h 102"/>
                    <a:gd name="T26" fmla="*/ 234 w 318"/>
                    <a:gd name="T27" fmla="*/ 102 h 102"/>
                    <a:gd name="T28" fmla="*/ 222 w 318"/>
                    <a:gd name="T29" fmla="*/ 102 h 102"/>
                    <a:gd name="T30" fmla="*/ 204 w 318"/>
                    <a:gd name="T31" fmla="*/ 96 h 102"/>
                    <a:gd name="T32" fmla="*/ 192 w 318"/>
                    <a:gd name="T33" fmla="*/ 96 h 102"/>
                    <a:gd name="T34" fmla="*/ 174 w 318"/>
                    <a:gd name="T35" fmla="*/ 96 h 102"/>
                    <a:gd name="T36" fmla="*/ 162 w 318"/>
                    <a:gd name="T37" fmla="*/ 96 h 102"/>
                    <a:gd name="T38" fmla="*/ 150 w 318"/>
                    <a:gd name="T39" fmla="*/ 90 h 102"/>
                    <a:gd name="T40" fmla="*/ 120 w 318"/>
                    <a:gd name="T41" fmla="*/ 84 h 102"/>
                    <a:gd name="T42" fmla="*/ 84 w 318"/>
                    <a:gd name="T43" fmla="*/ 84 h 102"/>
                    <a:gd name="T44" fmla="*/ 42 w 318"/>
                    <a:gd name="T45" fmla="*/ 84 h 102"/>
                    <a:gd name="T46" fmla="*/ 24 w 318"/>
                    <a:gd name="T47" fmla="*/ 78 h 102"/>
                    <a:gd name="T48" fmla="*/ 12 w 318"/>
                    <a:gd name="T49" fmla="*/ 78 h 102"/>
                    <a:gd name="T50" fmla="*/ 0 w 318"/>
                    <a:gd name="T51" fmla="*/ 72 h 102"/>
                    <a:gd name="T52" fmla="*/ 0 w 318"/>
                    <a:gd name="T53" fmla="*/ 66 h 102"/>
                    <a:gd name="T54" fmla="*/ 6 w 318"/>
                    <a:gd name="T55" fmla="*/ 66 h 102"/>
                    <a:gd name="T56" fmla="*/ 24 w 318"/>
                    <a:gd name="T57" fmla="*/ 54 h 102"/>
                    <a:gd name="T58" fmla="*/ 96 w 318"/>
                    <a:gd name="T59" fmla="*/ 30 h 102"/>
                    <a:gd name="T60" fmla="*/ 174 w 318"/>
                    <a:gd name="T61" fmla="*/ 6 h 102"/>
                    <a:gd name="T62" fmla="*/ 204 w 318"/>
                    <a:gd name="T63" fmla="*/ 0 h 102"/>
                    <a:gd name="T64" fmla="*/ 246 w 318"/>
                    <a:gd name="T6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18" h="102">
                      <a:moveTo>
                        <a:pt x="246" y="0"/>
                      </a:moveTo>
                      <a:lnTo>
                        <a:pt x="276" y="6"/>
                      </a:lnTo>
                      <a:lnTo>
                        <a:pt x="288" y="12"/>
                      </a:lnTo>
                      <a:lnTo>
                        <a:pt x="300" y="18"/>
                      </a:lnTo>
                      <a:lnTo>
                        <a:pt x="306" y="36"/>
                      </a:lnTo>
                      <a:lnTo>
                        <a:pt x="318" y="48"/>
                      </a:lnTo>
                      <a:lnTo>
                        <a:pt x="318" y="60"/>
                      </a:lnTo>
                      <a:lnTo>
                        <a:pt x="318" y="72"/>
                      </a:lnTo>
                      <a:lnTo>
                        <a:pt x="312" y="84"/>
                      </a:lnTo>
                      <a:lnTo>
                        <a:pt x="300" y="90"/>
                      </a:lnTo>
                      <a:lnTo>
                        <a:pt x="288" y="96"/>
                      </a:lnTo>
                      <a:lnTo>
                        <a:pt x="270" y="102"/>
                      </a:lnTo>
                      <a:lnTo>
                        <a:pt x="252" y="102"/>
                      </a:lnTo>
                      <a:lnTo>
                        <a:pt x="234" y="102"/>
                      </a:lnTo>
                      <a:lnTo>
                        <a:pt x="222" y="102"/>
                      </a:lnTo>
                      <a:lnTo>
                        <a:pt x="204" y="96"/>
                      </a:lnTo>
                      <a:lnTo>
                        <a:pt x="192" y="96"/>
                      </a:lnTo>
                      <a:lnTo>
                        <a:pt x="174" y="96"/>
                      </a:lnTo>
                      <a:lnTo>
                        <a:pt x="162" y="96"/>
                      </a:lnTo>
                      <a:lnTo>
                        <a:pt x="150" y="90"/>
                      </a:lnTo>
                      <a:lnTo>
                        <a:pt x="120" y="84"/>
                      </a:lnTo>
                      <a:lnTo>
                        <a:pt x="84" y="84"/>
                      </a:lnTo>
                      <a:lnTo>
                        <a:pt x="42" y="84"/>
                      </a:lnTo>
                      <a:lnTo>
                        <a:pt x="24" y="78"/>
                      </a:lnTo>
                      <a:lnTo>
                        <a:pt x="12" y="78"/>
                      </a:lnTo>
                      <a:lnTo>
                        <a:pt x="0" y="72"/>
                      </a:lnTo>
                      <a:lnTo>
                        <a:pt x="0" y="66"/>
                      </a:lnTo>
                      <a:lnTo>
                        <a:pt x="6" y="66"/>
                      </a:lnTo>
                      <a:lnTo>
                        <a:pt x="24" y="54"/>
                      </a:lnTo>
                      <a:lnTo>
                        <a:pt x="96" y="30"/>
                      </a:lnTo>
                      <a:lnTo>
                        <a:pt x="174" y="6"/>
                      </a:lnTo>
                      <a:lnTo>
                        <a:pt x="204" y="0"/>
                      </a:lnTo>
                      <a:lnTo>
                        <a:pt x="24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2" name="Freeform 343">
                  <a:extLst>
                    <a:ext uri="{FF2B5EF4-FFF2-40B4-BE49-F238E27FC236}">
                      <a16:creationId xmlns:a16="http://schemas.microsoft.com/office/drawing/2014/main" id="{4C7F44AE-FF11-473B-9215-B0A1D60ADB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317" y="-8838"/>
                  <a:ext cx="270" cy="132"/>
                </a:xfrm>
                <a:custGeom>
                  <a:avLst/>
                  <a:gdLst>
                    <a:gd name="T0" fmla="*/ 234 w 270"/>
                    <a:gd name="T1" fmla="*/ 0 h 132"/>
                    <a:gd name="T2" fmla="*/ 246 w 270"/>
                    <a:gd name="T3" fmla="*/ 6 h 132"/>
                    <a:gd name="T4" fmla="*/ 258 w 270"/>
                    <a:gd name="T5" fmla="*/ 6 h 132"/>
                    <a:gd name="T6" fmla="*/ 258 w 270"/>
                    <a:gd name="T7" fmla="*/ 12 h 132"/>
                    <a:gd name="T8" fmla="*/ 264 w 270"/>
                    <a:gd name="T9" fmla="*/ 24 h 132"/>
                    <a:gd name="T10" fmla="*/ 264 w 270"/>
                    <a:gd name="T11" fmla="*/ 30 h 132"/>
                    <a:gd name="T12" fmla="*/ 264 w 270"/>
                    <a:gd name="T13" fmla="*/ 42 h 132"/>
                    <a:gd name="T14" fmla="*/ 264 w 270"/>
                    <a:gd name="T15" fmla="*/ 54 h 132"/>
                    <a:gd name="T16" fmla="*/ 270 w 270"/>
                    <a:gd name="T17" fmla="*/ 60 h 132"/>
                    <a:gd name="T18" fmla="*/ 270 w 270"/>
                    <a:gd name="T19" fmla="*/ 66 h 132"/>
                    <a:gd name="T20" fmla="*/ 264 w 270"/>
                    <a:gd name="T21" fmla="*/ 72 h 132"/>
                    <a:gd name="T22" fmla="*/ 258 w 270"/>
                    <a:gd name="T23" fmla="*/ 72 h 132"/>
                    <a:gd name="T24" fmla="*/ 252 w 270"/>
                    <a:gd name="T25" fmla="*/ 78 h 132"/>
                    <a:gd name="T26" fmla="*/ 240 w 270"/>
                    <a:gd name="T27" fmla="*/ 78 h 132"/>
                    <a:gd name="T28" fmla="*/ 234 w 270"/>
                    <a:gd name="T29" fmla="*/ 78 h 132"/>
                    <a:gd name="T30" fmla="*/ 222 w 270"/>
                    <a:gd name="T31" fmla="*/ 90 h 132"/>
                    <a:gd name="T32" fmla="*/ 222 w 270"/>
                    <a:gd name="T33" fmla="*/ 96 h 132"/>
                    <a:gd name="T34" fmla="*/ 216 w 270"/>
                    <a:gd name="T35" fmla="*/ 114 h 132"/>
                    <a:gd name="T36" fmla="*/ 210 w 270"/>
                    <a:gd name="T37" fmla="*/ 120 h 132"/>
                    <a:gd name="T38" fmla="*/ 198 w 270"/>
                    <a:gd name="T39" fmla="*/ 126 h 132"/>
                    <a:gd name="T40" fmla="*/ 186 w 270"/>
                    <a:gd name="T41" fmla="*/ 132 h 132"/>
                    <a:gd name="T42" fmla="*/ 168 w 270"/>
                    <a:gd name="T43" fmla="*/ 132 h 132"/>
                    <a:gd name="T44" fmla="*/ 156 w 270"/>
                    <a:gd name="T45" fmla="*/ 132 h 132"/>
                    <a:gd name="T46" fmla="*/ 102 w 270"/>
                    <a:gd name="T47" fmla="*/ 126 h 132"/>
                    <a:gd name="T48" fmla="*/ 54 w 270"/>
                    <a:gd name="T49" fmla="*/ 132 h 132"/>
                    <a:gd name="T50" fmla="*/ 36 w 270"/>
                    <a:gd name="T51" fmla="*/ 132 h 132"/>
                    <a:gd name="T52" fmla="*/ 24 w 270"/>
                    <a:gd name="T53" fmla="*/ 126 h 132"/>
                    <a:gd name="T54" fmla="*/ 18 w 270"/>
                    <a:gd name="T55" fmla="*/ 120 h 132"/>
                    <a:gd name="T56" fmla="*/ 12 w 270"/>
                    <a:gd name="T57" fmla="*/ 108 h 132"/>
                    <a:gd name="T58" fmla="*/ 6 w 270"/>
                    <a:gd name="T59" fmla="*/ 90 h 132"/>
                    <a:gd name="T60" fmla="*/ 0 w 270"/>
                    <a:gd name="T61" fmla="*/ 72 h 132"/>
                    <a:gd name="T62" fmla="*/ 0 w 270"/>
                    <a:gd name="T63" fmla="*/ 54 h 132"/>
                    <a:gd name="T64" fmla="*/ 0 w 270"/>
                    <a:gd name="T65" fmla="*/ 42 h 132"/>
                    <a:gd name="T66" fmla="*/ 6 w 270"/>
                    <a:gd name="T67" fmla="*/ 36 h 132"/>
                    <a:gd name="T68" fmla="*/ 18 w 270"/>
                    <a:gd name="T69" fmla="*/ 30 h 132"/>
                    <a:gd name="T70" fmla="*/ 24 w 270"/>
                    <a:gd name="T71" fmla="*/ 24 h 132"/>
                    <a:gd name="T72" fmla="*/ 36 w 270"/>
                    <a:gd name="T73" fmla="*/ 18 h 132"/>
                    <a:gd name="T74" fmla="*/ 54 w 270"/>
                    <a:gd name="T75" fmla="*/ 12 h 132"/>
                    <a:gd name="T76" fmla="*/ 84 w 270"/>
                    <a:gd name="T77" fmla="*/ 6 h 132"/>
                    <a:gd name="T78" fmla="*/ 132 w 270"/>
                    <a:gd name="T79" fmla="*/ 6 h 132"/>
                    <a:gd name="T80" fmla="*/ 186 w 270"/>
                    <a:gd name="T81" fmla="*/ 0 h 132"/>
                    <a:gd name="T82" fmla="*/ 234 w 270"/>
                    <a:gd name="T83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70" h="132">
                      <a:moveTo>
                        <a:pt x="234" y="0"/>
                      </a:moveTo>
                      <a:lnTo>
                        <a:pt x="246" y="6"/>
                      </a:lnTo>
                      <a:lnTo>
                        <a:pt x="258" y="6"/>
                      </a:lnTo>
                      <a:lnTo>
                        <a:pt x="258" y="12"/>
                      </a:lnTo>
                      <a:lnTo>
                        <a:pt x="264" y="24"/>
                      </a:lnTo>
                      <a:lnTo>
                        <a:pt x="264" y="30"/>
                      </a:lnTo>
                      <a:lnTo>
                        <a:pt x="264" y="42"/>
                      </a:lnTo>
                      <a:lnTo>
                        <a:pt x="264" y="54"/>
                      </a:lnTo>
                      <a:lnTo>
                        <a:pt x="270" y="60"/>
                      </a:lnTo>
                      <a:lnTo>
                        <a:pt x="270" y="66"/>
                      </a:lnTo>
                      <a:lnTo>
                        <a:pt x="264" y="72"/>
                      </a:lnTo>
                      <a:lnTo>
                        <a:pt x="258" y="72"/>
                      </a:lnTo>
                      <a:lnTo>
                        <a:pt x="252" y="78"/>
                      </a:lnTo>
                      <a:lnTo>
                        <a:pt x="240" y="78"/>
                      </a:lnTo>
                      <a:lnTo>
                        <a:pt x="234" y="78"/>
                      </a:lnTo>
                      <a:lnTo>
                        <a:pt x="222" y="90"/>
                      </a:lnTo>
                      <a:lnTo>
                        <a:pt x="222" y="96"/>
                      </a:lnTo>
                      <a:lnTo>
                        <a:pt x="216" y="114"/>
                      </a:lnTo>
                      <a:lnTo>
                        <a:pt x="210" y="120"/>
                      </a:lnTo>
                      <a:lnTo>
                        <a:pt x="198" y="126"/>
                      </a:lnTo>
                      <a:lnTo>
                        <a:pt x="186" y="132"/>
                      </a:lnTo>
                      <a:lnTo>
                        <a:pt x="168" y="132"/>
                      </a:lnTo>
                      <a:lnTo>
                        <a:pt x="156" y="132"/>
                      </a:lnTo>
                      <a:lnTo>
                        <a:pt x="102" y="126"/>
                      </a:lnTo>
                      <a:lnTo>
                        <a:pt x="54" y="132"/>
                      </a:lnTo>
                      <a:lnTo>
                        <a:pt x="36" y="132"/>
                      </a:lnTo>
                      <a:lnTo>
                        <a:pt x="24" y="126"/>
                      </a:lnTo>
                      <a:lnTo>
                        <a:pt x="18" y="120"/>
                      </a:lnTo>
                      <a:lnTo>
                        <a:pt x="12" y="108"/>
                      </a:lnTo>
                      <a:lnTo>
                        <a:pt x="6" y="90"/>
                      </a:lnTo>
                      <a:lnTo>
                        <a:pt x="0" y="72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6" y="36"/>
                      </a:lnTo>
                      <a:lnTo>
                        <a:pt x="18" y="30"/>
                      </a:lnTo>
                      <a:lnTo>
                        <a:pt x="24" y="24"/>
                      </a:lnTo>
                      <a:lnTo>
                        <a:pt x="36" y="18"/>
                      </a:lnTo>
                      <a:lnTo>
                        <a:pt x="54" y="12"/>
                      </a:lnTo>
                      <a:lnTo>
                        <a:pt x="84" y="6"/>
                      </a:lnTo>
                      <a:lnTo>
                        <a:pt x="132" y="6"/>
                      </a:lnTo>
                      <a:lnTo>
                        <a:pt x="186" y="0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3" name="Freeform 350">
                  <a:extLst>
                    <a:ext uri="{FF2B5EF4-FFF2-40B4-BE49-F238E27FC236}">
                      <a16:creationId xmlns:a16="http://schemas.microsoft.com/office/drawing/2014/main" id="{C72A2E1F-D830-434D-AC21-925241ECD9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05" y="-7650"/>
                  <a:ext cx="510" cy="546"/>
                </a:xfrm>
                <a:custGeom>
                  <a:avLst/>
                  <a:gdLst>
                    <a:gd name="T0" fmla="*/ 336 w 510"/>
                    <a:gd name="T1" fmla="*/ 18 h 546"/>
                    <a:gd name="T2" fmla="*/ 366 w 510"/>
                    <a:gd name="T3" fmla="*/ 54 h 546"/>
                    <a:gd name="T4" fmla="*/ 390 w 510"/>
                    <a:gd name="T5" fmla="*/ 48 h 546"/>
                    <a:gd name="T6" fmla="*/ 432 w 510"/>
                    <a:gd name="T7" fmla="*/ 30 h 546"/>
                    <a:gd name="T8" fmla="*/ 474 w 510"/>
                    <a:gd name="T9" fmla="*/ 36 h 546"/>
                    <a:gd name="T10" fmla="*/ 474 w 510"/>
                    <a:gd name="T11" fmla="*/ 66 h 546"/>
                    <a:gd name="T12" fmla="*/ 486 w 510"/>
                    <a:gd name="T13" fmla="*/ 90 h 546"/>
                    <a:gd name="T14" fmla="*/ 510 w 510"/>
                    <a:gd name="T15" fmla="*/ 102 h 546"/>
                    <a:gd name="T16" fmla="*/ 486 w 510"/>
                    <a:gd name="T17" fmla="*/ 120 h 546"/>
                    <a:gd name="T18" fmla="*/ 444 w 510"/>
                    <a:gd name="T19" fmla="*/ 132 h 546"/>
                    <a:gd name="T20" fmla="*/ 402 w 510"/>
                    <a:gd name="T21" fmla="*/ 138 h 546"/>
                    <a:gd name="T22" fmla="*/ 300 w 510"/>
                    <a:gd name="T23" fmla="*/ 174 h 546"/>
                    <a:gd name="T24" fmla="*/ 264 w 510"/>
                    <a:gd name="T25" fmla="*/ 222 h 546"/>
                    <a:gd name="T26" fmla="*/ 282 w 510"/>
                    <a:gd name="T27" fmla="*/ 270 h 546"/>
                    <a:gd name="T28" fmla="*/ 306 w 510"/>
                    <a:gd name="T29" fmla="*/ 270 h 546"/>
                    <a:gd name="T30" fmla="*/ 324 w 510"/>
                    <a:gd name="T31" fmla="*/ 234 h 546"/>
                    <a:gd name="T32" fmla="*/ 354 w 510"/>
                    <a:gd name="T33" fmla="*/ 204 h 546"/>
                    <a:gd name="T34" fmla="*/ 384 w 510"/>
                    <a:gd name="T35" fmla="*/ 216 h 546"/>
                    <a:gd name="T36" fmla="*/ 384 w 510"/>
                    <a:gd name="T37" fmla="*/ 246 h 546"/>
                    <a:gd name="T38" fmla="*/ 384 w 510"/>
                    <a:gd name="T39" fmla="*/ 276 h 546"/>
                    <a:gd name="T40" fmla="*/ 396 w 510"/>
                    <a:gd name="T41" fmla="*/ 300 h 546"/>
                    <a:gd name="T42" fmla="*/ 372 w 510"/>
                    <a:gd name="T43" fmla="*/ 318 h 546"/>
                    <a:gd name="T44" fmla="*/ 354 w 510"/>
                    <a:gd name="T45" fmla="*/ 336 h 546"/>
                    <a:gd name="T46" fmla="*/ 366 w 510"/>
                    <a:gd name="T47" fmla="*/ 366 h 546"/>
                    <a:gd name="T48" fmla="*/ 378 w 510"/>
                    <a:gd name="T49" fmla="*/ 384 h 546"/>
                    <a:gd name="T50" fmla="*/ 366 w 510"/>
                    <a:gd name="T51" fmla="*/ 426 h 546"/>
                    <a:gd name="T52" fmla="*/ 318 w 510"/>
                    <a:gd name="T53" fmla="*/ 462 h 546"/>
                    <a:gd name="T54" fmla="*/ 276 w 510"/>
                    <a:gd name="T55" fmla="*/ 468 h 546"/>
                    <a:gd name="T56" fmla="*/ 264 w 510"/>
                    <a:gd name="T57" fmla="*/ 438 h 546"/>
                    <a:gd name="T58" fmla="*/ 264 w 510"/>
                    <a:gd name="T59" fmla="*/ 402 h 546"/>
                    <a:gd name="T60" fmla="*/ 246 w 510"/>
                    <a:gd name="T61" fmla="*/ 396 h 546"/>
                    <a:gd name="T62" fmla="*/ 216 w 510"/>
                    <a:gd name="T63" fmla="*/ 414 h 546"/>
                    <a:gd name="T64" fmla="*/ 210 w 510"/>
                    <a:gd name="T65" fmla="*/ 456 h 546"/>
                    <a:gd name="T66" fmla="*/ 216 w 510"/>
                    <a:gd name="T67" fmla="*/ 504 h 546"/>
                    <a:gd name="T68" fmla="*/ 192 w 510"/>
                    <a:gd name="T69" fmla="*/ 528 h 546"/>
                    <a:gd name="T70" fmla="*/ 156 w 510"/>
                    <a:gd name="T71" fmla="*/ 546 h 546"/>
                    <a:gd name="T72" fmla="*/ 132 w 510"/>
                    <a:gd name="T73" fmla="*/ 528 h 546"/>
                    <a:gd name="T74" fmla="*/ 132 w 510"/>
                    <a:gd name="T75" fmla="*/ 498 h 546"/>
                    <a:gd name="T76" fmla="*/ 132 w 510"/>
                    <a:gd name="T77" fmla="*/ 462 h 546"/>
                    <a:gd name="T78" fmla="*/ 120 w 510"/>
                    <a:gd name="T79" fmla="*/ 414 h 546"/>
                    <a:gd name="T80" fmla="*/ 132 w 510"/>
                    <a:gd name="T81" fmla="*/ 366 h 546"/>
                    <a:gd name="T82" fmla="*/ 96 w 510"/>
                    <a:gd name="T83" fmla="*/ 342 h 546"/>
                    <a:gd name="T84" fmla="*/ 54 w 510"/>
                    <a:gd name="T85" fmla="*/ 336 h 546"/>
                    <a:gd name="T86" fmla="*/ 48 w 510"/>
                    <a:gd name="T87" fmla="*/ 300 h 546"/>
                    <a:gd name="T88" fmla="*/ 54 w 510"/>
                    <a:gd name="T89" fmla="*/ 258 h 546"/>
                    <a:gd name="T90" fmla="*/ 24 w 510"/>
                    <a:gd name="T91" fmla="*/ 222 h 546"/>
                    <a:gd name="T92" fmla="*/ 0 w 510"/>
                    <a:gd name="T93" fmla="*/ 204 h 546"/>
                    <a:gd name="T94" fmla="*/ 12 w 510"/>
                    <a:gd name="T95" fmla="*/ 168 h 546"/>
                    <a:gd name="T96" fmla="*/ 48 w 510"/>
                    <a:gd name="T97" fmla="*/ 132 h 546"/>
                    <a:gd name="T98" fmla="*/ 96 w 510"/>
                    <a:gd name="T99" fmla="*/ 150 h 546"/>
                    <a:gd name="T100" fmla="*/ 102 w 510"/>
                    <a:gd name="T101" fmla="*/ 180 h 546"/>
                    <a:gd name="T102" fmla="*/ 126 w 510"/>
                    <a:gd name="T103" fmla="*/ 192 h 546"/>
                    <a:gd name="T104" fmla="*/ 150 w 510"/>
                    <a:gd name="T105" fmla="*/ 186 h 546"/>
                    <a:gd name="T106" fmla="*/ 174 w 510"/>
                    <a:gd name="T107" fmla="*/ 174 h 546"/>
                    <a:gd name="T108" fmla="*/ 204 w 510"/>
                    <a:gd name="T109" fmla="*/ 144 h 546"/>
                    <a:gd name="T110" fmla="*/ 186 w 510"/>
                    <a:gd name="T111" fmla="*/ 114 h 546"/>
                    <a:gd name="T112" fmla="*/ 162 w 510"/>
                    <a:gd name="T113" fmla="*/ 84 h 546"/>
                    <a:gd name="T114" fmla="*/ 180 w 510"/>
                    <a:gd name="T115" fmla="*/ 54 h 546"/>
                    <a:gd name="T116" fmla="*/ 210 w 510"/>
                    <a:gd name="T117" fmla="*/ 54 h 546"/>
                    <a:gd name="T118" fmla="*/ 228 w 510"/>
                    <a:gd name="T119" fmla="*/ 36 h 546"/>
                    <a:gd name="T120" fmla="*/ 252 w 510"/>
                    <a:gd name="T121" fmla="*/ 12 h 546"/>
                    <a:gd name="T122" fmla="*/ 306 w 510"/>
                    <a:gd name="T123" fmla="*/ 0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10" h="546">
                      <a:moveTo>
                        <a:pt x="306" y="0"/>
                      </a:moveTo>
                      <a:lnTo>
                        <a:pt x="324" y="0"/>
                      </a:lnTo>
                      <a:lnTo>
                        <a:pt x="336" y="18"/>
                      </a:lnTo>
                      <a:lnTo>
                        <a:pt x="348" y="36"/>
                      </a:lnTo>
                      <a:lnTo>
                        <a:pt x="354" y="48"/>
                      </a:lnTo>
                      <a:lnTo>
                        <a:pt x="366" y="54"/>
                      </a:lnTo>
                      <a:lnTo>
                        <a:pt x="372" y="54"/>
                      </a:lnTo>
                      <a:lnTo>
                        <a:pt x="384" y="54"/>
                      </a:lnTo>
                      <a:lnTo>
                        <a:pt x="390" y="48"/>
                      </a:lnTo>
                      <a:lnTo>
                        <a:pt x="402" y="48"/>
                      </a:lnTo>
                      <a:lnTo>
                        <a:pt x="414" y="36"/>
                      </a:lnTo>
                      <a:lnTo>
                        <a:pt x="432" y="30"/>
                      </a:lnTo>
                      <a:lnTo>
                        <a:pt x="450" y="30"/>
                      </a:lnTo>
                      <a:lnTo>
                        <a:pt x="462" y="30"/>
                      </a:lnTo>
                      <a:lnTo>
                        <a:pt x="474" y="36"/>
                      </a:lnTo>
                      <a:lnTo>
                        <a:pt x="480" y="48"/>
                      </a:lnTo>
                      <a:lnTo>
                        <a:pt x="480" y="54"/>
                      </a:lnTo>
                      <a:lnTo>
                        <a:pt x="474" y="66"/>
                      </a:lnTo>
                      <a:lnTo>
                        <a:pt x="474" y="72"/>
                      </a:lnTo>
                      <a:lnTo>
                        <a:pt x="474" y="84"/>
                      </a:lnTo>
                      <a:lnTo>
                        <a:pt x="486" y="90"/>
                      </a:lnTo>
                      <a:lnTo>
                        <a:pt x="498" y="90"/>
                      </a:lnTo>
                      <a:lnTo>
                        <a:pt x="504" y="96"/>
                      </a:lnTo>
                      <a:lnTo>
                        <a:pt x="510" y="102"/>
                      </a:lnTo>
                      <a:lnTo>
                        <a:pt x="504" y="108"/>
                      </a:lnTo>
                      <a:lnTo>
                        <a:pt x="498" y="114"/>
                      </a:lnTo>
                      <a:lnTo>
                        <a:pt x="486" y="120"/>
                      </a:lnTo>
                      <a:lnTo>
                        <a:pt x="474" y="126"/>
                      </a:lnTo>
                      <a:lnTo>
                        <a:pt x="462" y="132"/>
                      </a:lnTo>
                      <a:lnTo>
                        <a:pt x="444" y="132"/>
                      </a:lnTo>
                      <a:lnTo>
                        <a:pt x="432" y="138"/>
                      </a:lnTo>
                      <a:lnTo>
                        <a:pt x="414" y="138"/>
                      </a:lnTo>
                      <a:lnTo>
                        <a:pt x="402" y="138"/>
                      </a:lnTo>
                      <a:lnTo>
                        <a:pt x="378" y="138"/>
                      </a:lnTo>
                      <a:lnTo>
                        <a:pt x="336" y="150"/>
                      </a:lnTo>
                      <a:lnTo>
                        <a:pt x="300" y="174"/>
                      </a:lnTo>
                      <a:lnTo>
                        <a:pt x="276" y="198"/>
                      </a:lnTo>
                      <a:lnTo>
                        <a:pt x="270" y="210"/>
                      </a:lnTo>
                      <a:lnTo>
                        <a:pt x="264" y="222"/>
                      </a:lnTo>
                      <a:lnTo>
                        <a:pt x="264" y="240"/>
                      </a:lnTo>
                      <a:lnTo>
                        <a:pt x="264" y="258"/>
                      </a:lnTo>
                      <a:lnTo>
                        <a:pt x="282" y="270"/>
                      </a:lnTo>
                      <a:lnTo>
                        <a:pt x="288" y="276"/>
                      </a:lnTo>
                      <a:lnTo>
                        <a:pt x="300" y="276"/>
                      </a:lnTo>
                      <a:lnTo>
                        <a:pt x="306" y="270"/>
                      </a:lnTo>
                      <a:lnTo>
                        <a:pt x="312" y="264"/>
                      </a:lnTo>
                      <a:lnTo>
                        <a:pt x="318" y="246"/>
                      </a:lnTo>
                      <a:lnTo>
                        <a:pt x="324" y="234"/>
                      </a:lnTo>
                      <a:lnTo>
                        <a:pt x="336" y="222"/>
                      </a:lnTo>
                      <a:lnTo>
                        <a:pt x="342" y="210"/>
                      </a:lnTo>
                      <a:lnTo>
                        <a:pt x="354" y="204"/>
                      </a:lnTo>
                      <a:lnTo>
                        <a:pt x="366" y="204"/>
                      </a:lnTo>
                      <a:lnTo>
                        <a:pt x="378" y="210"/>
                      </a:lnTo>
                      <a:lnTo>
                        <a:pt x="384" y="216"/>
                      </a:lnTo>
                      <a:lnTo>
                        <a:pt x="390" y="222"/>
                      </a:lnTo>
                      <a:lnTo>
                        <a:pt x="384" y="234"/>
                      </a:lnTo>
                      <a:lnTo>
                        <a:pt x="384" y="246"/>
                      </a:lnTo>
                      <a:lnTo>
                        <a:pt x="378" y="252"/>
                      </a:lnTo>
                      <a:lnTo>
                        <a:pt x="378" y="264"/>
                      </a:lnTo>
                      <a:lnTo>
                        <a:pt x="384" y="276"/>
                      </a:lnTo>
                      <a:lnTo>
                        <a:pt x="390" y="282"/>
                      </a:lnTo>
                      <a:lnTo>
                        <a:pt x="396" y="288"/>
                      </a:lnTo>
                      <a:lnTo>
                        <a:pt x="396" y="300"/>
                      </a:lnTo>
                      <a:lnTo>
                        <a:pt x="396" y="306"/>
                      </a:lnTo>
                      <a:lnTo>
                        <a:pt x="384" y="312"/>
                      </a:lnTo>
                      <a:lnTo>
                        <a:pt x="372" y="318"/>
                      </a:lnTo>
                      <a:lnTo>
                        <a:pt x="360" y="324"/>
                      </a:lnTo>
                      <a:lnTo>
                        <a:pt x="354" y="330"/>
                      </a:lnTo>
                      <a:lnTo>
                        <a:pt x="354" y="336"/>
                      </a:lnTo>
                      <a:lnTo>
                        <a:pt x="354" y="348"/>
                      </a:lnTo>
                      <a:lnTo>
                        <a:pt x="360" y="354"/>
                      </a:lnTo>
                      <a:lnTo>
                        <a:pt x="366" y="366"/>
                      </a:lnTo>
                      <a:lnTo>
                        <a:pt x="372" y="372"/>
                      </a:lnTo>
                      <a:lnTo>
                        <a:pt x="378" y="378"/>
                      </a:lnTo>
                      <a:lnTo>
                        <a:pt x="378" y="384"/>
                      </a:lnTo>
                      <a:lnTo>
                        <a:pt x="378" y="396"/>
                      </a:lnTo>
                      <a:lnTo>
                        <a:pt x="372" y="408"/>
                      </a:lnTo>
                      <a:lnTo>
                        <a:pt x="366" y="426"/>
                      </a:lnTo>
                      <a:lnTo>
                        <a:pt x="354" y="438"/>
                      </a:lnTo>
                      <a:lnTo>
                        <a:pt x="336" y="456"/>
                      </a:lnTo>
                      <a:lnTo>
                        <a:pt x="318" y="462"/>
                      </a:lnTo>
                      <a:lnTo>
                        <a:pt x="300" y="468"/>
                      </a:lnTo>
                      <a:lnTo>
                        <a:pt x="288" y="468"/>
                      </a:lnTo>
                      <a:lnTo>
                        <a:pt x="276" y="468"/>
                      </a:lnTo>
                      <a:lnTo>
                        <a:pt x="270" y="462"/>
                      </a:lnTo>
                      <a:lnTo>
                        <a:pt x="264" y="450"/>
                      </a:lnTo>
                      <a:lnTo>
                        <a:pt x="264" y="438"/>
                      </a:lnTo>
                      <a:lnTo>
                        <a:pt x="264" y="426"/>
                      </a:lnTo>
                      <a:lnTo>
                        <a:pt x="264" y="414"/>
                      </a:lnTo>
                      <a:lnTo>
                        <a:pt x="264" y="402"/>
                      </a:lnTo>
                      <a:lnTo>
                        <a:pt x="258" y="396"/>
                      </a:lnTo>
                      <a:lnTo>
                        <a:pt x="252" y="396"/>
                      </a:lnTo>
                      <a:lnTo>
                        <a:pt x="246" y="396"/>
                      </a:lnTo>
                      <a:lnTo>
                        <a:pt x="234" y="396"/>
                      </a:lnTo>
                      <a:lnTo>
                        <a:pt x="228" y="402"/>
                      </a:lnTo>
                      <a:lnTo>
                        <a:pt x="216" y="414"/>
                      </a:lnTo>
                      <a:lnTo>
                        <a:pt x="210" y="426"/>
                      </a:lnTo>
                      <a:lnTo>
                        <a:pt x="210" y="438"/>
                      </a:lnTo>
                      <a:lnTo>
                        <a:pt x="210" y="456"/>
                      </a:lnTo>
                      <a:lnTo>
                        <a:pt x="216" y="474"/>
                      </a:lnTo>
                      <a:lnTo>
                        <a:pt x="216" y="492"/>
                      </a:lnTo>
                      <a:lnTo>
                        <a:pt x="216" y="504"/>
                      </a:lnTo>
                      <a:lnTo>
                        <a:pt x="210" y="510"/>
                      </a:lnTo>
                      <a:lnTo>
                        <a:pt x="204" y="522"/>
                      </a:lnTo>
                      <a:lnTo>
                        <a:pt x="192" y="528"/>
                      </a:lnTo>
                      <a:lnTo>
                        <a:pt x="180" y="534"/>
                      </a:lnTo>
                      <a:lnTo>
                        <a:pt x="168" y="540"/>
                      </a:lnTo>
                      <a:lnTo>
                        <a:pt x="156" y="546"/>
                      </a:lnTo>
                      <a:lnTo>
                        <a:pt x="144" y="546"/>
                      </a:lnTo>
                      <a:lnTo>
                        <a:pt x="138" y="540"/>
                      </a:lnTo>
                      <a:lnTo>
                        <a:pt x="132" y="528"/>
                      </a:lnTo>
                      <a:lnTo>
                        <a:pt x="126" y="522"/>
                      </a:lnTo>
                      <a:lnTo>
                        <a:pt x="126" y="510"/>
                      </a:lnTo>
                      <a:lnTo>
                        <a:pt x="132" y="498"/>
                      </a:lnTo>
                      <a:lnTo>
                        <a:pt x="138" y="486"/>
                      </a:lnTo>
                      <a:lnTo>
                        <a:pt x="138" y="474"/>
                      </a:lnTo>
                      <a:lnTo>
                        <a:pt x="132" y="462"/>
                      </a:lnTo>
                      <a:lnTo>
                        <a:pt x="126" y="450"/>
                      </a:lnTo>
                      <a:lnTo>
                        <a:pt x="120" y="432"/>
                      </a:lnTo>
                      <a:lnTo>
                        <a:pt x="120" y="414"/>
                      </a:lnTo>
                      <a:lnTo>
                        <a:pt x="126" y="396"/>
                      </a:lnTo>
                      <a:lnTo>
                        <a:pt x="132" y="378"/>
                      </a:lnTo>
                      <a:lnTo>
                        <a:pt x="132" y="366"/>
                      </a:lnTo>
                      <a:lnTo>
                        <a:pt x="126" y="354"/>
                      </a:lnTo>
                      <a:lnTo>
                        <a:pt x="114" y="342"/>
                      </a:lnTo>
                      <a:lnTo>
                        <a:pt x="96" y="342"/>
                      </a:lnTo>
                      <a:lnTo>
                        <a:pt x="78" y="342"/>
                      </a:lnTo>
                      <a:lnTo>
                        <a:pt x="66" y="342"/>
                      </a:lnTo>
                      <a:lnTo>
                        <a:pt x="54" y="336"/>
                      </a:lnTo>
                      <a:lnTo>
                        <a:pt x="48" y="324"/>
                      </a:lnTo>
                      <a:lnTo>
                        <a:pt x="48" y="312"/>
                      </a:lnTo>
                      <a:lnTo>
                        <a:pt x="48" y="300"/>
                      </a:lnTo>
                      <a:lnTo>
                        <a:pt x="48" y="288"/>
                      </a:lnTo>
                      <a:lnTo>
                        <a:pt x="54" y="270"/>
                      </a:lnTo>
                      <a:lnTo>
                        <a:pt x="54" y="258"/>
                      </a:lnTo>
                      <a:lnTo>
                        <a:pt x="48" y="240"/>
                      </a:lnTo>
                      <a:lnTo>
                        <a:pt x="36" y="234"/>
                      </a:lnTo>
                      <a:lnTo>
                        <a:pt x="24" y="222"/>
                      </a:lnTo>
                      <a:lnTo>
                        <a:pt x="12" y="216"/>
                      </a:lnTo>
                      <a:lnTo>
                        <a:pt x="6" y="216"/>
                      </a:lnTo>
                      <a:lnTo>
                        <a:pt x="0" y="204"/>
                      </a:lnTo>
                      <a:lnTo>
                        <a:pt x="0" y="192"/>
                      </a:lnTo>
                      <a:lnTo>
                        <a:pt x="6" y="180"/>
                      </a:lnTo>
                      <a:lnTo>
                        <a:pt x="12" y="168"/>
                      </a:lnTo>
                      <a:lnTo>
                        <a:pt x="18" y="150"/>
                      </a:lnTo>
                      <a:lnTo>
                        <a:pt x="36" y="138"/>
                      </a:lnTo>
                      <a:lnTo>
                        <a:pt x="48" y="132"/>
                      </a:lnTo>
                      <a:lnTo>
                        <a:pt x="66" y="132"/>
                      </a:lnTo>
                      <a:lnTo>
                        <a:pt x="84" y="138"/>
                      </a:lnTo>
                      <a:lnTo>
                        <a:pt x="96" y="150"/>
                      </a:lnTo>
                      <a:lnTo>
                        <a:pt x="102" y="162"/>
                      </a:lnTo>
                      <a:lnTo>
                        <a:pt x="102" y="174"/>
                      </a:lnTo>
                      <a:lnTo>
                        <a:pt x="102" y="180"/>
                      </a:lnTo>
                      <a:lnTo>
                        <a:pt x="108" y="186"/>
                      </a:lnTo>
                      <a:lnTo>
                        <a:pt x="120" y="192"/>
                      </a:lnTo>
                      <a:lnTo>
                        <a:pt x="126" y="192"/>
                      </a:lnTo>
                      <a:lnTo>
                        <a:pt x="138" y="192"/>
                      </a:lnTo>
                      <a:lnTo>
                        <a:pt x="144" y="192"/>
                      </a:lnTo>
                      <a:lnTo>
                        <a:pt x="150" y="186"/>
                      </a:lnTo>
                      <a:lnTo>
                        <a:pt x="150" y="180"/>
                      </a:lnTo>
                      <a:lnTo>
                        <a:pt x="162" y="174"/>
                      </a:lnTo>
                      <a:lnTo>
                        <a:pt x="174" y="174"/>
                      </a:lnTo>
                      <a:lnTo>
                        <a:pt x="198" y="162"/>
                      </a:lnTo>
                      <a:lnTo>
                        <a:pt x="204" y="156"/>
                      </a:lnTo>
                      <a:lnTo>
                        <a:pt x="204" y="144"/>
                      </a:lnTo>
                      <a:lnTo>
                        <a:pt x="204" y="138"/>
                      </a:lnTo>
                      <a:lnTo>
                        <a:pt x="198" y="126"/>
                      </a:lnTo>
                      <a:lnTo>
                        <a:pt x="186" y="114"/>
                      </a:lnTo>
                      <a:lnTo>
                        <a:pt x="180" y="108"/>
                      </a:lnTo>
                      <a:lnTo>
                        <a:pt x="168" y="96"/>
                      </a:lnTo>
                      <a:lnTo>
                        <a:pt x="162" y="84"/>
                      </a:lnTo>
                      <a:lnTo>
                        <a:pt x="162" y="72"/>
                      </a:lnTo>
                      <a:lnTo>
                        <a:pt x="168" y="60"/>
                      </a:lnTo>
                      <a:lnTo>
                        <a:pt x="180" y="54"/>
                      </a:lnTo>
                      <a:lnTo>
                        <a:pt x="192" y="48"/>
                      </a:lnTo>
                      <a:lnTo>
                        <a:pt x="198" y="48"/>
                      </a:lnTo>
                      <a:lnTo>
                        <a:pt x="210" y="54"/>
                      </a:lnTo>
                      <a:lnTo>
                        <a:pt x="216" y="54"/>
                      </a:lnTo>
                      <a:lnTo>
                        <a:pt x="222" y="48"/>
                      </a:lnTo>
                      <a:lnTo>
                        <a:pt x="228" y="36"/>
                      </a:lnTo>
                      <a:lnTo>
                        <a:pt x="228" y="24"/>
                      </a:lnTo>
                      <a:lnTo>
                        <a:pt x="240" y="18"/>
                      </a:lnTo>
                      <a:lnTo>
                        <a:pt x="252" y="12"/>
                      </a:lnTo>
                      <a:lnTo>
                        <a:pt x="264" y="6"/>
                      </a:lnTo>
                      <a:lnTo>
                        <a:pt x="282" y="0"/>
                      </a:lnTo>
                      <a:lnTo>
                        <a:pt x="30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4" name="Freeform 351">
                  <a:extLst>
                    <a:ext uri="{FF2B5EF4-FFF2-40B4-BE49-F238E27FC236}">
                      <a16:creationId xmlns:a16="http://schemas.microsoft.com/office/drawing/2014/main" id="{D9AB8F7A-057B-4798-9E1A-FD9FB368AA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95" y="-7566"/>
                  <a:ext cx="606" cy="402"/>
                </a:xfrm>
                <a:custGeom>
                  <a:avLst/>
                  <a:gdLst>
                    <a:gd name="T0" fmla="*/ 246 w 606"/>
                    <a:gd name="T1" fmla="*/ 12 h 402"/>
                    <a:gd name="T2" fmla="*/ 276 w 606"/>
                    <a:gd name="T3" fmla="*/ 36 h 402"/>
                    <a:gd name="T4" fmla="*/ 306 w 606"/>
                    <a:gd name="T5" fmla="*/ 18 h 402"/>
                    <a:gd name="T6" fmla="*/ 360 w 606"/>
                    <a:gd name="T7" fmla="*/ 12 h 402"/>
                    <a:gd name="T8" fmla="*/ 384 w 606"/>
                    <a:gd name="T9" fmla="*/ 30 h 402"/>
                    <a:gd name="T10" fmla="*/ 414 w 606"/>
                    <a:gd name="T11" fmla="*/ 66 h 402"/>
                    <a:gd name="T12" fmla="*/ 432 w 606"/>
                    <a:gd name="T13" fmla="*/ 78 h 402"/>
                    <a:gd name="T14" fmla="*/ 450 w 606"/>
                    <a:gd name="T15" fmla="*/ 72 h 402"/>
                    <a:gd name="T16" fmla="*/ 474 w 606"/>
                    <a:gd name="T17" fmla="*/ 72 h 402"/>
                    <a:gd name="T18" fmla="*/ 510 w 606"/>
                    <a:gd name="T19" fmla="*/ 102 h 402"/>
                    <a:gd name="T20" fmla="*/ 606 w 606"/>
                    <a:gd name="T21" fmla="*/ 126 h 402"/>
                    <a:gd name="T22" fmla="*/ 552 w 606"/>
                    <a:gd name="T23" fmla="*/ 186 h 402"/>
                    <a:gd name="T24" fmla="*/ 504 w 606"/>
                    <a:gd name="T25" fmla="*/ 240 h 402"/>
                    <a:gd name="T26" fmla="*/ 402 w 606"/>
                    <a:gd name="T27" fmla="*/ 234 h 402"/>
                    <a:gd name="T28" fmla="*/ 384 w 606"/>
                    <a:gd name="T29" fmla="*/ 246 h 402"/>
                    <a:gd name="T30" fmla="*/ 396 w 606"/>
                    <a:gd name="T31" fmla="*/ 270 h 402"/>
                    <a:gd name="T32" fmla="*/ 396 w 606"/>
                    <a:gd name="T33" fmla="*/ 294 h 402"/>
                    <a:gd name="T34" fmla="*/ 282 w 606"/>
                    <a:gd name="T35" fmla="*/ 282 h 402"/>
                    <a:gd name="T36" fmla="*/ 198 w 606"/>
                    <a:gd name="T37" fmla="*/ 240 h 402"/>
                    <a:gd name="T38" fmla="*/ 168 w 606"/>
                    <a:gd name="T39" fmla="*/ 246 h 402"/>
                    <a:gd name="T40" fmla="*/ 156 w 606"/>
                    <a:gd name="T41" fmla="*/ 276 h 402"/>
                    <a:gd name="T42" fmla="*/ 192 w 606"/>
                    <a:gd name="T43" fmla="*/ 318 h 402"/>
                    <a:gd name="T44" fmla="*/ 192 w 606"/>
                    <a:gd name="T45" fmla="*/ 348 h 402"/>
                    <a:gd name="T46" fmla="*/ 162 w 606"/>
                    <a:gd name="T47" fmla="*/ 372 h 402"/>
                    <a:gd name="T48" fmla="*/ 138 w 606"/>
                    <a:gd name="T49" fmla="*/ 384 h 402"/>
                    <a:gd name="T50" fmla="*/ 108 w 606"/>
                    <a:gd name="T51" fmla="*/ 402 h 402"/>
                    <a:gd name="T52" fmla="*/ 84 w 606"/>
                    <a:gd name="T53" fmla="*/ 384 h 402"/>
                    <a:gd name="T54" fmla="*/ 60 w 606"/>
                    <a:gd name="T55" fmla="*/ 366 h 402"/>
                    <a:gd name="T56" fmla="*/ 54 w 606"/>
                    <a:gd name="T57" fmla="*/ 336 h 402"/>
                    <a:gd name="T58" fmla="*/ 78 w 606"/>
                    <a:gd name="T59" fmla="*/ 306 h 402"/>
                    <a:gd name="T60" fmla="*/ 60 w 606"/>
                    <a:gd name="T61" fmla="*/ 294 h 402"/>
                    <a:gd name="T62" fmla="*/ 48 w 606"/>
                    <a:gd name="T63" fmla="*/ 276 h 402"/>
                    <a:gd name="T64" fmla="*/ 36 w 606"/>
                    <a:gd name="T65" fmla="*/ 246 h 402"/>
                    <a:gd name="T66" fmla="*/ 30 w 606"/>
                    <a:gd name="T67" fmla="*/ 228 h 402"/>
                    <a:gd name="T68" fmla="*/ 30 w 606"/>
                    <a:gd name="T69" fmla="*/ 204 h 402"/>
                    <a:gd name="T70" fmla="*/ 0 w 606"/>
                    <a:gd name="T71" fmla="*/ 174 h 402"/>
                    <a:gd name="T72" fmla="*/ 6 w 606"/>
                    <a:gd name="T73" fmla="*/ 156 h 402"/>
                    <a:gd name="T74" fmla="*/ 36 w 606"/>
                    <a:gd name="T75" fmla="*/ 144 h 402"/>
                    <a:gd name="T76" fmla="*/ 60 w 606"/>
                    <a:gd name="T77" fmla="*/ 132 h 402"/>
                    <a:gd name="T78" fmla="*/ 90 w 606"/>
                    <a:gd name="T79" fmla="*/ 90 h 402"/>
                    <a:gd name="T80" fmla="*/ 114 w 606"/>
                    <a:gd name="T81" fmla="*/ 72 h 402"/>
                    <a:gd name="T82" fmla="*/ 150 w 606"/>
                    <a:gd name="T83" fmla="*/ 78 h 402"/>
                    <a:gd name="T84" fmla="*/ 156 w 606"/>
                    <a:gd name="T85" fmla="*/ 60 h 402"/>
                    <a:gd name="T86" fmla="*/ 150 w 606"/>
                    <a:gd name="T87" fmla="*/ 24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06" h="402">
                      <a:moveTo>
                        <a:pt x="192" y="0"/>
                      </a:moveTo>
                      <a:lnTo>
                        <a:pt x="222" y="0"/>
                      </a:lnTo>
                      <a:lnTo>
                        <a:pt x="246" y="12"/>
                      </a:lnTo>
                      <a:lnTo>
                        <a:pt x="258" y="24"/>
                      </a:lnTo>
                      <a:lnTo>
                        <a:pt x="270" y="30"/>
                      </a:lnTo>
                      <a:lnTo>
                        <a:pt x="276" y="36"/>
                      </a:lnTo>
                      <a:lnTo>
                        <a:pt x="282" y="30"/>
                      </a:lnTo>
                      <a:lnTo>
                        <a:pt x="288" y="24"/>
                      </a:lnTo>
                      <a:lnTo>
                        <a:pt x="306" y="18"/>
                      </a:lnTo>
                      <a:lnTo>
                        <a:pt x="324" y="18"/>
                      </a:lnTo>
                      <a:lnTo>
                        <a:pt x="348" y="12"/>
                      </a:lnTo>
                      <a:lnTo>
                        <a:pt x="360" y="12"/>
                      </a:lnTo>
                      <a:lnTo>
                        <a:pt x="366" y="18"/>
                      </a:lnTo>
                      <a:lnTo>
                        <a:pt x="378" y="18"/>
                      </a:lnTo>
                      <a:lnTo>
                        <a:pt x="384" y="30"/>
                      </a:lnTo>
                      <a:lnTo>
                        <a:pt x="396" y="36"/>
                      </a:lnTo>
                      <a:lnTo>
                        <a:pt x="408" y="54"/>
                      </a:lnTo>
                      <a:lnTo>
                        <a:pt x="414" y="66"/>
                      </a:lnTo>
                      <a:lnTo>
                        <a:pt x="420" y="72"/>
                      </a:lnTo>
                      <a:lnTo>
                        <a:pt x="426" y="78"/>
                      </a:lnTo>
                      <a:lnTo>
                        <a:pt x="432" y="78"/>
                      </a:lnTo>
                      <a:lnTo>
                        <a:pt x="438" y="78"/>
                      </a:lnTo>
                      <a:lnTo>
                        <a:pt x="444" y="78"/>
                      </a:lnTo>
                      <a:lnTo>
                        <a:pt x="450" y="72"/>
                      </a:lnTo>
                      <a:lnTo>
                        <a:pt x="462" y="66"/>
                      </a:lnTo>
                      <a:lnTo>
                        <a:pt x="468" y="66"/>
                      </a:lnTo>
                      <a:lnTo>
                        <a:pt x="474" y="72"/>
                      </a:lnTo>
                      <a:lnTo>
                        <a:pt x="486" y="84"/>
                      </a:lnTo>
                      <a:lnTo>
                        <a:pt x="492" y="90"/>
                      </a:lnTo>
                      <a:lnTo>
                        <a:pt x="510" y="102"/>
                      </a:lnTo>
                      <a:lnTo>
                        <a:pt x="540" y="108"/>
                      </a:lnTo>
                      <a:lnTo>
                        <a:pt x="594" y="114"/>
                      </a:lnTo>
                      <a:lnTo>
                        <a:pt x="606" y="126"/>
                      </a:lnTo>
                      <a:lnTo>
                        <a:pt x="600" y="138"/>
                      </a:lnTo>
                      <a:lnTo>
                        <a:pt x="576" y="162"/>
                      </a:lnTo>
                      <a:lnTo>
                        <a:pt x="552" y="186"/>
                      </a:lnTo>
                      <a:lnTo>
                        <a:pt x="540" y="210"/>
                      </a:lnTo>
                      <a:lnTo>
                        <a:pt x="528" y="234"/>
                      </a:lnTo>
                      <a:lnTo>
                        <a:pt x="504" y="240"/>
                      </a:lnTo>
                      <a:lnTo>
                        <a:pt x="468" y="240"/>
                      </a:lnTo>
                      <a:lnTo>
                        <a:pt x="438" y="234"/>
                      </a:lnTo>
                      <a:lnTo>
                        <a:pt x="402" y="234"/>
                      </a:lnTo>
                      <a:lnTo>
                        <a:pt x="390" y="234"/>
                      </a:lnTo>
                      <a:lnTo>
                        <a:pt x="384" y="240"/>
                      </a:lnTo>
                      <a:lnTo>
                        <a:pt x="384" y="246"/>
                      </a:lnTo>
                      <a:lnTo>
                        <a:pt x="384" y="252"/>
                      </a:lnTo>
                      <a:lnTo>
                        <a:pt x="390" y="264"/>
                      </a:lnTo>
                      <a:lnTo>
                        <a:pt x="396" y="270"/>
                      </a:lnTo>
                      <a:lnTo>
                        <a:pt x="396" y="276"/>
                      </a:lnTo>
                      <a:lnTo>
                        <a:pt x="396" y="288"/>
                      </a:lnTo>
                      <a:lnTo>
                        <a:pt x="396" y="294"/>
                      </a:lnTo>
                      <a:lnTo>
                        <a:pt x="360" y="300"/>
                      </a:lnTo>
                      <a:lnTo>
                        <a:pt x="318" y="300"/>
                      </a:lnTo>
                      <a:lnTo>
                        <a:pt x="282" y="282"/>
                      </a:lnTo>
                      <a:lnTo>
                        <a:pt x="258" y="264"/>
                      </a:lnTo>
                      <a:lnTo>
                        <a:pt x="228" y="246"/>
                      </a:lnTo>
                      <a:lnTo>
                        <a:pt x="198" y="240"/>
                      </a:lnTo>
                      <a:lnTo>
                        <a:pt x="192" y="240"/>
                      </a:lnTo>
                      <a:lnTo>
                        <a:pt x="180" y="240"/>
                      </a:lnTo>
                      <a:lnTo>
                        <a:pt x="168" y="246"/>
                      </a:lnTo>
                      <a:lnTo>
                        <a:pt x="156" y="252"/>
                      </a:lnTo>
                      <a:lnTo>
                        <a:pt x="156" y="264"/>
                      </a:lnTo>
                      <a:lnTo>
                        <a:pt x="156" y="276"/>
                      </a:lnTo>
                      <a:lnTo>
                        <a:pt x="162" y="288"/>
                      </a:lnTo>
                      <a:lnTo>
                        <a:pt x="180" y="300"/>
                      </a:lnTo>
                      <a:lnTo>
                        <a:pt x="192" y="318"/>
                      </a:lnTo>
                      <a:lnTo>
                        <a:pt x="198" y="330"/>
                      </a:lnTo>
                      <a:lnTo>
                        <a:pt x="198" y="336"/>
                      </a:lnTo>
                      <a:lnTo>
                        <a:pt x="192" y="348"/>
                      </a:lnTo>
                      <a:lnTo>
                        <a:pt x="186" y="354"/>
                      </a:lnTo>
                      <a:lnTo>
                        <a:pt x="174" y="366"/>
                      </a:lnTo>
                      <a:lnTo>
                        <a:pt x="162" y="372"/>
                      </a:lnTo>
                      <a:lnTo>
                        <a:pt x="156" y="372"/>
                      </a:lnTo>
                      <a:lnTo>
                        <a:pt x="144" y="378"/>
                      </a:lnTo>
                      <a:lnTo>
                        <a:pt x="138" y="384"/>
                      </a:lnTo>
                      <a:lnTo>
                        <a:pt x="126" y="390"/>
                      </a:lnTo>
                      <a:lnTo>
                        <a:pt x="114" y="396"/>
                      </a:lnTo>
                      <a:lnTo>
                        <a:pt x="108" y="402"/>
                      </a:lnTo>
                      <a:lnTo>
                        <a:pt x="96" y="402"/>
                      </a:lnTo>
                      <a:lnTo>
                        <a:pt x="90" y="396"/>
                      </a:lnTo>
                      <a:lnTo>
                        <a:pt x="84" y="384"/>
                      </a:lnTo>
                      <a:lnTo>
                        <a:pt x="78" y="384"/>
                      </a:lnTo>
                      <a:lnTo>
                        <a:pt x="72" y="378"/>
                      </a:lnTo>
                      <a:lnTo>
                        <a:pt x="60" y="366"/>
                      </a:lnTo>
                      <a:lnTo>
                        <a:pt x="54" y="360"/>
                      </a:lnTo>
                      <a:lnTo>
                        <a:pt x="54" y="348"/>
                      </a:lnTo>
                      <a:lnTo>
                        <a:pt x="54" y="336"/>
                      </a:lnTo>
                      <a:lnTo>
                        <a:pt x="60" y="324"/>
                      </a:lnTo>
                      <a:lnTo>
                        <a:pt x="72" y="312"/>
                      </a:lnTo>
                      <a:lnTo>
                        <a:pt x="78" y="306"/>
                      </a:lnTo>
                      <a:lnTo>
                        <a:pt x="72" y="306"/>
                      </a:lnTo>
                      <a:lnTo>
                        <a:pt x="66" y="300"/>
                      </a:lnTo>
                      <a:lnTo>
                        <a:pt x="60" y="294"/>
                      </a:lnTo>
                      <a:lnTo>
                        <a:pt x="48" y="294"/>
                      </a:lnTo>
                      <a:lnTo>
                        <a:pt x="48" y="282"/>
                      </a:lnTo>
                      <a:lnTo>
                        <a:pt x="48" y="276"/>
                      </a:lnTo>
                      <a:lnTo>
                        <a:pt x="48" y="264"/>
                      </a:lnTo>
                      <a:lnTo>
                        <a:pt x="42" y="252"/>
                      </a:lnTo>
                      <a:lnTo>
                        <a:pt x="36" y="246"/>
                      </a:lnTo>
                      <a:lnTo>
                        <a:pt x="30" y="240"/>
                      </a:lnTo>
                      <a:lnTo>
                        <a:pt x="30" y="234"/>
                      </a:lnTo>
                      <a:lnTo>
                        <a:pt x="30" y="228"/>
                      </a:lnTo>
                      <a:lnTo>
                        <a:pt x="36" y="222"/>
                      </a:lnTo>
                      <a:lnTo>
                        <a:pt x="36" y="210"/>
                      </a:lnTo>
                      <a:lnTo>
                        <a:pt x="30" y="204"/>
                      </a:lnTo>
                      <a:lnTo>
                        <a:pt x="24" y="192"/>
                      </a:lnTo>
                      <a:lnTo>
                        <a:pt x="12" y="180"/>
                      </a:lnTo>
                      <a:lnTo>
                        <a:pt x="0" y="174"/>
                      </a:lnTo>
                      <a:lnTo>
                        <a:pt x="0" y="162"/>
                      </a:lnTo>
                      <a:lnTo>
                        <a:pt x="0" y="162"/>
                      </a:lnTo>
                      <a:lnTo>
                        <a:pt x="6" y="156"/>
                      </a:lnTo>
                      <a:lnTo>
                        <a:pt x="12" y="150"/>
                      </a:lnTo>
                      <a:lnTo>
                        <a:pt x="24" y="150"/>
                      </a:lnTo>
                      <a:lnTo>
                        <a:pt x="36" y="144"/>
                      </a:lnTo>
                      <a:lnTo>
                        <a:pt x="48" y="138"/>
                      </a:lnTo>
                      <a:lnTo>
                        <a:pt x="54" y="138"/>
                      </a:lnTo>
                      <a:lnTo>
                        <a:pt x="60" y="132"/>
                      </a:lnTo>
                      <a:lnTo>
                        <a:pt x="72" y="120"/>
                      </a:lnTo>
                      <a:lnTo>
                        <a:pt x="78" y="108"/>
                      </a:lnTo>
                      <a:lnTo>
                        <a:pt x="90" y="90"/>
                      </a:lnTo>
                      <a:lnTo>
                        <a:pt x="96" y="84"/>
                      </a:lnTo>
                      <a:lnTo>
                        <a:pt x="108" y="78"/>
                      </a:lnTo>
                      <a:lnTo>
                        <a:pt x="114" y="72"/>
                      </a:lnTo>
                      <a:lnTo>
                        <a:pt x="126" y="72"/>
                      </a:lnTo>
                      <a:lnTo>
                        <a:pt x="144" y="72"/>
                      </a:lnTo>
                      <a:lnTo>
                        <a:pt x="150" y="78"/>
                      </a:lnTo>
                      <a:lnTo>
                        <a:pt x="156" y="72"/>
                      </a:lnTo>
                      <a:lnTo>
                        <a:pt x="156" y="66"/>
                      </a:lnTo>
                      <a:lnTo>
                        <a:pt x="156" y="60"/>
                      </a:lnTo>
                      <a:lnTo>
                        <a:pt x="156" y="48"/>
                      </a:lnTo>
                      <a:lnTo>
                        <a:pt x="156" y="36"/>
                      </a:lnTo>
                      <a:lnTo>
                        <a:pt x="150" y="24"/>
                      </a:lnTo>
                      <a:lnTo>
                        <a:pt x="162" y="12"/>
                      </a:lnTo>
                      <a:lnTo>
                        <a:pt x="19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5" name="Freeform 353">
                  <a:extLst>
                    <a:ext uri="{FF2B5EF4-FFF2-40B4-BE49-F238E27FC236}">
                      <a16:creationId xmlns:a16="http://schemas.microsoft.com/office/drawing/2014/main" id="{0896D619-B585-4C72-A49B-8FB71733D2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319" y="-6084"/>
                  <a:ext cx="186" cy="180"/>
                </a:xfrm>
                <a:custGeom>
                  <a:avLst/>
                  <a:gdLst>
                    <a:gd name="T0" fmla="*/ 132 w 186"/>
                    <a:gd name="T1" fmla="*/ 0 h 180"/>
                    <a:gd name="T2" fmla="*/ 156 w 186"/>
                    <a:gd name="T3" fmla="*/ 0 h 180"/>
                    <a:gd name="T4" fmla="*/ 168 w 186"/>
                    <a:gd name="T5" fmla="*/ 6 h 180"/>
                    <a:gd name="T6" fmla="*/ 174 w 186"/>
                    <a:gd name="T7" fmla="*/ 12 h 180"/>
                    <a:gd name="T8" fmla="*/ 180 w 186"/>
                    <a:gd name="T9" fmla="*/ 24 h 180"/>
                    <a:gd name="T10" fmla="*/ 186 w 186"/>
                    <a:gd name="T11" fmla="*/ 36 h 180"/>
                    <a:gd name="T12" fmla="*/ 186 w 186"/>
                    <a:gd name="T13" fmla="*/ 54 h 180"/>
                    <a:gd name="T14" fmla="*/ 186 w 186"/>
                    <a:gd name="T15" fmla="*/ 66 h 180"/>
                    <a:gd name="T16" fmla="*/ 180 w 186"/>
                    <a:gd name="T17" fmla="*/ 90 h 180"/>
                    <a:gd name="T18" fmla="*/ 180 w 186"/>
                    <a:gd name="T19" fmla="*/ 108 h 180"/>
                    <a:gd name="T20" fmla="*/ 168 w 186"/>
                    <a:gd name="T21" fmla="*/ 126 h 180"/>
                    <a:gd name="T22" fmla="*/ 150 w 186"/>
                    <a:gd name="T23" fmla="*/ 138 h 180"/>
                    <a:gd name="T24" fmla="*/ 126 w 186"/>
                    <a:gd name="T25" fmla="*/ 156 h 180"/>
                    <a:gd name="T26" fmla="*/ 96 w 186"/>
                    <a:gd name="T27" fmla="*/ 174 h 180"/>
                    <a:gd name="T28" fmla="*/ 66 w 186"/>
                    <a:gd name="T29" fmla="*/ 180 h 180"/>
                    <a:gd name="T30" fmla="*/ 36 w 186"/>
                    <a:gd name="T31" fmla="*/ 180 h 180"/>
                    <a:gd name="T32" fmla="*/ 12 w 186"/>
                    <a:gd name="T33" fmla="*/ 168 h 180"/>
                    <a:gd name="T34" fmla="*/ 0 w 186"/>
                    <a:gd name="T35" fmla="*/ 144 h 180"/>
                    <a:gd name="T36" fmla="*/ 6 w 186"/>
                    <a:gd name="T37" fmla="*/ 96 h 180"/>
                    <a:gd name="T38" fmla="*/ 18 w 186"/>
                    <a:gd name="T39" fmla="*/ 60 h 180"/>
                    <a:gd name="T40" fmla="*/ 42 w 186"/>
                    <a:gd name="T41" fmla="*/ 30 h 180"/>
                    <a:gd name="T42" fmla="*/ 54 w 186"/>
                    <a:gd name="T43" fmla="*/ 24 h 180"/>
                    <a:gd name="T44" fmla="*/ 66 w 186"/>
                    <a:gd name="T45" fmla="*/ 12 h 180"/>
                    <a:gd name="T46" fmla="*/ 84 w 186"/>
                    <a:gd name="T47" fmla="*/ 6 h 180"/>
                    <a:gd name="T48" fmla="*/ 102 w 186"/>
                    <a:gd name="T49" fmla="*/ 6 h 180"/>
                    <a:gd name="T50" fmla="*/ 132 w 186"/>
                    <a:gd name="T51" fmla="*/ 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86" h="180">
                      <a:moveTo>
                        <a:pt x="132" y="0"/>
                      </a:moveTo>
                      <a:lnTo>
                        <a:pt x="156" y="0"/>
                      </a:lnTo>
                      <a:lnTo>
                        <a:pt x="168" y="6"/>
                      </a:lnTo>
                      <a:lnTo>
                        <a:pt x="174" y="12"/>
                      </a:lnTo>
                      <a:lnTo>
                        <a:pt x="180" y="24"/>
                      </a:lnTo>
                      <a:lnTo>
                        <a:pt x="186" y="36"/>
                      </a:lnTo>
                      <a:lnTo>
                        <a:pt x="186" y="54"/>
                      </a:lnTo>
                      <a:lnTo>
                        <a:pt x="186" y="66"/>
                      </a:lnTo>
                      <a:lnTo>
                        <a:pt x="180" y="90"/>
                      </a:lnTo>
                      <a:lnTo>
                        <a:pt x="180" y="108"/>
                      </a:lnTo>
                      <a:lnTo>
                        <a:pt x="168" y="126"/>
                      </a:lnTo>
                      <a:lnTo>
                        <a:pt x="150" y="138"/>
                      </a:lnTo>
                      <a:lnTo>
                        <a:pt x="126" y="156"/>
                      </a:lnTo>
                      <a:lnTo>
                        <a:pt x="96" y="174"/>
                      </a:lnTo>
                      <a:lnTo>
                        <a:pt x="66" y="180"/>
                      </a:lnTo>
                      <a:lnTo>
                        <a:pt x="36" y="180"/>
                      </a:lnTo>
                      <a:lnTo>
                        <a:pt x="12" y="168"/>
                      </a:lnTo>
                      <a:lnTo>
                        <a:pt x="0" y="144"/>
                      </a:lnTo>
                      <a:lnTo>
                        <a:pt x="6" y="96"/>
                      </a:lnTo>
                      <a:lnTo>
                        <a:pt x="18" y="60"/>
                      </a:lnTo>
                      <a:lnTo>
                        <a:pt x="42" y="30"/>
                      </a:lnTo>
                      <a:lnTo>
                        <a:pt x="54" y="24"/>
                      </a:lnTo>
                      <a:lnTo>
                        <a:pt x="66" y="12"/>
                      </a:lnTo>
                      <a:lnTo>
                        <a:pt x="84" y="6"/>
                      </a:lnTo>
                      <a:lnTo>
                        <a:pt x="102" y="6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6" name="Freeform 356">
                  <a:extLst>
                    <a:ext uri="{FF2B5EF4-FFF2-40B4-BE49-F238E27FC236}">
                      <a16:creationId xmlns:a16="http://schemas.microsoft.com/office/drawing/2014/main" id="{630D49E3-9163-4B34-B11C-4AD120DBA8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29" y="-5808"/>
                  <a:ext cx="630" cy="528"/>
                </a:xfrm>
                <a:custGeom>
                  <a:avLst/>
                  <a:gdLst>
                    <a:gd name="T0" fmla="*/ 288 w 630"/>
                    <a:gd name="T1" fmla="*/ 12 h 528"/>
                    <a:gd name="T2" fmla="*/ 306 w 630"/>
                    <a:gd name="T3" fmla="*/ 42 h 528"/>
                    <a:gd name="T4" fmla="*/ 282 w 630"/>
                    <a:gd name="T5" fmla="*/ 72 h 528"/>
                    <a:gd name="T6" fmla="*/ 288 w 630"/>
                    <a:gd name="T7" fmla="*/ 102 h 528"/>
                    <a:gd name="T8" fmla="*/ 312 w 630"/>
                    <a:gd name="T9" fmla="*/ 108 h 528"/>
                    <a:gd name="T10" fmla="*/ 336 w 630"/>
                    <a:gd name="T11" fmla="*/ 114 h 528"/>
                    <a:gd name="T12" fmla="*/ 348 w 630"/>
                    <a:gd name="T13" fmla="*/ 138 h 528"/>
                    <a:gd name="T14" fmla="*/ 378 w 630"/>
                    <a:gd name="T15" fmla="*/ 162 h 528"/>
                    <a:gd name="T16" fmla="*/ 414 w 630"/>
                    <a:gd name="T17" fmla="*/ 192 h 528"/>
                    <a:gd name="T18" fmla="*/ 432 w 630"/>
                    <a:gd name="T19" fmla="*/ 222 h 528"/>
                    <a:gd name="T20" fmla="*/ 474 w 630"/>
                    <a:gd name="T21" fmla="*/ 234 h 528"/>
                    <a:gd name="T22" fmla="*/ 528 w 630"/>
                    <a:gd name="T23" fmla="*/ 252 h 528"/>
                    <a:gd name="T24" fmla="*/ 522 w 630"/>
                    <a:gd name="T25" fmla="*/ 336 h 528"/>
                    <a:gd name="T26" fmla="*/ 522 w 630"/>
                    <a:gd name="T27" fmla="*/ 378 h 528"/>
                    <a:gd name="T28" fmla="*/ 540 w 630"/>
                    <a:gd name="T29" fmla="*/ 396 h 528"/>
                    <a:gd name="T30" fmla="*/ 522 w 630"/>
                    <a:gd name="T31" fmla="*/ 414 h 528"/>
                    <a:gd name="T32" fmla="*/ 540 w 630"/>
                    <a:gd name="T33" fmla="*/ 426 h 528"/>
                    <a:gd name="T34" fmla="*/ 606 w 630"/>
                    <a:gd name="T35" fmla="*/ 420 h 528"/>
                    <a:gd name="T36" fmla="*/ 630 w 630"/>
                    <a:gd name="T37" fmla="*/ 432 h 528"/>
                    <a:gd name="T38" fmla="*/ 624 w 630"/>
                    <a:gd name="T39" fmla="*/ 456 h 528"/>
                    <a:gd name="T40" fmla="*/ 618 w 630"/>
                    <a:gd name="T41" fmla="*/ 486 h 528"/>
                    <a:gd name="T42" fmla="*/ 606 w 630"/>
                    <a:gd name="T43" fmla="*/ 516 h 528"/>
                    <a:gd name="T44" fmla="*/ 564 w 630"/>
                    <a:gd name="T45" fmla="*/ 504 h 528"/>
                    <a:gd name="T46" fmla="*/ 522 w 630"/>
                    <a:gd name="T47" fmla="*/ 492 h 528"/>
                    <a:gd name="T48" fmla="*/ 492 w 630"/>
                    <a:gd name="T49" fmla="*/ 498 h 528"/>
                    <a:gd name="T50" fmla="*/ 468 w 630"/>
                    <a:gd name="T51" fmla="*/ 492 h 528"/>
                    <a:gd name="T52" fmla="*/ 462 w 630"/>
                    <a:gd name="T53" fmla="*/ 456 h 528"/>
                    <a:gd name="T54" fmla="*/ 426 w 630"/>
                    <a:gd name="T55" fmla="*/ 450 h 528"/>
                    <a:gd name="T56" fmla="*/ 396 w 630"/>
                    <a:gd name="T57" fmla="*/ 444 h 528"/>
                    <a:gd name="T58" fmla="*/ 396 w 630"/>
                    <a:gd name="T59" fmla="*/ 414 h 528"/>
                    <a:gd name="T60" fmla="*/ 384 w 630"/>
                    <a:gd name="T61" fmla="*/ 372 h 528"/>
                    <a:gd name="T62" fmla="*/ 324 w 630"/>
                    <a:gd name="T63" fmla="*/ 360 h 528"/>
                    <a:gd name="T64" fmla="*/ 294 w 630"/>
                    <a:gd name="T65" fmla="*/ 396 h 528"/>
                    <a:gd name="T66" fmla="*/ 222 w 630"/>
                    <a:gd name="T67" fmla="*/ 498 h 528"/>
                    <a:gd name="T68" fmla="*/ 126 w 630"/>
                    <a:gd name="T69" fmla="*/ 528 h 528"/>
                    <a:gd name="T70" fmla="*/ 102 w 630"/>
                    <a:gd name="T71" fmla="*/ 504 h 528"/>
                    <a:gd name="T72" fmla="*/ 108 w 630"/>
                    <a:gd name="T73" fmla="*/ 456 h 528"/>
                    <a:gd name="T74" fmla="*/ 102 w 630"/>
                    <a:gd name="T75" fmla="*/ 408 h 528"/>
                    <a:gd name="T76" fmla="*/ 66 w 630"/>
                    <a:gd name="T77" fmla="*/ 396 h 528"/>
                    <a:gd name="T78" fmla="*/ 12 w 630"/>
                    <a:gd name="T79" fmla="*/ 390 h 528"/>
                    <a:gd name="T80" fmla="*/ 0 w 630"/>
                    <a:gd name="T81" fmla="*/ 378 h 528"/>
                    <a:gd name="T82" fmla="*/ 18 w 630"/>
                    <a:gd name="T83" fmla="*/ 354 h 528"/>
                    <a:gd name="T84" fmla="*/ 60 w 630"/>
                    <a:gd name="T85" fmla="*/ 324 h 528"/>
                    <a:gd name="T86" fmla="*/ 90 w 630"/>
                    <a:gd name="T87" fmla="*/ 294 h 528"/>
                    <a:gd name="T88" fmla="*/ 102 w 630"/>
                    <a:gd name="T89" fmla="*/ 234 h 528"/>
                    <a:gd name="T90" fmla="*/ 120 w 630"/>
                    <a:gd name="T91" fmla="*/ 198 h 528"/>
                    <a:gd name="T92" fmla="*/ 162 w 630"/>
                    <a:gd name="T93" fmla="*/ 168 h 528"/>
                    <a:gd name="T94" fmla="*/ 186 w 630"/>
                    <a:gd name="T95" fmla="*/ 132 h 528"/>
                    <a:gd name="T96" fmla="*/ 186 w 630"/>
                    <a:gd name="T97" fmla="*/ 84 h 528"/>
                    <a:gd name="T98" fmla="*/ 198 w 630"/>
                    <a:gd name="T99" fmla="*/ 66 h 528"/>
                    <a:gd name="T100" fmla="*/ 222 w 630"/>
                    <a:gd name="T101" fmla="*/ 60 h 528"/>
                    <a:gd name="T102" fmla="*/ 240 w 630"/>
                    <a:gd name="T103" fmla="*/ 42 h 528"/>
                    <a:gd name="T104" fmla="*/ 252 w 630"/>
                    <a:gd name="T105" fmla="*/ 0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0" h="528">
                      <a:moveTo>
                        <a:pt x="258" y="0"/>
                      </a:moveTo>
                      <a:lnTo>
                        <a:pt x="270" y="6"/>
                      </a:lnTo>
                      <a:lnTo>
                        <a:pt x="288" y="12"/>
                      </a:lnTo>
                      <a:lnTo>
                        <a:pt x="300" y="24"/>
                      </a:lnTo>
                      <a:lnTo>
                        <a:pt x="306" y="30"/>
                      </a:lnTo>
                      <a:lnTo>
                        <a:pt x="306" y="42"/>
                      </a:lnTo>
                      <a:lnTo>
                        <a:pt x="306" y="54"/>
                      </a:lnTo>
                      <a:lnTo>
                        <a:pt x="294" y="60"/>
                      </a:lnTo>
                      <a:lnTo>
                        <a:pt x="282" y="72"/>
                      </a:lnTo>
                      <a:lnTo>
                        <a:pt x="282" y="84"/>
                      </a:lnTo>
                      <a:lnTo>
                        <a:pt x="282" y="96"/>
                      </a:lnTo>
                      <a:lnTo>
                        <a:pt x="288" y="102"/>
                      </a:lnTo>
                      <a:lnTo>
                        <a:pt x="294" y="108"/>
                      </a:lnTo>
                      <a:lnTo>
                        <a:pt x="300" y="114"/>
                      </a:lnTo>
                      <a:lnTo>
                        <a:pt x="312" y="108"/>
                      </a:lnTo>
                      <a:lnTo>
                        <a:pt x="324" y="108"/>
                      </a:lnTo>
                      <a:lnTo>
                        <a:pt x="330" y="108"/>
                      </a:lnTo>
                      <a:lnTo>
                        <a:pt x="336" y="114"/>
                      </a:lnTo>
                      <a:lnTo>
                        <a:pt x="336" y="120"/>
                      </a:lnTo>
                      <a:lnTo>
                        <a:pt x="342" y="132"/>
                      </a:lnTo>
                      <a:lnTo>
                        <a:pt x="348" y="138"/>
                      </a:lnTo>
                      <a:lnTo>
                        <a:pt x="360" y="150"/>
                      </a:lnTo>
                      <a:lnTo>
                        <a:pt x="366" y="150"/>
                      </a:lnTo>
                      <a:lnTo>
                        <a:pt x="378" y="162"/>
                      </a:lnTo>
                      <a:lnTo>
                        <a:pt x="390" y="168"/>
                      </a:lnTo>
                      <a:lnTo>
                        <a:pt x="402" y="180"/>
                      </a:lnTo>
                      <a:lnTo>
                        <a:pt x="414" y="192"/>
                      </a:lnTo>
                      <a:lnTo>
                        <a:pt x="420" y="204"/>
                      </a:lnTo>
                      <a:lnTo>
                        <a:pt x="420" y="216"/>
                      </a:lnTo>
                      <a:lnTo>
                        <a:pt x="432" y="222"/>
                      </a:lnTo>
                      <a:lnTo>
                        <a:pt x="444" y="228"/>
                      </a:lnTo>
                      <a:lnTo>
                        <a:pt x="456" y="228"/>
                      </a:lnTo>
                      <a:lnTo>
                        <a:pt x="474" y="234"/>
                      </a:lnTo>
                      <a:lnTo>
                        <a:pt x="492" y="234"/>
                      </a:lnTo>
                      <a:lnTo>
                        <a:pt x="510" y="240"/>
                      </a:lnTo>
                      <a:lnTo>
                        <a:pt x="528" y="252"/>
                      </a:lnTo>
                      <a:lnTo>
                        <a:pt x="540" y="276"/>
                      </a:lnTo>
                      <a:lnTo>
                        <a:pt x="534" y="306"/>
                      </a:lnTo>
                      <a:lnTo>
                        <a:pt x="522" y="336"/>
                      </a:lnTo>
                      <a:lnTo>
                        <a:pt x="522" y="354"/>
                      </a:lnTo>
                      <a:lnTo>
                        <a:pt x="522" y="366"/>
                      </a:lnTo>
                      <a:lnTo>
                        <a:pt x="522" y="378"/>
                      </a:lnTo>
                      <a:lnTo>
                        <a:pt x="528" y="384"/>
                      </a:lnTo>
                      <a:lnTo>
                        <a:pt x="534" y="390"/>
                      </a:lnTo>
                      <a:lnTo>
                        <a:pt x="540" y="396"/>
                      </a:lnTo>
                      <a:lnTo>
                        <a:pt x="534" y="402"/>
                      </a:lnTo>
                      <a:lnTo>
                        <a:pt x="534" y="408"/>
                      </a:lnTo>
                      <a:lnTo>
                        <a:pt x="522" y="414"/>
                      </a:lnTo>
                      <a:lnTo>
                        <a:pt x="522" y="420"/>
                      </a:lnTo>
                      <a:lnTo>
                        <a:pt x="528" y="426"/>
                      </a:lnTo>
                      <a:lnTo>
                        <a:pt x="540" y="426"/>
                      </a:lnTo>
                      <a:lnTo>
                        <a:pt x="558" y="426"/>
                      </a:lnTo>
                      <a:lnTo>
                        <a:pt x="588" y="426"/>
                      </a:lnTo>
                      <a:lnTo>
                        <a:pt x="606" y="420"/>
                      </a:lnTo>
                      <a:lnTo>
                        <a:pt x="618" y="426"/>
                      </a:lnTo>
                      <a:lnTo>
                        <a:pt x="624" y="426"/>
                      </a:lnTo>
                      <a:lnTo>
                        <a:pt x="630" y="432"/>
                      </a:lnTo>
                      <a:lnTo>
                        <a:pt x="630" y="444"/>
                      </a:lnTo>
                      <a:lnTo>
                        <a:pt x="630" y="450"/>
                      </a:lnTo>
                      <a:lnTo>
                        <a:pt x="624" y="456"/>
                      </a:lnTo>
                      <a:lnTo>
                        <a:pt x="624" y="468"/>
                      </a:lnTo>
                      <a:lnTo>
                        <a:pt x="618" y="474"/>
                      </a:lnTo>
                      <a:lnTo>
                        <a:pt x="618" y="486"/>
                      </a:lnTo>
                      <a:lnTo>
                        <a:pt x="612" y="498"/>
                      </a:lnTo>
                      <a:lnTo>
                        <a:pt x="606" y="510"/>
                      </a:lnTo>
                      <a:lnTo>
                        <a:pt x="606" y="516"/>
                      </a:lnTo>
                      <a:lnTo>
                        <a:pt x="594" y="516"/>
                      </a:lnTo>
                      <a:lnTo>
                        <a:pt x="582" y="516"/>
                      </a:lnTo>
                      <a:lnTo>
                        <a:pt x="564" y="504"/>
                      </a:lnTo>
                      <a:lnTo>
                        <a:pt x="546" y="498"/>
                      </a:lnTo>
                      <a:lnTo>
                        <a:pt x="534" y="492"/>
                      </a:lnTo>
                      <a:lnTo>
                        <a:pt x="522" y="492"/>
                      </a:lnTo>
                      <a:lnTo>
                        <a:pt x="510" y="492"/>
                      </a:lnTo>
                      <a:lnTo>
                        <a:pt x="504" y="492"/>
                      </a:lnTo>
                      <a:lnTo>
                        <a:pt x="492" y="498"/>
                      </a:lnTo>
                      <a:lnTo>
                        <a:pt x="480" y="498"/>
                      </a:lnTo>
                      <a:lnTo>
                        <a:pt x="474" y="498"/>
                      </a:lnTo>
                      <a:lnTo>
                        <a:pt x="468" y="492"/>
                      </a:lnTo>
                      <a:lnTo>
                        <a:pt x="468" y="480"/>
                      </a:lnTo>
                      <a:lnTo>
                        <a:pt x="462" y="468"/>
                      </a:lnTo>
                      <a:lnTo>
                        <a:pt x="462" y="456"/>
                      </a:lnTo>
                      <a:lnTo>
                        <a:pt x="450" y="450"/>
                      </a:lnTo>
                      <a:lnTo>
                        <a:pt x="438" y="450"/>
                      </a:lnTo>
                      <a:lnTo>
                        <a:pt x="426" y="450"/>
                      </a:lnTo>
                      <a:lnTo>
                        <a:pt x="408" y="456"/>
                      </a:lnTo>
                      <a:lnTo>
                        <a:pt x="402" y="450"/>
                      </a:lnTo>
                      <a:lnTo>
                        <a:pt x="396" y="444"/>
                      </a:lnTo>
                      <a:lnTo>
                        <a:pt x="390" y="438"/>
                      </a:lnTo>
                      <a:lnTo>
                        <a:pt x="390" y="426"/>
                      </a:lnTo>
                      <a:lnTo>
                        <a:pt x="396" y="414"/>
                      </a:lnTo>
                      <a:lnTo>
                        <a:pt x="402" y="402"/>
                      </a:lnTo>
                      <a:lnTo>
                        <a:pt x="396" y="390"/>
                      </a:lnTo>
                      <a:lnTo>
                        <a:pt x="384" y="372"/>
                      </a:lnTo>
                      <a:lnTo>
                        <a:pt x="360" y="360"/>
                      </a:lnTo>
                      <a:lnTo>
                        <a:pt x="336" y="354"/>
                      </a:lnTo>
                      <a:lnTo>
                        <a:pt x="324" y="360"/>
                      </a:lnTo>
                      <a:lnTo>
                        <a:pt x="312" y="366"/>
                      </a:lnTo>
                      <a:lnTo>
                        <a:pt x="300" y="378"/>
                      </a:lnTo>
                      <a:lnTo>
                        <a:pt x="294" y="396"/>
                      </a:lnTo>
                      <a:lnTo>
                        <a:pt x="288" y="414"/>
                      </a:lnTo>
                      <a:lnTo>
                        <a:pt x="270" y="456"/>
                      </a:lnTo>
                      <a:lnTo>
                        <a:pt x="222" y="498"/>
                      </a:lnTo>
                      <a:lnTo>
                        <a:pt x="162" y="522"/>
                      </a:lnTo>
                      <a:lnTo>
                        <a:pt x="138" y="528"/>
                      </a:lnTo>
                      <a:lnTo>
                        <a:pt x="126" y="528"/>
                      </a:lnTo>
                      <a:lnTo>
                        <a:pt x="114" y="528"/>
                      </a:lnTo>
                      <a:lnTo>
                        <a:pt x="108" y="516"/>
                      </a:lnTo>
                      <a:lnTo>
                        <a:pt x="102" y="504"/>
                      </a:lnTo>
                      <a:lnTo>
                        <a:pt x="102" y="492"/>
                      </a:lnTo>
                      <a:lnTo>
                        <a:pt x="108" y="474"/>
                      </a:lnTo>
                      <a:lnTo>
                        <a:pt x="108" y="456"/>
                      </a:lnTo>
                      <a:lnTo>
                        <a:pt x="114" y="438"/>
                      </a:lnTo>
                      <a:lnTo>
                        <a:pt x="108" y="420"/>
                      </a:lnTo>
                      <a:lnTo>
                        <a:pt x="102" y="408"/>
                      </a:lnTo>
                      <a:lnTo>
                        <a:pt x="96" y="402"/>
                      </a:lnTo>
                      <a:lnTo>
                        <a:pt x="84" y="396"/>
                      </a:lnTo>
                      <a:lnTo>
                        <a:pt x="66" y="396"/>
                      </a:lnTo>
                      <a:lnTo>
                        <a:pt x="48" y="390"/>
                      </a:lnTo>
                      <a:lnTo>
                        <a:pt x="30" y="390"/>
                      </a:lnTo>
                      <a:lnTo>
                        <a:pt x="12" y="390"/>
                      </a:lnTo>
                      <a:lnTo>
                        <a:pt x="6" y="390"/>
                      </a:lnTo>
                      <a:lnTo>
                        <a:pt x="0" y="384"/>
                      </a:lnTo>
                      <a:lnTo>
                        <a:pt x="0" y="378"/>
                      </a:lnTo>
                      <a:lnTo>
                        <a:pt x="0" y="366"/>
                      </a:lnTo>
                      <a:lnTo>
                        <a:pt x="12" y="360"/>
                      </a:lnTo>
                      <a:lnTo>
                        <a:pt x="18" y="354"/>
                      </a:lnTo>
                      <a:lnTo>
                        <a:pt x="30" y="342"/>
                      </a:lnTo>
                      <a:lnTo>
                        <a:pt x="42" y="336"/>
                      </a:lnTo>
                      <a:lnTo>
                        <a:pt x="60" y="324"/>
                      </a:lnTo>
                      <a:lnTo>
                        <a:pt x="72" y="318"/>
                      </a:lnTo>
                      <a:lnTo>
                        <a:pt x="84" y="306"/>
                      </a:lnTo>
                      <a:lnTo>
                        <a:pt x="90" y="294"/>
                      </a:lnTo>
                      <a:lnTo>
                        <a:pt x="96" y="276"/>
                      </a:lnTo>
                      <a:lnTo>
                        <a:pt x="96" y="258"/>
                      </a:lnTo>
                      <a:lnTo>
                        <a:pt x="102" y="234"/>
                      </a:lnTo>
                      <a:lnTo>
                        <a:pt x="102" y="222"/>
                      </a:lnTo>
                      <a:lnTo>
                        <a:pt x="114" y="210"/>
                      </a:lnTo>
                      <a:lnTo>
                        <a:pt x="120" y="198"/>
                      </a:lnTo>
                      <a:lnTo>
                        <a:pt x="132" y="192"/>
                      </a:lnTo>
                      <a:lnTo>
                        <a:pt x="144" y="180"/>
                      </a:lnTo>
                      <a:lnTo>
                        <a:pt x="162" y="168"/>
                      </a:lnTo>
                      <a:lnTo>
                        <a:pt x="174" y="156"/>
                      </a:lnTo>
                      <a:lnTo>
                        <a:pt x="180" y="144"/>
                      </a:lnTo>
                      <a:lnTo>
                        <a:pt x="186" y="132"/>
                      </a:lnTo>
                      <a:lnTo>
                        <a:pt x="186" y="120"/>
                      </a:lnTo>
                      <a:lnTo>
                        <a:pt x="186" y="102"/>
                      </a:lnTo>
                      <a:lnTo>
                        <a:pt x="186" y="84"/>
                      </a:lnTo>
                      <a:lnTo>
                        <a:pt x="186" y="72"/>
                      </a:lnTo>
                      <a:lnTo>
                        <a:pt x="192" y="66"/>
                      </a:lnTo>
                      <a:lnTo>
                        <a:pt x="198" y="66"/>
                      </a:lnTo>
                      <a:lnTo>
                        <a:pt x="204" y="66"/>
                      </a:lnTo>
                      <a:lnTo>
                        <a:pt x="216" y="66"/>
                      </a:lnTo>
                      <a:lnTo>
                        <a:pt x="222" y="60"/>
                      </a:lnTo>
                      <a:lnTo>
                        <a:pt x="234" y="60"/>
                      </a:lnTo>
                      <a:lnTo>
                        <a:pt x="234" y="54"/>
                      </a:lnTo>
                      <a:lnTo>
                        <a:pt x="240" y="42"/>
                      </a:lnTo>
                      <a:lnTo>
                        <a:pt x="240" y="24"/>
                      </a:lnTo>
                      <a:lnTo>
                        <a:pt x="246" y="12"/>
                      </a:lnTo>
                      <a:lnTo>
                        <a:pt x="252" y="0"/>
                      </a:lnTo>
                      <a:lnTo>
                        <a:pt x="25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7" name="Freeform 357">
                  <a:extLst>
                    <a:ext uri="{FF2B5EF4-FFF2-40B4-BE49-F238E27FC236}">
                      <a16:creationId xmlns:a16="http://schemas.microsoft.com/office/drawing/2014/main" id="{68DE59CB-FE93-460E-8FF6-193E8FEA8A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31" y="-5208"/>
                  <a:ext cx="192" cy="114"/>
                </a:xfrm>
                <a:custGeom>
                  <a:avLst/>
                  <a:gdLst>
                    <a:gd name="T0" fmla="*/ 144 w 192"/>
                    <a:gd name="T1" fmla="*/ 0 h 114"/>
                    <a:gd name="T2" fmla="*/ 180 w 192"/>
                    <a:gd name="T3" fmla="*/ 0 h 114"/>
                    <a:gd name="T4" fmla="*/ 186 w 192"/>
                    <a:gd name="T5" fmla="*/ 12 h 114"/>
                    <a:gd name="T6" fmla="*/ 192 w 192"/>
                    <a:gd name="T7" fmla="*/ 18 h 114"/>
                    <a:gd name="T8" fmla="*/ 186 w 192"/>
                    <a:gd name="T9" fmla="*/ 30 h 114"/>
                    <a:gd name="T10" fmla="*/ 180 w 192"/>
                    <a:gd name="T11" fmla="*/ 42 h 114"/>
                    <a:gd name="T12" fmla="*/ 162 w 192"/>
                    <a:gd name="T13" fmla="*/ 54 h 114"/>
                    <a:gd name="T14" fmla="*/ 150 w 192"/>
                    <a:gd name="T15" fmla="*/ 66 h 114"/>
                    <a:gd name="T16" fmla="*/ 132 w 192"/>
                    <a:gd name="T17" fmla="*/ 78 h 114"/>
                    <a:gd name="T18" fmla="*/ 114 w 192"/>
                    <a:gd name="T19" fmla="*/ 84 h 114"/>
                    <a:gd name="T20" fmla="*/ 102 w 192"/>
                    <a:gd name="T21" fmla="*/ 84 h 114"/>
                    <a:gd name="T22" fmla="*/ 90 w 192"/>
                    <a:gd name="T23" fmla="*/ 84 h 114"/>
                    <a:gd name="T24" fmla="*/ 84 w 192"/>
                    <a:gd name="T25" fmla="*/ 84 h 114"/>
                    <a:gd name="T26" fmla="*/ 78 w 192"/>
                    <a:gd name="T27" fmla="*/ 84 h 114"/>
                    <a:gd name="T28" fmla="*/ 78 w 192"/>
                    <a:gd name="T29" fmla="*/ 84 h 114"/>
                    <a:gd name="T30" fmla="*/ 72 w 192"/>
                    <a:gd name="T31" fmla="*/ 90 h 114"/>
                    <a:gd name="T32" fmla="*/ 66 w 192"/>
                    <a:gd name="T33" fmla="*/ 102 h 114"/>
                    <a:gd name="T34" fmla="*/ 54 w 192"/>
                    <a:gd name="T35" fmla="*/ 108 h 114"/>
                    <a:gd name="T36" fmla="*/ 42 w 192"/>
                    <a:gd name="T37" fmla="*/ 114 h 114"/>
                    <a:gd name="T38" fmla="*/ 30 w 192"/>
                    <a:gd name="T39" fmla="*/ 108 h 114"/>
                    <a:gd name="T40" fmla="*/ 12 w 192"/>
                    <a:gd name="T41" fmla="*/ 90 h 114"/>
                    <a:gd name="T42" fmla="*/ 0 w 192"/>
                    <a:gd name="T43" fmla="*/ 78 h 114"/>
                    <a:gd name="T44" fmla="*/ 0 w 192"/>
                    <a:gd name="T45" fmla="*/ 66 h 114"/>
                    <a:gd name="T46" fmla="*/ 0 w 192"/>
                    <a:gd name="T47" fmla="*/ 60 h 114"/>
                    <a:gd name="T48" fmla="*/ 6 w 192"/>
                    <a:gd name="T49" fmla="*/ 48 h 114"/>
                    <a:gd name="T50" fmla="*/ 18 w 192"/>
                    <a:gd name="T51" fmla="*/ 36 h 114"/>
                    <a:gd name="T52" fmla="*/ 36 w 192"/>
                    <a:gd name="T53" fmla="*/ 18 h 114"/>
                    <a:gd name="T54" fmla="*/ 60 w 192"/>
                    <a:gd name="T55" fmla="*/ 6 h 114"/>
                    <a:gd name="T56" fmla="*/ 102 w 192"/>
                    <a:gd name="T57" fmla="*/ 0 h 114"/>
                    <a:gd name="T58" fmla="*/ 144 w 192"/>
                    <a:gd name="T59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92" h="114">
                      <a:moveTo>
                        <a:pt x="144" y="0"/>
                      </a:moveTo>
                      <a:lnTo>
                        <a:pt x="180" y="0"/>
                      </a:lnTo>
                      <a:lnTo>
                        <a:pt x="186" y="12"/>
                      </a:lnTo>
                      <a:lnTo>
                        <a:pt x="192" y="18"/>
                      </a:lnTo>
                      <a:lnTo>
                        <a:pt x="186" y="30"/>
                      </a:lnTo>
                      <a:lnTo>
                        <a:pt x="180" y="42"/>
                      </a:lnTo>
                      <a:lnTo>
                        <a:pt x="162" y="54"/>
                      </a:lnTo>
                      <a:lnTo>
                        <a:pt x="150" y="66"/>
                      </a:lnTo>
                      <a:lnTo>
                        <a:pt x="132" y="78"/>
                      </a:lnTo>
                      <a:lnTo>
                        <a:pt x="114" y="84"/>
                      </a:lnTo>
                      <a:lnTo>
                        <a:pt x="102" y="84"/>
                      </a:lnTo>
                      <a:lnTo>
                        <a:pt x="90" y="84"/>
                      </a:lnTo>
                      <a:lnTo>
                        <a:pt x="84" y="84"/>
                      </a:lnTo>
                      <a:lnTo>
                        <a:pt x="78" y="84"/>
                      </a:lnTo>
                      <a:lnTo>
                        <a:pt x="78" y="84"/>
                      </a:lnTo>
                      <a:lnTo>
                        <a:pt x="72" y="90"/>
                      </a:lnTo>
                      <a:lnTo>
                        <a:pt x="66" y="102"/>
                      </a:lnTo>
                      <a:lnTo>
                        <a:pt x="54" y="108"/>
                      </a:lnTo>
                      <a:lnTo>
                        <a:pt x="42" y="114"/>
                      </a:lnTo>
                      <a:lnTo>
                        <a:pt x="30" y="108"/>
                      </a:lnTo>
                      <a:lnTo>
                        <a:pt x="12" y="90"/>
                      </a:lnTo>
                      <a:lnTo>
                        <a:pt x="0" y="78"/>
                      </a:lnTo>
                      <a:lnTo>
                        <a:pt x="0" y="66"/>
                      </a:lnTo>
                      <a:lnTo>
                        <a:pt x="0" y="60"/>
                      </a:lnTo>
                      <a:lnTo>
                        <a:pt x="6" y="48"/>
                      </a:lnTo>
                      <a:lnTo>
                        <a:pt x="18" y="36"/>
                      </a:lnTo>
                      <a:lnTo>
                        <a:pt x="36" y="18"/>
                      </a:lnTo>
                      <a:lnTo>
                        <a:pt x="60" y="6"/>
                      </a:lnTo>
                      <a:lnTo>
                        <a:pt x="102" y="0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8" name="Freeform 358">
                  <a:extLst>
                    <a:ext uri="{FF2B5EF4-FFF2-40B4-BE49-F238E27FC236}">
                      <a16:creationId xmlns:a16="http://schemas.microsoft.com/office/drawing/2014/main" id="{489B1120-14DB-4210-B572-4D7AD4524C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25" y="-5094"/>
                  <a:ext cx="108" cy="162"/>
                </a:xfrm>
                <a:custGeom>
                  <a:avLst/>
                  <a:gdLst>
                    <a:gd name="T0" fmla="*/ 72 w 108"/>
                    <a:gd name="T1" fmla="*/ 0 h 162"/>
                    <a:gd name="T2" fmla="*/ 78 w 108"/>
                    <a:gd name="T3" fmla="*/ 0 h 162"/>
                    <a:gd name="T4" fmla="*/ 84 w 108"/>
                    <a:gd name="T5" fmla="*/ 6 h 162"/>
                    <a:gd name="T6" fmla="*/ 90 w 108"/>
                    <a:gd name="T7" fmla="*/ 18 h 162"/>
                    <a:gd name="T8" fmla="*/ 102 w 108"/>
                    <a:gd name="T9" fmla="*/ 36 h 162"/>
                    <a:gd name="T10" fmla="*/ 108 w 108"/>
                    <a:gd name="T11" fmla="*/ 78 h 162"/>
                    <a:gd name="T12" fmla="*/ 90 w 108"/>
                    <a:gd name="T13" fmla="*/ 114 h 162"/>
                    <a:gd name="T14" fmla="*/ 48 w 108"/>
                    <a:gd name="T15" fmla="*/ 150 h 162"/>
                    <a:gd name="T16" fmla="*/ 30 w 108"/>
                    <a:gd name="T17" fmla="*/ 156 h 162"/>
                    <a:gd name="T18" fmla="*/ 18 w 108"/>
                    <a:gd name="T19" fmla="*/ 162 h 162"/>
                    <a:gd name="T20" fmla="*/ 12 w 108"/>
                    <a:gd name="T21" fmla="*/ 156 h 162"/>
                    <a:gd name="T22" fmla="*/ 6 w 108"/>
                    <a:gd name="T23" fmla="*/ 150 h 162"/>
                    <a:gd name="T24" fmla="*/ 0 w 108"/>
                    <a:gd name="T25" fmla="*/ 138 h 162"/>
                    <a:gd name="T26" fmla="*/ 0 w 108"/>
                    <a:gd name="T27" fmla="*/ 120 h 162"/>
                    <a:gd name="T28" fmla="*/ 0 w 108"/>
                    <a:gd name="T29" fmla="*/ 96 h 162"/>
                    <a:gd name="T30" fmla="*/ 0 w 108"/>
                    <a:gd name="T31" fmla="*/ 72 h 162"/>
                    <a:gd name="T32" fmla="*/ 0 w 108"/>
                    <a:gd name="T33" fmla="*/ 48 h 162"/>
                    <a:gd name="T34" fmla="*/ 0 w 108"/>
                    <a:gd name="T35" fmla="*/ 30 h 162"/>
                    <a:gd name="T36" fmla="*/ 6 w 108"/>
                    <a:gd name="T37" fmla="*/ 24 h 162"/>
                    <a:gd name="T38" fmla="*/ 12 w 108"/>
                    <a:gd name="T39" fmla="*/ 18 h 162"/>
                    <a:gd name="T40" fmla="*/ 18 w 108"/>
                    <a:gd name="T41" fmla="*/ 12 h 162"/>
                    <a:gd name="T42" fmla="*/ 30 w 108"/>
                    <a:gd name="T43" fmla="*/ 12 h 162"/>
                    <a:gd name="T44" fmla="*/ 36 w 108"/>
                    <a:gd name="T45" fmla="*/ 12 h 162"/>
                    <a:gd name="T46" fmla="*/ 48 w 108"/>
                    <a:gd name="T47" fmla="*/ 6 h 162"/>
                    <a:gd name="T48" fmla="*/ 60 w 108"/>
                    <a:gd name="T49" fmla="*/ 6 h 162"/>
                    <a:gd name="T50" fmla="*/ 66 w 108"/>
                    <a:gd name="T51" fmla="*/ 0 h 162"/>
                    <a:gd name="T52" fmla="*/ 72 w 108"/>
                    <a:gd name="T53" fmla="*/ 0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08" h="162">
                      <a:moveTo>
                        <a:pt x="72" y="0"/>
                      </a:moveTo>
                      <a:lnTo>
                        <a:pt x="78" y="0"/>
                      </a:lnTo>
                      <a:lnTo>
                        <a:pt x="84" y="6"/>
                      </a:lnTo>
                      <a:lnTo>
                        <a:pt x="90" y="18"/>
                      </a:lnTo>
                      <a:lnTo>
                        <a:pt x="102" y="36"/>
                      </a:lnTo>
                      <a:lnTo>
                        <a:pt x="108" y="78"/>
                      </a:lnTo>
                      <a:lnTo>
                        <a:pt x="90" y="114"/>
                      </a:lnTo>
                      <a:lnTo>
                        <a:pt x="48" y="150"/>
                      </a:lnTo>
                      <a:lnTo>
                        <a:pt x="30" y="156"/>
                      </a:lnTo>
                      <a:lnTo>
                        <a:pt x="18" y="162"/>
                      </a:lnTo>
                      <a:lnTo>
                        <a:pt x="12" y="156"/>
                      </a:lnTo>
                      <a:lnTo>
                        <a:pt x="6" y="150"/>
                      </a:lnTo>
                      <a:lnTo>
                        <a:pt x="0" y="138"/>
                      </a:lnTo>
                      <a:lnTo>
                        <a:pt x="0" y="120"/>
                      </a:lnTo>
                      <a:lnTo>
                        <a:pt x="0" y="96"/>
                      </a:lnTo>
                      <a:lnTo>
                        <a:pt x="0" y="72"/>
                      </a:lnTo>
                      <a:lnTo>
                        <a:pt x="0" y="48"/>
                      </a:lnTo>
                      <a:lnTo>
                        <a:pt x="0" y="30"/>
                      </a:lnTo>
                      <a:lnTo>
                        <a:pt x="6" y="24"/>
                      </a:lnTo>
                      <a:lnTo>
                        <a:pt x="12" y="18"/>
                      </a:lnTo>
                      <a:lnTo>
                        <a:pt x="18" y="12"/>
                      </a:lnTo>
                      <a:lnTo>
                        <a:pt x="30" y="12"/>
                      </a:lnTo>
                      <a:lnTo>
                        <a:pt x="36" y="12"/>
                      </a:lnTo>
                      <a:lnTo>
                        <a:pt x="48" y="6"/>
                      </a:lnTo>
                      <a:lnTo>
                        <a:pt x="60" y="6"/>
                      </a:lnTo>
                      <a:lnTo>
                        <a:pt x="66" y="0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89" name="Freeform 207">
                  <a:extLst>
                    <a:ext uri="{FF2B5EF4-FFF2-40B4-BE49-F238E27FC236}">
                      <a16:creationId xmlns:a16="http://schemas.microsoft.com/office/drawing/2014/main" id="{90A458B5-0389-4FF2-BF2A-3BA0468D40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1" y="2040"/>
                  <a:ext cx="912" cy="1284"/>
                </a:xfrm>
                <a:custGeom>
                  <a:avLst/>
                  <a:gdLst>
                    <a:gd name="T0" fmla="*/ 606 w 912"/>
                    <a:gd name="T1" fmla="*/ 0 h 1284"/>
                    <a:gd name="T2" fmla="*/ 732 w 912"/>
                    <a:gd name="T3" fmla="*/ 66 h 1284"/>
                    <a:gd name="T4" fmla="*/ 726 w 912"/>
                    <a:gd name="T5" fmla="*/ 162 h 1284"/>
                    <a:gd name="T6" fmla="*/ 756 w 912"/>
                    <a:gd name="T7" fmla="*/ 288 h 1284"/>
                    <a:gd name="T8" fmla="*/ 630 w 912"/>
                    <a:gd name="T9" fmla="*/ 336 h 1284"/>
                    <a:gd name="T10" fmla="*/ 642 w 912"/>
                    <a:gd name="T11" fmla="*/ 420 h 1284"/>
                    <a:gd name="T12" fmla="*/ 756 w 912"/>
                    <a:gd name="T13" fmla="*/ 486 h 1284"/>
                    <a:gd name="T14" fmla="*/ 828 w 912"/>
                    <a:gd name="T15" fmla="*/ 624 h 1284"/>
                    <a:gd name="T16" fmla="*/ 768 w 912"/>
                    <a:gd name="T17" fmla="*/ 726 h 1284"/>
                    <a:gd name="T18" fmla="*/ 708 w 912"/>
                    <a:gd name="T19" fmla="*/ 894 h 1284"/>
                    <a:gd name="T20" fmla="*/ 738 w 912"/>
                    <a:gd name="T21" fmla="*/ 1002 h 1284"/>
                    <a:gd name="T22" fmla="*/ 804 w 912"/>
                    <a:gd name="T23" fmla="*/ 1098 h 1284"/>
                    <a:gd name="T24" fmla="*/ 870 w 912"/>
                    <a:gd name="T25" fmla="*/ 1218 h 1284"/>
                    <a:gd name="T26" fmla="*/ 768 w 912"/>
                    <a:gd name="T27" fmla="*/ 1260 h 1284"/>
                    <a:gd name="T28" fmla="*/ 414 w 912"/>
                    <a:gd name="T29" fmla="*/ 1242 h 1284"/>
                    <a:gd name="T30" fmla="*/ 342 w 912"/>
                    <a:gd name="T31" fmla="*/ 1254 h 1284"/>
                    <a:gd name="T32" fmla="*/ 174 w 912"/>
                    <a:gd name="T33" fmla="*/ 1254 h 1284"/>
                    <a:gd name="T34" fmla="*/ 168 w 912"/>
                    <a:gd name="T35" fmla="*/ 1182 h 1284"/>
                    <a:gd name="T36" fmla="*/ 168 w 912"/>
                    <a:gd name="T37" fmla="*/ 1146 h 1284"/>
                    <a:gd name="T38" fmla="*/ 156 w 912"/>
                    <a:gd name="T39" fmla="*/ 1128 h 1284"/>
                    <a:gd name="T40" fmla="*/ 144 w 912"/>
                    <a:gd name="T41" fmla="*/ 1110 h 1284"/>
                    <a:gd name="T42" fmla="*/ 150 w 912"/>
                    <a:gd name="T43" fmla="*/ 1092 h 1284"/>
                    <a:gd name="T44" fmla="*/ 150 w 912"/>
                    <a:gd name="T45" fmla="*/ 1062 h 1284"/>
                    <a:gd name="T46" fmla="*/ 132 w 912"/>
                    <a:gd name="T47" fmla="*/ 1044 h 1284"/>
                    <a:gd name="T48" fmla="*/ 108 w 912"/>
                    <a:gd name="T49" fmla="*/ 1038 h 1284"/>
                    <a:gd name="T50" fmla="*/ 84 w 912"/>
                    <a:gd name="T51" fmla="*/ 1038 h 1284"/>
                    <a:gd name="T52" fmla="*/ 54 w 912"/>
                    <a:gd name="T53" fmla="*/ 1026 h 1284"/>
                    <a:gd name="T54" fmla="*/ 42 w 912"/>
                    <a:gd name="T55" fmla="*/ 1002 h 1284"/>
                    <a:gd name="T56" fmla="*/ 42 w 912"/>
                    <a:gd name="T57" fmla="*/ 972 h 1284"/>
                    <a:gd name="T58" fmla="*/ 24 w 912"/>
                    <a:gd name="T59" fmla="*/ 954 h 1284"/>
                    <a:gd name="T60" fmla="*/ 0 w 912"/>
                    <a:gd name="T61" fmla="*/ 960 h 1284"/>
                    <a:gd name="T62" fmla="*/ 42 w 912"/>
                    <a:gd name="T63" fmla="*/ 894 h 1284"/>
                    <a:gd name="T64" fmla="*/ 60 w 912"/>
                    <a:gd name="T65" fmla="*/ 774 h 1284"/>
                    <a:gd name="T66" fmla="*/ 180 w 912"/>
                    <a:gd name="T67" fmla="*/ 696 h 1284"/>
                    <a:gd name="T68" fmla="*/ 312 w 912"/>
                    <a:gd name="T69" fmla="*/ 720 h 1284"/>
                    <a:gd name="T70" fmla="*/ 414 w 912"/>
                    <a:gd name="T71" fmla="*/ 540 h 1284"/>
                    <a:gd name="T72" fmla="*/ 426 w 912"/>
                    <a:gd name="T73" fmla="*/ 534 h 1284"/>
                    <a:gd name="T74" fmla="*/ 444 w 912"/>
                    <a:gd name="T75" fmla="*/ 510 h 1284"/>
                    <a:gd name="T76" fmla="*/ 462 w 912"/>
                    <a:gd name="T77" fmla="*/ 480 h 1284"/>
                    <a:gd name="T78" fmla="*/ 474 w 912"/>
                    <a:gd name="T79" fmla="*/ 462 h 1284"/>
                    <a:gd name="T80" fmla="*/ 480 w 912"/>
                    <a:gd name="T81" fmla="*/ 456 h 1284"/>
                    <a:gd name="T82" fmla="*/ 492 w 912"/>
                    <a:gd name="T83" fmla="*/ 432 h 1284"/>
                    <a:gd name="T84" fmla="*/ 498 w 912"/>
                    <a:gd name="T85" fmla="*/ 402 h 1284"/>
                    <a:gd name="T86" fmla="*/ 510 w 912"/>
                    <a:gd name="T87" fmla="*/ 378 h 1284"/>
                    <a:gd name="T88" fmla="*/ 570 w 912"/>
                    <a:gd name="T89" fmla="*/ 288 h 1284"/>
                    <a:gd name="T90" fmla="*/ 618 w 912"/>
                    <a:gd name="T91" fmla="*/ 174 h 1284"/>
                    <a:gd name="T92" fmla="*/ 606 w 912"/>
                    <a:gd name="T93" fmla="*/ 84 h 1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912" h="1284">
                      <a:moveTo>
                        <a:pt x="606" y="0"/>
                      </a:moveTo>
                      <a:lnTo>
                        <a:pt x="606" y="0"/>
                      </a:lnTo>
                      <a:lnTo>
                        <a:pt x="684" y="36"/>
                      </a:lnTo>
                      <a:lnTo>
                        <a:pt x="732" y="66"/>
                      </a:lnTo>
                      <a:lnTo>
                        <a:pt x="732" y="114"/>
                      </a:lnTo>
                      <a:lnTo>
                        <a:pt x="726" y="162"/>
                      </a:lnTo>
                      <a:lnTo>
                        <a:pt x="756" y="210"/>
                      </a:lnTo>
                      <a:lnTo>
                        <a:pt x="756" y="288"/>
                      </a:lnTo>
                      <a:lnTo>
                        <a:pt x="714" y="336"/>
                      </a:lnTo>
                      <a:lnTo>
                        <a:pt x="630" y="336"/>
                      </a:lnTo>
                      <a:lnTo>
                        <a:pt x="606" y="366"/>
                      </a:lnTo>
                      <a:lnTo>
                        <a:pt x="642" y="420"/>
                      </a:lnTo>
                      <a:lnTo>
                        <a:pt x="690" y="438"/>
                      </a:lnTo>
                      <a:lnTo>
                        <a:pt x="756" y="486"/>
                      </a:lnTo>
                      <a:lnTo>
                        <a:pt x="774" y="534"/>
                      </a:lnTo>
                      <a:lnTo>
                        <a:pt x="828" y="624"/>
                      </a:lnTo>
                      <a:lnTo>
                        <a:pt x="774" y="660"/>
                      </a:lnTo>
                      <a:lnTo>
                        <a:pt x="768" y="726"/>
                      </a:lnTo>
                      <a:lnTo>
                        <a:pt x="726" y="786"/>
                      </a:lnTo>
                      <a:lnTo>
                        <a:pt x="708" y="894"/>
                      </a:lnTo>
                      <a:lnTo>
                        <a:pt x="750" y="930"/>
                      </a:lnTo>
                      <a:lnTo>
                        <a:pt x="738" y="1002"/>
                      </a:lnTo>
                      <a:lnTo>
                        <a:pt x="768" y="1020"/>
                      </a:lnTo>
                      <a:lnTo>
                        <a:pt x="804" y="1098"/>
                      </a:lnTo>
                      <a:lnTo>
                        <a:pt x="912" y="1158"/>
                      </a:lnTo>
                      <a:lnTo>
                        <a:pt x="870" y="1218"/>
                      </a:lnTo>
                      <a:lnTo>
                        <a:pt x="828" y="1284"/>
                      </a:lnTo>
                      <a:lnTo>
                        <a:pt x="768" y="1260"/>
                      </a:lnTo>
                      <a:lnTo>
                        <a:pt x="504" y="1260"/>
                      </a:lnTo>
                      <a:lnTo>
                        <a:pt x="414" y="1242"/>
                      </a:lnTo>
                      <a:lnTo>
                        <a:pt x="342" y="1260"/>
                      </a:lnTo>
                      <a:lnTo>
                        <a:pt x="342" y="1254"/>
                      </a:lnTo>
                      <a:lnTo>
                        <a:pt x="246" y="1242"/>
                      </a:lnTo>
                      <a:lnTo>
                        <a:pt x="174" y="1254"/>
                      </a:lnTo>
                      <a:lnTo>
                        <a:pt x="168" y="1218"/>
                      </a:lnTo>
                      <a:lnTo>
                        <a:pt x="168" y="1182"/>
                      </a:lnTo>
                      <a:lnTo>
                        <a:pt x="168" y="1158"/>
                      </a:lnTo>
                      <a:lnTo>
                        <a:pt x="168" y="1146"/>
                      </a:lnTo>
                      <a:lnTo>
                        <a:pt x="162" y="1134"/>
                      </a:lnTo>
                      <a:lnTo>
                        <a:pt x="156" y="1128"/>
                      </a:lnTo>
                      <a:lnTo>
                        <a:pt x="150" y="1116"/>
                      </a:lnTo>
                      <a:lnTo>
                        <a:pt x="144" y="1110"/>
                      </a:lnTo>
                      <a:lnTo>
                        <a:pt x="144" y="1098"/>
                      </a:lnTo>
                      <a:lnTo>
                        <a:pt x="150" y="1092"/>
                      </a:lnTo>
                      <a:lnTo>
                        <a:pt x="150" y="1080"/>
                      </a:lnTo>
                      <a:lnTo>
                        <a:pt x="150" y="1062"/>
                      </a:lnTo>
                      <a:lnTo>
                        <a:pt x="144" y="1056"/>
                      </a:lnTo>
                      <a:lnTo>
                        <a:pt x="132" y="1044"/>
                      </a:lnTo>
                      <a:lnTo>
                        <a:pt x="120" y="1038"/>
                      </a:lnTo>
                      <a:lnTo>
                        <a:pt x="108" y="1038"/>
                      </a:lnTo>
                      <a:lnTo>
                        <a:pt x="96" y="1038"/>
                      </a:lnTo>
                      <a:lnTo>
                        <a:pt x="84" y="1038"/>
                      </a:lnTo>
                      <a:lnTo>
                        <a:pt x="66" y="1032"/>
                      </a:lnTo>
                      <a:lnTo>
                        <a:pt x="54" y="1026"/>
                      </a:lnTo>
                      <a:lnTo>
                        <a:pt x="48" y="1014"/>
                      </a:lnTo>
                      <a:lnTo>
                        <a:pt x="42" y="1002"/>
                      </a:lnTo>
                      <a:lnTo>
                        <a:pt x="42" y="990"/>
                      </a:lnTo>
                      <a:lnTo>
                        <a:pt x="42" y="972"/>
                      </a:lnTo>
                      <a:lnTo>
                        <a:pt x="36" y="966"/>
                      </a:lnTo>
                      <a:lnTo>
                        <a:pt x="24" y="954"/>
                      </a:lnTo>
                      <a:lnTo>
                        <a:pt x="12" y="954"/>
                      </a:lnTo>
                      <a:lnTo>
                        <a:pt x="0" y="960"/>
                      </a:lnTo>
                      <a:lnTo>
                        <a:pt x="0" y="960"/>
                      </a:lnTo>
                      <a:lnTo>
                        <a:pt x="42" y="894"/>
                      </a:lnTo>
                      <a:lnTo>
                        <a:pt x="48" y="834"/>
                      </a:lnTo>
                      <a:lnTo>
                        <a:pt x="60" y="774"/>
                      </a:lnTo>
                      <a:lnTo>
                        <a:pt x="126" y="726"/>
                      </a:lnTo>
                      <a:lnTo>
                        <a:pt x="180" y="696"/>
                      </a:lnTo>
                      <a:lnTo>
                        <a:pt x="246" y="720"/>
                      </a:lnTo>
                      <a:lnTo>
                        <a:pt x="312" y="720"/>
                      </a:lnTo>
                      <a:lnTo>
                        <a:pt x="366" y="654"/>
                      </a:lnTo>
                      <a:lnTo>
                        <a:pt x="414" y="540"/>
                      </a:lnTo>
                      <a:lnTo>
                        <a:pt x="420" y="540"/>
                      </a:lnTo>
                      <a:lnTo>
                        <a:pt x="426" y="534"/>
                      </a:lnTo>
                      <a:lnTo>
                        <a:pt x="432" y="522"/>
                      </a:lnTo>
                      <a:lnTo>
                        <a:pt x="444" y="510"/>
                      </a:lnTo>
                      <a:lnTo>
                        <a:pt x="450" y="492"/>
                      </a:lnTo>
                      <a:lnTo>
                        <a:pt x="462" y="480"/>
                      </a:lnTo>
                      <a:lnTo>
                        <a:pt x="468" y="474"/>
                      </a:lnTo>
                      <a:lnTo>
                        <a:pt x="474" y="462"/>
                      </a:lnTo>
                      <a:lnTo>
                        <a:pt x="480" y="462"/>
                      </a:lnTo>
                      <a:lnTo>
                        <a:pt x="480" y="456"/>
                      </a:lnTo>
                      <a:lnTo>
                        <a:pt x="486" y="444"/>
                      </a:lnTo>
                      <a:lnTo>
                        <a:pt x="492" y="432"/>
                      </a:lnTo>
                      <a:lnTo>
                        <a:pt x="498" y="414"/>
                      </a:lnTo>
                      <a:lnTo>
                        <a:pt x="498" y="402"/>
                      </a:lnTo>
                      <a:lnTo>
                        <a:pt x="504" y="384"/>
                      </a:lnTo>
                      <a:lnTo>
                        <a:pt x="510" y="378"/>
                      </a:lnTo>
                      <a:lnTo>
                        <a:pt x="510" y="372"/>
                      </a:lnTo>
                      <a:lnTo>
                        <a:pt x="570" y="288"/>
                      </a:lnTo>
                      <a:lnTo>
                        <a:pt x="570" y="222"/>
                      </a:lnTo>
                      <a:lnTo>
                        <a:pt x="618" y="174"/>
                      </a:lnTo>
                      <a:lnTo>
                        <a:pt x="636" y="126"/>
                      </a:lnTo>
                      <a:lnTo>
                        <a:pt x="606" y="84"/>
                      </a:lnTo>
                      <a:lnTo>
                        <a:pt x="60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0" name="Freeform 208">
                  <a:extLst>
                    <a:ext uri="{FF2B5EF4-FFF2-40B4-BE49-F238E27FC236}">
                      <a16:creationId xmlns:a16="http://schemas.microsoft.com/office/drawing/2014/main" id="{3EF99818-6384-4AEA-9340-223146923C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1" y="3636"/>
                  <a:ext cx="222" cy="204"/>
                </a:xfrm>
                <a:custGeom>
                  <a:avLst/>
                  <a:gdLst>
                    <a:gd name="T0" fmla="*/ 180 w 222"/>
                    <a:gd name="T1" fmla="*/ 0 h 204"/>
                    <a:gd name="T2" fmla="*/ 222 w 222"/>
                    <a:gd name="T3" fmla="*/ 30 h 204"/>
                    <a:gd name="T4" fmla="*/ 204 w 222"/>
                    <a:gd name="T5" fmla="*/ 84 h 204"/>
                    <a:gd name="T6" fmla="*/ 186 w 222"/>
                    <a:gd name="T7" fmla="*/ 126 h 204"/>
                    <a:gd name="T8" fmla="*/ 144 w 222"/>
                    <a:gd name="T9" fmla="*/ 162 h 204"/>
                    <a:gd name="T10" fmla="*/ 96 w 222"/>
                    <a:gd name="T11" fmla="*/ 204 h 204"/>
                    <a:gd name="T12" fmla="*/ 48 w 222"/>
                    <a:gd name="T13" fmla="*/ 162 h 204"/>
                    <a:gd name="T14" fmla="*/ 0 w 222"/>
                    <a:gd name="T15" fmla="*/ 162 h 204"/>
                    <a:gd name="T16" fmla="*/ 0 w 222"/>
                    <a:gd name="T17" fmla="*/ 156 h 204"/>
                    <a:gd name="T18" fmla="*/ 6 w 222"/>
                    <a:gd name="T19" fmla="*/ 72 h 204"/>
                    <a:gd name="T20" fmla="*/ 42 w 222"/>
                    <a:gd name="T21" fmla="*/ 36 h 204"/>
                    <a:gd name="T22" fmla="*/ 84 w 222"/>
                    <a:gd name="T23" fmla="*/ 60 h 204"/>
                    <a:gd name="T24" fmla="*/ 120 w 222"/>
                    <a:gd name="T25" fmla="*/ 6 h 204"/>
                    <a:gd name="T26" fmla="*/ 180 w 222"/>
                    <a:gd name="T27" fmla="*/ 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22" h="204">
                      <a:moveTo>
                        <a:pt x="180" y="0"/>
                      </a:moveTo>
                      <a:lnTo>
                        <a:pt x="222" y="30"/>
                      </a:lnTo>
                      <a:lnTo>
                        <a:pt x="204" y="84"/>
                      </a:lnTo>
                      <a:lnTo>
                        <a:pt x="186" y="126"/>
                      </a:lnTo>
                      <a:lnTo>
                        <a:pt x="144" y="162"/>
                      </a:lnTo>
                      <a:lnTo>
                        <a:pt x="96" y="204"/>
                      </a:lnTo>
                      <a:lnTo>
                        <a:pt x="48" y="162"/>
                      </a:lnTo>
                      <a:lnTo>
                        <a:pt x="0" y="162"/>
                      </a:lnTo>
                      <a:lnTo>
                        <a:pt x="0" y="156"/>
                      </a:lnTo>
                      <a:lnTo>
                        <a:pt x="6" y="72"/>
                      </a:lnTo>
                      <a:lnTo>
                        <a:pt x="42" y="36"/>
                      </a:lnTo>
                      <a:lnTo>
                        <a:pt x="84" y="60"/>
                      </a:lnTo>
                      <a:lnTo>
                        <a:pt x="120" y="6"/>
                      </a:lnTo>
                      <a:lnTo>
                        <a:pt x="18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1" name="Freeform 209">
                  <a:extLst>
                    <a:ext uri="{FF2B5EF4-FFF2-40B4-BE49-F238E27FC236}">
                      <a16:creationId xmlns:a16="http://schemas.microsoft.com/office/drawing/2014/main" id="{8E49FB08-13EE-4170-A8FC-8F3BF9435C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57" y="3120"/>
                  <a:ext cx="852" cy="978"/>
                </a:xfrm>
                <a:custGeom>
                  <a:avLst/>
                  <a:gdLst>
                    <a:gd name="T0" fmla="*/ 180 w 852"/>
                    <a:gd name="T1" fmla="*/ 978 h 978"/>
                    <a:gd name="T2" fmla="*/ 180 w 852"/>
                    <a:gd name="T3" fmla="*/ 978 h 978"/>
                    <a:gd name="T4" fmla="*/ 846 w 852"/>
                    <a:gd name="T5" fmla="*/ 24 h 978"/>
                    <a:gd name="T6" fmla="*/ 846 w 852"/>
                    <a:gd name="T7" fmla="*/ 12 h 978"/>
                    <a:gd name="T8" fmla="*/ 780 w 852"/>
                    <a:gd name="T9" fmla="*/ 0 h 978"/>
                    <a:gd name="T10" fmla="*/ 852 w 852"/>
                    <a:gd name="T11" fmla="*/ 48 h 978"/>
                    <a:gd name="T12" fmla="*/ 846 w 852"/>
                    <a:gd name="T13" fmla="*/ 84 h 978"/>
                    <a:gd name="T14" fmla="*/ 828 w 852"/>
                    <a:gd name="T15" fmla="*/ 144 h 978"/>
                    <a:gd name="T16" fmla="*/ 798 w 852"/>
                    <a:gd name="T17" fmla="*/ 198 h 978"/>
                    <a:gd name="T18" fmla="*/ 786 w 852"/>
                    <a:gd name="T19" fmla="*/ 294 h 978"/>
                    <a:gd name="T20" fmla="*/ 774 w 852"/>
                    <a:gd name="T21" fmla="*/ 420 h 978"/>
                    <a:gd name="T22" fmla="*/ 732 w 852"/>
                    <a:gd name="T23" fmla="*/ 486 h 978"/>
                    <a:gd name="T24" fmla="*/ 666 w 852"/>
                    <a:gd name="T25" fmla="*/ 534 h 978"/>
                    <a:gd name="T26" fmla="*/ 618 w 852"/>
                    <a:gd name="T27" fmla="*/ 636 h 978"/>
                    <a:gd name="T28" fmla="*/ 606 w 852"/>
                    <a:gd name="T29" fmla="*/ 678 h 978"/>
                    <a:gd name="T30" fmla="*/ 582 w 852"/>
                    <a:gd name="T31" fmla="*/ 702 h 978"/>
                    <a:gd name="T32" fmla="*/ 564 w 852"/>
                    <a:gd name="T33" fmla="*/ 726 h 978"/>
                    <a:gd name="T34" fmla="*/ 558 w 852"/>
                    <a:gd name="T35" fmla="*/ 756 h 978"/>
                    <a:gd name="T36" fmla="*/ 558 w 852"/>
                    <a:gd name="T37" fmla="*/ 804 h 978"/>
                    <a:gd name="T38" fmla="*/ 540 w 852"/>
                    <a:gd name="T39" fmla="*/ 828 h 978"/>
                    <a:gd name="T40" fmla="*/ 522 w 852"/>
                    <a:gd name="T41" fmla="*/ 846 h 978"/>
                    <a:gd name="T42" fmla="*/ 486 w 852"/>
                    <a:gd name="T43" fmla="*/ 870 h 978"/>
                    <a:gd name="T44" fmla="*/ 450 w 852"/>
                    <a:gd name="T45" fmla="*/ 900 h 978"/>
                    <a:gd name="T46" fmla="*/ 408 w 852"/>
                    <a:gd name="T47" fmla="*/ 942 h 978"/>
                    <a:gd name="T48" fmla="*/ 354 w 852"/>
                    <a:gd name="T49" fmla="*/ 942 h 978"/>
                    <a:gd name="T50" fmla="*/ 324 w 852"/>
                    <a:gd name="T51" fmla="*/ 942 h 978"/>
                    <a:gd name="T52" fmla="*/ 300 w 852"/>
                    <a:gd name="T53" fmla="*/ 954 h 978"/>
                    <a:gd name="T54" fmla="*/ 288 w 852"/>
                    <a:gd name="T55" fmla="*/ 966 h 978"/>
                    <a:gd name="T56" fmla="*/ 240 w 852"/>
                    <a:gd name="T57" fmla="*/ 966 h 978"/>
                    <a:gd name="T58" fmla="*/ 180 w 852"/>
                    <a:gd name="T59" fmla="*/ 936 h 978"/>
                    <a:gd name="T60" fmla="*/ 126 w 852"/>
                    <a:gd name="T61" fmla="*/ 960 h 978"/>
                    <a:gd name="T62" fmla="*/ 72 w 852"/>
                    <a:gd name="T63" fmla="*/ 936 h 978"/>
                    <a:gd name="T64" fmla="*/ 42 w 852"/>
                    <a:gd name="T65" fmla="*/ 888 h 978"/>
                    <a:gd name="T66" fmla="*/ 0 w 852"/>
                    <a:gd name="T67" fmla="*/ 846 h 978"/>
                    <a:gd name="T68" fmla="*/ 90 w 852"/>
                    <a:gd name="T69" fmla="*/ 852 h 978"/>
                    <a:gd name="T70" fmla="*/ 120 w 852"/>
                    <a:gd name="T71" fmla="*/ 774 h 978"/>
                    <a:gd name="T72" fmla="*/ 144 w 852"/>
                    <a:gd name="T73" fmla="*/ 696 h 978"/>
                    <a:gd name="T74" fmla="*/ 240 w 852"/>
                    <a:gd name="T75" fmla="*/ 690 h 978"/>
                    <a:gd name="T76" fmla="*/ 408 w 852"/>
                    <a:gd name="T77" fmla="*/ 702 h 978"/>
                    <a:gd name="T78" fmla="*/ 444 w 852"/>
                    <a:gd name="T79" fmla="*/ 576 h 978"/>
                    <a:gd name="T80" fmla="*/ 360 w 852"/>
                    <a:gd name="T81" fmla="*/ 426 h 978"/>
                    <a:gd name="T82" fmla="*/ 420 w 852"/>
                    <a:gd name="T83" fmla="*/ 330 h 978"/>
                    <a:gd name="T84" fmla="*/ 372 w 852"/>
                    <a:gd name="T85" fmla="*/ 258 h 978"/>
                    <a:gd name="T86" fmla="*/ 234 w 852"/>
                    <a:gd name="T87" fmla="*/ 246 h 978"/>
                    <a:gd name="T88" fmla="*/ 492 w 852"/>
                    <a:gd name="T89" fmla="*/ 180 h 978"/>
                    <a:gd name="T90" fmla="*/ 594 w 852"/>
                    <a:gd name="T91" fmla="*/ 138 h 978"/>
                    <a:gd name="T92" fmla="*/ 636 w 852"/>
                    <a:gd name="T93" fmla="*/ 78 h 978"/>
                    <a:gd name="T94" fmla="*/ 678 w 852"/>
                    <a:gd name="T95" fmla="*/ 12 h 9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852" h="978">
                      <a:moveTo>
                        <a:pt x="180" y="978"/>
                      </a:moveTo>
                      <a:lnTo>
                        <a:pt x="180" y="978"/>
                      </a:lnTo>
                      <a:lnTo>
                        <a:pt x="180" y="978"/>
                      </a:lnTo>
                      <a:lnTo>
                        <a:pt x="180" y="978"/>
                      </a:lnTo>
                      <a:close/>
                      <a:moveTo>
                        <a:pt x="846" y="12"/>
                      </a:moveTo>
                      <a:lnTo>
                        <a:pt x="846" y="24"/>
                      </a:lnTo>
                      <a:lnTo>
                        <a:pt x="846" y="24"/>
                      </a:lnTo>
                      <a:lnTo>
                        <a:pt x="846" y="12"/>
                      </a:lnTo>
                      <a:close/>
                      <a:moveTo>
                        <a:pt x="726" y="0"/>
                      </a:moveTo>
                      <a:lnTo>
                        <a:pt x="780" y="0"/>
                      </a:lnTo>
                      <a:lnTo>
                        <a:pt x="846" y="24"/>
                      </a:lnTo>
                      <a:lnTo>
                        <a:pt x="852" y="48"/>
                      </a:lnTo>
                      <a:lnTo>
                        <a:pt x="846" y="66"/>
                      </a:lnTo>
                      <a:lnTo>
                        <a:pt x="846" y="84"/>
                      </a:lnTo>
                      <a:lnTo>
                        <a:pt x="840" y="114"/>
                      </a:lnTo>
                      <a:lnTo>
                        <a:pt x="828" y="144"/>
                      </a:lnTo>
                      <a:lnTo>
                        <a:pt x="810" y="168"/>
                      </a:lnTo>
                      <a:lnTo>
                        <a:pt x="798" y="198"/>
                      </a:lnTo>
                      <a:lnTo>
                        <a:pt x="792" y="234"/>
                      </a:lnTo>
                      <a:lnTo>
                        <a:pt x="786" y="294"/>
                      </a:lnTo>
                      <a:lnTo>
                        <a:pt x="780" y="360"/>
                      </a:lnTo>
                      <a:lnTo>
                        <a:pt x="774" y="420"/>
                      </a:lnTo>
                      <a:lnTo>
                        <a:pt x="756" y="456"/>
                      </a:lnTo>
                      <a:lnTo>
                        <a:pt x="732" y="486"/>
                      </a:lnTo>
                      <a:lnTo>
                        <a:pt x="696" y="510"/>
                      </a:lnTo>
                      <a:lnTo>
                        <a:pt x="666" y="534"/>
                      </a:lnTo>
                      <a:lnTo>
                        <a:pt x="624" y="588"/>
                      </a:lnTo>
                      <a:lnTo>
                        <a:pt x="618" y="636"/>
                      </a:lnTo>
                      <a:lnTo>
                        <a:pt x="612" y="660"/>
                      </a:lnTo>
                      <a:lnTo>
                        <a:pt x="606" y="678"/>
                      </a:lnTo>
                      <a:lnTo>
                        <a:pt x="600" y="690"/>
                      </a:lnTo>
                      <a:lnTo>
                        <a:pt x="582" y="702"/>
                      </a:lnTo>
                      <a:lnTo>
                        <a:pt x="570" y="714"/>
                      </a:lnTo>
                      <a:lnTo>
                        <a:pt x="564" y="726"/>
                      </a:lnTo>
                      <a:lnTo>
                        <a:pt x="558" y="738"/>
                      </a:lnTo>
                      <a:lnTo>
                        <a:pt x="558" y="756"/>
                      </a:lnTo>
                      <a:lnTo>
                        <a:pt x="558" y="780"/>
                      </a:lnTo>
                      <a:lnTo>
                        <a:pt x="558" y="804"/>
                      </a:lnTo>
                      <a:lnTo>
                        <a:pt x="552" y="816"/>
                      </a:lnTo>
                      <a:lnTo>
                        <a:pt x="540" y="828"/>
                      </a:lnTo>
                      <a:lnTo>
                        <a:pt x="534" y="834"/>
                      </a:lnTo>
                      <a:lnTo>
                        <a:pt x="522" y="846"/>
                      </a:lnTo>
                      <a:lnTo>
                        <a:pt x="510" y="852"/>
                      </a:lnTo>
                      <a:lnTo>
                        <a:pt x="486" y="870"/>
                      </a:lnTo>
                      <a:lnTo>
                        <a:pt x="468" y="882"/>
                      </a:lnTo>
                      <a:lnTo>
                        <a:pt x="450" y="900"/>
                      </a:lnTo>
                      <a:lnTo>
                        <a:pt x="432" y="924"/>
                      </a:lnTo>
                      <a:lnTo>
                        <a:pt x="408" y="942"/>
                      </a:lnTo>
                      <a:lnTo>
                        <a:pt x="384" y="948"/>
                      </a:lnTo>
                      <a:lnTo>
                        <a:pt x="354" y="942"/>
                      </a:lnTo>
                      <a:lnTo>
                        <a:pt x="336" y="942"/>
                      </a:lnTo>
                      <a:lnTo>
                        <a:pt x="324" y="942"/>
                      </a:lnTo>
                      <a:lnTo>
                        <a:pt x="312" y="948"/>
                      </a:lnTo>
                      <a:lnTo>
                        <a:pt x="300" y="954"/>
                      </a:lnTo>
                      <a:lnTo>
                        <a:pt x="294" y="960"/>
                      </a:lnTo>
                      <a:lnTo>
                        <a:pt x="288" y="966"/>
                      </a:lnTo>
                      <a:lnTo>
                        <a:pt x="288" y="966"/>
                      </a:lnTo>
                      <a:lnTo>
                        <a:pt x="240" y="966"/>
                      </a:lnTo>
                      <a:lnTo>
                        <a:pt x="222" y="924"/>
                      </a:lnTo>
                      <a:lnTo>
                        <a:pt x="180" y="936"/>
                      </a:lnTo>
                      <a:lnTo>
                        <a:pt x="180" y="978"/>
                      </a:lnTo>
                      <a:lnTo>
                        <a:pt x="126" y="960"/>
                      </a:lnTo>
                      <a:lnTo>
                        <a:pt x="84" y="978"/>
                      </a:lnTo>
                      <a:lnTo>
                        <a:pt x="72" y="936"/>
                      </a:lnTo>
                      <a:lnTo>
                        <a:pt x="54" y="912"/>
                      </a:lnTo>
                      <a:lnTo>
                        <a:pt x="42" y="888"/>
                      </a:lnTo>
                      <a:lnTo>
                        <a:pt x="18" y="870"/>
                      </a:lnTo>
                      <a:lnTo>
                        <a:pt x="0" y="846"/>
                      </a:lnTo>
                      <a:lnTo>
                        <a:pt x="60" y="816"/>
                      </a:lnTo>
                      <a:lnTo>
                        <a:pt x="90" y="852"/>
                      </a:lnTo>
                      <a:lnTo>
                        <a:pt x="150" y="834"/>
                      </a:lnTo>
                      <a:lnTo>
                        <a:pt x="120" y="774"/>
                      </a:lnTo>
                      <a:lnTo>
                        <a:pt x="72" y="714"/>
                      </a:lnTo>
                      <a:lnTo>
                        <a:pt x="144" y="696"/>
                      </a:lnTo>
                      <a:lnTo>
                        <a:pt x="198" y="624"/>
                      </a:lnTo>
                      <a:lnTo>
                        <a:pt x="240" y="690"/>
                      </a:lnTo>
                      <a:lnTo>
                        <a:pt x="312" y="720"/>
                      </a:lnTo>
                      <a:lnTo>
                        <a:pt x="408" y="702"/>
                      </a:lnTo>
                      <a:lnTo>
                        <a:pt x="414" y="642"/>
                      </a:lnTo>
                      <a:lnTo>
                        <a:pt x="444" y="576"/>
                      </a:lnTo>
                      <a:lnTo>
                        <a:pt x="420" y="474"/>
                      </a:lnTo>
                      <a:lnTo>
                        <a:pt x="360" y="426"/>
                      </a:lnTo>
                      <a:lnTo>
                        <a:pt x="342" y="360"/>
                      </a:lnTo>
                      <a:lnTo>
                        <a:pt x="420" y="330"/>
                      </a:lnTo>
                      <a:lnTo>
                        <a:pt x="426" y="282"/>
                      </a:lnTo>
                      <a:lnTo>
                        <a:pt x="372" y="258"/>
                      </a:lnTo>
                      <a:lnTo>
                        <a:pt x="288" y="294"/>
                      </a:lnTo>
                      <a:lnTo>
                        <a:pt x="234" y="246"/>
                      </a:lnTo>
                      <a:lnTo>
                        <a:pt x="228" y="180"/>
                      </a:lnTo>
                      <a:lnTo>
                        <a:pt x="492" y="180"/>
                      </a:lnTo>
                      <a:lnTo>
                        <a:pt x="552" y="204"/>
                      </a:lnTo>
                      <a:lnTo>
                        <a:pt x="594" y="138"/>
                      </a:lnTo>
                      <a:lnTo>
                        <a:pt x="636" y="78"/>
                      </a:lnTo>
                      <a:lnTo>
                        <a:pt x="636" y="78"/>
                      </a:lnTo>
                      <a:lnTo>
                        <a:pt x="666" y="66"/>
                      </a:lnTo>
                      <a:lnTo>
                        <a:pt x="678" y="12"/>
                      </a:lnTo>
                      <a:lnTo>
                        <a:pt x="72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2" name="Freeform 210">
                  <a:extLst>
                    <a:ext uri="{FF2B5EF4-FFF2-40B4-BE49-F238E27FC236}">
                      <a16:creationId xmlns:a16="http://schemas.microsoft.com/office/drawing/2014/main" id="{EE7E4BF1-5797-4674-90B3-8DBC1AC432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91" y="3792"/>
                  <a:ext cx="204" cy="240"/>
                </a:xfrm>
                <a:custGeom>
                  <a:avLst/>
                  <a:gdLst>
                    <a:gd name="T0" fmla="*/ 0 w 204"/>
                    <a:gd name="T1" fmla="*/ 6 h 240"/>
                    <a:gd name="T2" fmla="*/ 48 w 204"/>
                    <a:gd name="T3" fmla="*/ 6 h 240"/>
                    <a:gd name="T4" fmla="*/ 96 w 204"/>
                    <a:gd name="T5" fmla="*/ 48 h 240"/>
                    <a:gd name="T6" fmla="*/ 144 w 204"/>
                    <a:gd name="T7" fmla="*/ 6 h 240"/>
                    <a:gd name="T8" fmla="*/ 204 w 204"/>
                    <a:gd name="T9" fmla="*/ 48 h 240"/>
                    <a:gd name="T10" fmla="*/ 192 w 204"/>
                    <a:gd name="T11" fmla="*/ 108 h 240"/>
                    <a:gd name="T12" fmla="*/ 174 w 204"/>
                    <a:gd name="T13" fmla="*/ 168 h 240"/>
                    <a:gd name="T14" fmla="*/ 132 w 204"/>
                    <a:gd name="T15" fmla="*/ 198 h 240"/>
                    <a:gd name="T16" fmla="*/ 96 w 204"/>
                    <a:gd name="T17" fmla="*/ 240 h 240"/>
                    <a:gd name="T18" fmla="*/ 30 w 204"/>
                    <a:gd name="T19" fmla="*/ 228 h 240"/>
                    <a:gd name="T20" fmla="*/ 42 w 204"/>
                    <a:gd name="T21" fmla="*/ 120 h 240"/>
                    <a:gd name="T22" fmla="*/ 18 w 204"/>
                    <a:gd name="T23" fmla="*/ 66 h 240"/>
                    <a:gd name="T24" fmla="*/ 0 w 204"/>
                    <a:gd name="T25" fmla="*/ 6 h 240"/>
                    <a:gd name="T26" fmla="*/ 0 w 204"/>
                    <a:gd name="T27" fmla="*/ 0 h 240"/>
                    <a:gd name="T28" fmla="*/ 0 w 204"/>
                    <a:gd name="T29" fmla="*/ 6 h 240"/>
                    <a:gd name="T30" fmla="*/ 0 w 204"/>
                    <a:gd name="T31" fmla="*/ 6 h 240"/>
                    <a:gd name="T32" fmla="*/ 0 w 204"/>
                    <a:gd name="T33" fmla="*/ 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4" h="240">
                      <a:moveTo>
                        <a:pt x="0" y="6"/>
                      </a:moveTo>
                      <a:lnTo>
                        <a:pt x="48" y="6"/>
                      </a:lnTo>
                      <a:lnTo>
                        <a:pt x="96" y="48"/>
                      </a:lnTo>
                      <a:lnTo>
                        <a:pt x="144" y="6"/>
                      </a:lnTo>
                      <a:lnTo>
                        <a:pt x="204" y="48"/>
                      </a:lnTo>
                      <a:lnTo>
                        <a:pt x="192" y="108"/>
                      </a:lnTo>
                      <a:lnTo>
                        <a:pt x="174" y="168"/>
                      </a:lnTo>
                      <a:lnTo>
                        <a:pt x="132" y="198"/>
                      </a:lnTo>
                      <a:lnTo>
                        <a:pt x="96" y="240"/>
                      </a:lnTo>
                      <a:lnTo>
                        <a:pt x="30" y="228"/>
                      </a:lnTo>
                      <a:lnTo>
                        <a:pt x="42" y="120"/>
                      </a:lnTo>
                      <a:lnTo>
                        <a:pt x="18" y="66"/>
                      </a:lnTo>
                      <a:lnTo>
                        <a:pt x="0" y="6"/>
                      </a:lnTo>
                      <a:close/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3" name="Freeform 211">
                  <a:extLst>
                    <a:ext uri="{FF2B5EF4-FFF2-40B4-BE49-F238E27FC236}">
                      <a16:creationId xmlns:a16="http://schemas.microsoft.com/office/drawing/2014/main" id="{383A06A1-4F98-40C6-8B28-F432989A75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9" y="-348"/>
                  <a:ext cx="1716" cy="1596"/>
                </a:xfrm>
                <a:custGeom>
                  <a:avLst/>
                  <a:gdLst>
                    <a:gd name="T0" fmla="*/ 228 w 1716"/>
                    <a:gd name="T1" fmla="*/ 0 h 1596"/>
                    <a:gd name="T2" fmla="*/ 282 w 1716"/>
                    <a:gd name="T3" fmla="*/ 24 h 1596"/>
                    <a:gd name="T4" fmla="*/ 330 w 1716"/>
                    <a:gd name="T5" fmla="*/ 30 h 1596"/>
                    <a:gd name="T6" fmla="*/ 504 w 1716"/>
                    <a:gd name="T7" fmla="*/ 48 h 1596"/>
                    <a:gd name="T8" fmla="*/ 606 w 1716"/>
                    <a:gd name="T9" fmla="*/ 114 h 1596"/>
                    <a:gd name="T10" fmla="*/ 636 w 1716"/>
                    <a:gd name="T11" fmla="*/ 204 h 1596"/>
                    <a:gd name="T12" fmla="*/ 690 w 1716"/>
                    <a:gd name="T13" fmla="*/ 222 h 1596"/>
                    <a:gd name="T14" fmla="*/ 828 w 1716"/>
                    <a:gd name="T15" fmla="*/ 240 h 1596"/>
                    <a:gd name="T16" fmla="*/ 918 w 1716"/>
                    <a:gd name="T17" fmla="*/ 288 h 1596"/>
                    <a:gd name="T18" fmla="*/ 1002 w 1716"/>
                    <a:gd name="T19" fmla="*/ 324 h 1596"/>
                    <a:gd name="T20" fmla="*/ 1062 w 1716"/>
                    <a:gd name="T21" fmla="*/ 288 h 1596"/>
                    <a:gd name="T22" fmla="*/ 1098 w 1716"/>
                    <a:gd name="T23" fmla="*/ 234 h 1596"/>
                    <a:gd name="T24" fmla="*/ 1104 w 1716"/>
                    <a:gd name="T25" fmla="*/ 156 h 1596"/>
                    <a:gd name="T26" fmla="*/ 1104 w 1716"/>
                    <a:gd name="T27" fmla="*/ 78 h 1596"/>
                    <a:gd name="T28" fmla="*/ 1176 w 1716"/>
                    <a:gd name="T29" fmla="*/ 42 h 1596"/>
                    <a:gd name="T30" fmla="*/ 1338 w 1716"/>
                    <a:gd name="T31" fmla="*/ 18 h 1596"/>
                    <a:gd name="T32" fmla="*/ 1398 w 1716"/>
                    <a:gd name="T33" fmla="*/ 18 h 1596"/>
                    <a:gd name="T34" fmla="*/ 1422 w 1716"/>
                    <a:gd name="T35" fmla="*/ 18 h 1596"/>
                    <a:gd name="T36" fmla="*/ 1434 w 1716"/>
                    <a:gd name="T37" fmla="*/ 30 h 1596"/>
                    <a:gd name="T38" fmla="*/ 1434 w 1716"/>
                    <a:gd name="T39" fmla="*/ 48 h 1596"/>
                    <a:gd name="T40" fmla="*/ 1428 w 1716"/>
                    <a:gd name="T41" fmla="*/ 72 h 1596"/>
                    <a:gd name="T42" fmla="*/ 1452 w 1716"/>
                    <a:gd name="T43" fmla="*/ 102 h 1596"/>
                    <a:gd name="T44" fmla="*/ 1530 w 1716"/>
                    <a:gd name="T45" fmla="*/ 102 h 1596"/>
                    <a:gd name="T46" fmla="*/ 1608 w 1716"/>
                    <a:gd name="T47" fmla="*/ 120 h 1596"/>
                    <a:gd name="T48" fmla="*/ 1662 w 1716"/>
                    <a:gd name="T49" fmla="*/ 156 h 1596"/>
                    <a:gd name="T50" fmla="*/ 1668 w 1716"/>
                    <a:gd name="T51" fmla="*/ 162 h 1596"/>
                    <a:gd name="T52" fmla="*/ 1716 w 1716"/>
                    <a:gd name="T53" fmla="*/ 1554 h 1596"/>
                    <a:gd name="T54" fmla="*/ 762 w 1716"/>
                    <a:gd name="T55" fmla="*/ 1182 h 1596"/>
                    <a:gd name="T56" fmla="*/ 618 w 1716"/>
                    <a:gd name="T57" fmla="*/ 1254 h 1596"/>
                    <a:gd name="T58" fmla="*/ 546 w 1716"/>
                    <a:gd name="T59" fmla="*/ 1296 h 1596"/>
                    <a:gd name="T60" fmla="*/ 396 w 1716"/>
                    <a:gd name="T61" fmla="*/ 1176 h 1596"/>
                    <a:gd name="T62" fmla="*/ 270 w 1716"/>
                    <a:gd name="T63" fmla="*/ 1158 h 1596"/>
                    <a:gd name="T64" fmla="*/ 198 w 1716"/>
                    <a:gd name="T65" fmla="*/ 1080 h 1596"/>
                    <a:gd name="T66" fmla="*/ 72 w 1716"/>
                    <a:gd name="T67" fmla="*/ 1020 h 1596"/>
                    <a:gd name="T68" fmla="*/ 30 w 1716"/>
                    <a:gd name="T69" fmla="*/ 900 h 1596"/>
                    <a:gd name="T70" fmla="*/ 36 w 1716"/>
                    <a:gd name="T71" fmla="*/ 792 h 1596"/>
                    <a:gd name="T72" fmla="*/ 24 w 1716"/>
                    <a:gd name="T73" fmla="*/ 498 h 1596"/>
                    <a:gd name="T74" fmla="*/ 60 w 1716"/>
                    <a:gd name="T75" fmla="*/ 276 h 1596"/>
                    <a:gd name="T76" fmla="*/ 132 w 1716"/>
                    <a:gd name="T77" fmla="*/ 138 h 1596"/>
                    <a:gd name="T78" fmla="*/ 228 w 1716"/>
                    <a:gd name="T79" fmla="*/ 0 h 1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716" h="1596">
                      <a:moveTo>
                        <a:pt x="228" y="0"/>
                      </a:moveTo>
                      <a:lnTo>
                        <a:pt x="228" y="0"/>
                      </a:lnTo>
                      <a:lnTo>
                        <a:pt x="258" y="18"/>
                      </a:lnTo>
                      <a:lnTo>
                        <a:pt x="282" y="24"/>
                      </a:lnTo>
                      <a:lnTo>
                        <a:pt x="306" y="30"/>
                      </a:lnTo>
                      <a:lnTo>
                        <a:pt x="330" y="30"/>
                      </a:lnTo>
                      <a:lnTo>
                        <a:pt x="408" y="36"/>
                      </a:lnTo>
                      <a:lnTo>
                        <a:pt x="504" y="48"/>
                      </a:lnTo>
                      <a:lnTo>
                        <a:pt x="564" y="72"/>
                      </a:lnTo>
                      <a:lnTo>
                        <a:pt x="606" y="114"/>
                      </a:lnTo>
                      <a:lnTo>
                        <a:pt x="624" y="174"/>
                      </a:lnTo>
                      <a:lnTo>
                        <a:pt x="636" y="204"/>
                      </a:lnTo>
                      <a:lnTo>
                        <a:pt x="654" y="222"/>
                      </a:lnTo>
                      <a:lnTo>
                        <a:pt x="690" y="222"/>
                      </a:lnTo>
                      <a:lnTo>
                        <a:pt x="756" y="228"/>
                      </a:lnTo>
                      <a:lnTo>
                        <a:pt x="828" y="240"/>
                      </a:lnTo>
                      <a:lnTo>
                        <a:pt x="876" y="258"/>
                      </a:lnTo>
                      <a:lnTo>
                        <a:pt x="918" y="288"/>
                      </a:lnTo>
                      <a:lnTo>
                        <a:pt x="966" y="318"/>
                      </a:lnTo>
                      <a:lnTo>
                        <a:pt x="1002" y="324"/>
                      </a:lnTo>
                      <a:lnTo>
                        <a:pt x="1032" y="312"/>
                      </a:lnTo>
                      <a:lnTo>
                        <a:pt x="1062" y="288"/>
                      </a:lnTo>
                      <a:lnTo>
                        <a:pt x="1080" y="258"/>
                      </a:lnTo>
                      <a:lnTo>
                        <a:pt x="1098" y="234"/>
                      </a:lnTo>
                      <a:lnTo>
                        <a:pt x="1104" y="204"/>
                      </a:lnTo>
                      <a:lnTo>
                        <a:pt x="1104" y="156"/>
                      </a:lnTo>
                      <a:lnTo>
                        <a:pt x="1104" y="114"/>
                      </a:lnTo>
                      <a:lnTo>
                        <a:pt x="1104" y="78"/>
                      </a:lnTo>
                      <a:lnTo>
                        <a:pt x="1122" y="60"/>
                      </a:lnTo>
                      <a:lnTo>
                        <a:pt x="1176" y="42"/>
                      </a:lnTo>
                      <a:lnTo>
                        <a:pt x="1248" y="24"/>
                      </a:lnTo>
                      <a:lnTo>
                        <a:pt x="1338" y="18"/>
                      </a:lnTo>
                      <a:lnTo>
                        <a:pt x="1368" y="18"/>
                      </a:lnTo>
                      <a:lnTo>
                        <a:pt x="1398" y="18"/>
                      </a:lnTo>
                      <a:lnTo>
                        <a:pt x="1410" y="18"/>
                      </a:lnTo>
                      <a:lnTo>
                        <a:pt x="1422" y="18"/>
                      </a:lnTo>
                      <a:lnTo>
                        <a:pt x="1428" y="24"/>
                      </a:lnTo>
                      <a:lnTo>
                        <a:pt x="1434" y="30"/>
                      </a:lnTo>
                      <a:lnTo>
                        <a:pt x="1434" y="42"/>
                      </a:lnTo>
                      <a:lnTo>
                        <a:pt x="1434" y="48"/>
                      </a:lnTo>
                      <a:lnTo>
                        <a:pt x="1428" y="60"/>
                      </a:lnTo>
                      <a:lnTo>
                        <a:pt x="1428" y="72"/>
                      </a:lnTo>
                      <a:lnTo>
                        <a:pt x="1434" y="96"/>
                      </a:lnTo>
                      <a:lnTo>
                        <a:pt x="1452" y="102"/>
                      </a:lnTo>
                      <a:lnTo>
                        <a:pt x="1482" y="102"/>
                      </a:lnTo>
                      <a:lnTo>
                        <a:pt x="1530" y="102"/>
                      </a:lnTo>
                      <a:lnTo>
                        <a:pt x="1572" y="102"/>
                      </a:lnTo>
                      <a:lnTo>
                        <a:pt x="1608" y="120"/>
                      </a:lnTo>
                      <a:lnTo>
                        <a:pt x="1638" y="138"/>
                      </a:lnTo>
                      <a:lnTo>
                        <a:pt x="1662" y="156"/>
                      </a:lnTo>
                      <a:lnTo>
                        <a:pt x="1668" y="162"/>
                      </a:lnTo>
                      <a:lnTo>
                        <a:pt x="1668" y="162"/>
                      </a:lnTo>
                      <a:lnTo>
                        <a:pt x="1716" y="1314"/>
                      </a:lnTo>
                      <a:lnTo>
                        <a:pt x="1716" y="1554"/>
                      </a:lnTo>
                      <a:lnTo>
                        <a:pt x="1596" y="1596"/>
                      </a:lnTo>
                      <a:lnTo>
                        <a:pt x="762" y="1182"/>
                      </a:lnTo>
                      <a:lnTo>
                        <a:pt x="690" y="1194"/>
                      </a:lnTo>
                      <a:lnTo>
                        <a:pt x="618" y="1254"/>
                      </a:lnTo>
                      <a:lnTo>
                        <a:pt x="618" y="1254"/>
                      </a:lnTo>
                      <a:lnTo>
                        <a:pt x="546" y="1296"/>
                      </a:lnTo>
                      <a:lnTo>
                        <a:pt x="450" y="1188"/>
                      </a:lnTo>
                      <a:lnTo>
                        <a:pt x="396" y="1176"/>
                      </a:lnTo>
                      <a:lnTo>
                        <a:pt x="336" y="1176"/>
                      </a:lnTo>
                      <a:lnTo>
                        <a:pt x="270" y="1158"/>
                      </a:lnTo>
                      <a:lnTo>
                        <a:pt x="252" y="1110"/>
                      </a:lnTo>
                      <a:lnTo>
                        <a:pt x="198" y="1080"/>
                      </a:lnTo>
                      <a:lnTo>
                        <a:pt x="120" y="1056"/>
                      </a:lnTo>
                      <a:lnTo>
                        <a:pt x="72" y="1020"/>
                      </a:lnTo>
                      <a:lnTo>
                        <a:pt x="102" y="984"/>
                      </a:lnTo>
                      <a:lnTo>
                        <a:pt x="30" y="900"/>
                      </a:lnTo>
                      <a:lnTo>
                        <a:pt x="12" y="852"/>
                      </a:lnTo>
                      <a:lnTo>
                        <a:pt x="36" y="792"/>
                      </a:lnTo>
                      <a:lnTo>
                        <a:pt x="36" y="660"/>
                      </a:lnTo>
                      <a:lnTo>
                        <a:pt x="24" y="498"/>
                      </a:lnTo>
                      <a:lnTo>
                        <a:pt x="0" y="330"/>
                      </a:lnTo>
                      <a:lnTo>
                        <a:pt x="60" y="276"/>
                      </a:lnTo>
                      <a:lnTo>
                        <a:pt x="72" y="156"/>
                      </a:lnTo>
                      <a:lnTo>
                        <a:pt x="132" y="138"/>
                      </a:lnTo>
                      <a:lnTo>
                        <a:pt x="180" y="72"/>
                      </a:lnTo>
                      <a:lnTo>
                        <a:pt x="22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4" name="Freeform 212">
                  <a:extLst>
                    <a:ext uri="{FF2B5EF4-FFF2-40B4-BE49-F238E27FC236}">
                      <a16:creationId xmlns:a16="http://schemas.microsoft.com/office/drawing/2014/main" id="{BE8CB044-AFA3-469D-A142-343EE15579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27" y="-240"/>
                  <a:ext cx="1206" cy="1236"/>
                </a:xfrm>
                <a:custGeom>
                  <a:avLst/>
                  <a:gdLst>
                    <a:gd name="T0" fmla="*/ 918 w 1206"/>
                    <a:gd name="T1" fmla="*/ 36 h 1236"/>
                    <a:gd name="T2" fmla="*/ 918 w 1206"/>
                    <a:gd name="T3" fmla="*/ 36 h 1236"/>
                    <a:gd name="T4" fmla="*/ 636 w 1206"/>
                    <a:gd name="T5" fmla="*/ 12 h 1236"/>
                    <a:gd name="T6" fmla="*/ 738 w 1206"/>
                    <a:gd name="T7" fmla="*/ 60 h 1236"/>
                    <a:gd name="T8" fmla="*/ 840 w 1206"/>
                    <a:gd name="T9" fmla="*/ 84 h 1236"/>
                    <a:gd name="T10" fmla="*/ 888 w 1206"/>
                    <a:gd name="T11" fmla="*/ 66 h 1236"/>
                    <a:gd name="T12" fmla="*/ 918 w 1206"/>
                    <a:gd name="T13" fmla="*/ 36 h 1236"/>
                    <a:gd name="T14" fmla="*/ 1008 w 1206"/>
                    <a:gd name="T15" fmla="*/ 120 h 1236"/>
                    <a:gd name="T16" fmla="*/ 1050 w 1206"/>
                    <a:gd name="T17" fmla="*/ 282 h 1236"/>
                    <a:gd name="T18" fmla="*/ 1038 w 1206"/>
                    <a:gd name="T19" fmla="*/ 294 h 1236"/>
                    <a:gd name="T20" fmla="*/ 1014 w 1206"/>
                    <a:gd name="T21" fmla="*/ 330 h 1236"/>
                    <a:gd name="T22" fmla="*/ 990 w 1206"/>
                    <a:gd name="T23" fmla="*/ 396 h 1236"/>
                    <a:gd name="T24" fmla="*/ 1002 w 1206"/>
                    <a:gd name="T25" fmla="*/ 474 h 1236"/>
                    <a:gd name="T26" fmla="*/ 1008 w 1206"/>
                    <a:gd name="T27" fmla="*/ 546 h 1236"/>
                    <a:gd name="T28" fmla="*/ 990 w 1206"/>
                    <a:gd name="T29" fmla="*/ 570 h 1236"/>
                    <a:gd name="T30" fmla="*/ 954 w 1206"/>
                    <a:gd name="T31" fmla="*/ 504 h 1236"/>
                    <a:gd name="T32" fmla="*/ 894 w 1206"/>
                    <a:gd name="T33" fmla="*/ 408 h 1236"/>
                    <a:gd name="T34" fmla="*/ 834 w 1206"/>
                    <a:gd name="T35" fmla="*/ 300 h 1236"/>
                    <a:gd name="T36" fmla="*/ 792 w 1206"/>
                    <a:gd name="T37" fmla="*/ 216 h 1236"/>
                    <a:gd name="T38" fmla="*/ 768 w 1206"/>
                    <a:gd name="T39" fmla="*/ 210 h 1236"/>
                    <a:gd name="T40" fmla="*/ 750 w 1206"/>
                    <a:gd name="T41" fmla="*/ 222 h 1236"/>
                    <a:gd name="T42" fmla="*/ 738 w 1206"/>
                    <a:gd name="T43" fmla="*/ 252 h 1236"/>
                    <a:gd name="T44" fmla="*/ 744 w 1206"/>
                    <a:gd name="T45" fmla="*/ 276 h 1236"/>
                    <a:gd name="T46" fmla="*/ 816 w 1206"/>
                    <a:gd name="T47" fmla="*/ 402 h 1236"/>
                    <a:gd name="T48" fmla="*/ 834 w 1206"/>
                    <a:gd name="T49" fmla="*/ 468 h 1236"/>
                    <a:gd name="T50" fmla="*/ 876 w 1206"/>
                    <a:gd name="T51" fmla="*/ 516 h 1236"/>
                    <a:gd name="T52" fmla="*/ 924 w 1206"/>
                    <a:gd name="T53" fmla="*/ 552 h 1236"/>
                    <a:gd name="T54" fmla="*/ 942 w 1206"/>
                    <a:gd name="T55" fmla="*/ 618 h 1236"/>
                    <a:gd name="T56" fmla="*/ 1038 w 1206"/>
                    <a:gd name="T57" fmla="*/ 762 h 1236"/>
                    <a:gd name="T58" fmla="*/ 1146 w 1206"/>
                    <a:gd name="T59" fmla="*/ 864 h 1236"/>
                    <a:gd name="T60" fmla="*/ 1200 w 1206"/>
                    <a:gd name="T61" fmla="*/ 924 h 1236"/>
                    <a:gd name="T62" fmla="*/ 1182 w 1206"/>
                    <a:gd name="T63" fmla="*/ 966 h 1236"/>
                    <a:gd name="T64" fmla="*/ 1182 w 1206"/>
                    <a:gd name="T65" fmla="*/ 1002 h 1236"/>
                    <a:gd name="T66" fmla="*/ 1206 w 1206"/>
                    <a:gd name="T67" fmla="*/ 1038 h 1236"/>
                    <a:gd name="T68" fmla="*/ 1092 w 1206"/>
                    <a:gd name="T69" fmla="*/ 1122 h 1236"/>
                    <a:gd name="T70" fmla="*/ 1032 w 1206"/>
                    <a:gd name="T71" fmla="*/ 1236 h 1236"/>
                    <a:gd name="T72" fmla="*/ 942 w 1206"/>
                    <a:gd name="T73" fmla="*/ 1188 h 1236"/>
                    <a:gd name="T74" fmla="*/ 48 w 1206"/>
                    <a:gd name="T75" fmla="*/ 1206 h 1236"/>
                    <a:gd name="T76" fmla="*/ 0 w 1206"/>
                    <a:gd name="T77" fmla="*/ 54 h 1236"/>
                    <a:gd name="T78" fmla="*/ 72 w 1206"/>
                    <a:gd name="T79" fmla="*/ 66 h 1236"/>
                    <a:gd name="T80" fmla="*/ 180 w 1206"/>
                    <a:gd name="T81" fmla="*/ 66 h 1236"/>
                    <a:gd name="T82" fmla="*/ 252 w 1206"/>
                    <a:gd name="T83" fmla="*/ 96 h 1236"/>
                    <a:gd name="T84" fmla="*/ 318 w 1206"/>
                    <a:gd name="T85" fmla="*/ 96 h 1236"/>
                    <a:gd name="T86" fmla="*/ 384 w 1206"/>
                    <a:gd name="T87" fmla="*/ 102 h 1236"/>
                    <a:gd name="T88" fmla="*/ 408 w 1206"/>
                    <a:gd name="T89" fmla="*/ 96 h 1236"/>
                    <a:gd name="T90" fmla="*/ 426 w 1206"/>
                    <a:gd name="T91" fmla="*/ 84 h 1236"/>
                    <a:gd name="T92" fmla="*/ 456 w 1206"/>
                    <a:gd name="T93" fmla="*/ 54 h 1236"/>
                    <a:gd name="T94" fmla="*/ 504 w 1206"/>
                    <a:gd name="T95" fmla="*/ 30 h 1236"/>
                    <a:gd name="T96" fmla="*/ 570 w 1206"/>
                    <a:gd name="T97" fmla="*/ 6 h 1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06" h="1236">
                      <a:moveTo>
                        <a:pt x="918" y="36"/>
                      </a:moveTo>
                      <a:lnTo>
                        <a:pt x="918" y="36"/>
                      </a:lnTo>
                      <a:lnTo>
                        <a:pt x="912" y="36"/>
                      </a:lnTo>
                      <a:lnTo>
                        <a:pt x="918" y="36"/>
                      </a:lnTo>
                      <a:close/>
                      <a:moveTo>
                        <a:pt x="600" y="0"/>
                      </a:moveTo>
                      <a:lnTo>
                        <a:pt x="636" y="12"/>
                      </a:lnTo>
                      <a:lnTo>
                        <a:pt x="690" y="30"/>
                      </a:lnTo>
                      <a:lnTo>
                        <a:pt x="738" y="60"/>
                      </a:lnTo>
                      <a:lnTo>
                        <a:pt x="780" y="84"/>
                      </a:lnTo>
                      <a:lnTo>
                        <a:pt x="840" y="84"/>
                      </a:lnTo>
                      <a:lnTo>
                        <a:pt x="864" y="78"/>
                      </a:lnTo>
                      <a:lnTo>
                        <a:pt x="888" y="66"/>
                      </a:lnTo>
                      <a:lnTo>
                        <a:pt x="906" y="54"/>
                      </a:lnTo>
                      <a:lnTo>
                        <a:pt x="918" y="36"/>
                      </a:lnTo>
                      <a:lnTo>
                        <a:pt x="966" y="54"/>
                      </a:lnTo>
                      <a:lnTo>
                        <a:pt x="1008" y="120"/>
                      </a:lnTo>
                      <a:lnTo>
                        <a:pt x="1020" y="192"/>
                      </a:lnTo>
                      <a:lnTo>
                        <a:pt x="1050" y="282"/>
                      </a:lnTo>
                      <a:lnTo>
                        <a:pt x="1050" y="282"/>
                      </a:lnTo>
                      <a:lnTo>
                        <a:pt x="1038" y="294"/>
                      </a:lnTo>
                      <a:lnTo>
                        <a:pt x="1026" y="312"/>
                      </a:lnTo>
                      <a:lnTo>
                        <a:pt x="1014" y="330"/>
                      </a:lnTo>
                      <a:lnTo>
                        <a:pt x="1008" y="354"/>
                      </a:lnTo>
                      <a:lnTo>
                        <a:pt x="990" y="396"/>
                      </a:lnTo>
                      <a:lnTo>
                        <a:pt x="990" y="432"/>
                      </a:lnTo>
                      <a:lnTo>
                        <a:pt x="1002" y="474"/>
                      </a:lnTo>
                      <a:lnTo>
                        <a:pt x="1008" y="510"/>
                      </a:lnTo>
                      <a:lnTo>
                        <a:pt x="1008" y="546"/>
                      </a:lnTo>
                      <a:lnTo>
                        <a:pt x="996" y="570"/>
                      </a:lnTo>
                      <a:lnTo>
                        <a:pt x="990" y="570"/>
                      </a:lnTo>
                      <a:lnTo>
                        <a:pt x="978" y="546"/>
                      </a:lnTo>
                      <a:lnTo>
                        <a:pt x="954" y="504"/>
                      </a:lnTo>
                      <a:lnTo>
                        <a:pt x="924" y="462"/>
                      </a:lnTo>
                      <a:lnTo>
                        <a:pt x="894" y="408"/>
                      </a:lnTo>
                      <a:lnTo>
                        <a:pt x="870" y="354"/>
                      </a:lnTo>
                      <a:lnTo>
                        <a:pt x="834" y="300"/>
                      </a:lnTo>
                      <a:lnTo>
                        <a:pt x="798" y="228"/>
                      </a:lnTo>
                      <a:lnTo>
                        <a:pt x="792" y="216"/>
                      </a:lnTo>
                      <a:lnTo>
                        <a:pt x="780" y="210"/>
                      </a:lnTo>
                      <a:lnTo>
                        <a:pt x="768" y="210"/>
                      </a:lnTo>
                      <a:lnTo>
                        <a:pt x="762" y="216"/>
                      </a:lnTo>
                      <a:lnTo>
                        <a:pt x="750" y="222"/>
                      </a:lnTo>
                      <a:lnTo>
                        <a:pt x="744" y="234"/>
                      </a:lnTo>
                      <a:lnTo>
                        <a:pt x="738" y="252"/>
                      </a:lnTo>
                      <a:lnTo>
                        <a:pt x="738" y="264"/>
                      </a:lnTo>
                      <a:lnTo>
                        <a:pt x="744" y="276"/>
                      </a:lnTo>
                      <a:lnTo>
                        <a:pt x="774" y="330"/>
                      </a:lnTo>
                      <a:lnTo>
                        <a:pt x="816" y="402"/>
                      </a:lnTo>
                      <a:lnTo>
                        <a:pt x="828" y="438"/>
                      </a:lnTo>
                      <a:lnTo>
                        <a:pt x="834" y="468"/>
                      </a:lnTo>
                      <a:lnTo>
                        <a:pt x="846" y="492"/>
                      </a:lnTo>
                      <a:lnTo>
                        <a:pt x="876" y="516"/>
                      </a:lnTo>
                      <a:lnTo>
                        <a:pt x="906" y="534"/>
                      </a:lnTo>
                      <a:lnTo>
                        <a:pt x="924" y="552"/>
                      </a:lnTo>
                      <a:lnTo>
                        <a:pt x="930" y="576"/>
                      </a:lnTo>
                      <a:lnTo>
                        <a:pt x="942" y="618"/>
                      </a:lnTo>
                      <a:lnTo>
                        <a:pt x="984" y="690"/>
                      </a:lnTo>
                      <a:lnTo>
                        <a:pt x="1038" y="762"/>
                      </a:lnTo>
                      <a:lnTo>
                        <a:pt x="1098" y="822"/>
                      </a:lnTo>
                      <a:lnTo>
                        <a:pt x="1146" y="864"/>
                      </a:lnTo>
                      <a:lnTo>
                        <a:pt x="1182" y="894"/>
                      </a:lnTo>
                      <a:lnTo>
                        <a:pt x="1200" y="924"/>
                      </a:lnTo>
                      <a:lnTo>
                        <a:pt x="1188" y="954"/>
                      </a:lnTo>
                      <a:lnTo>
                        <a:pt x="1182" y="966"/>
                      </a:lnTo>
                      <a:lnTo>
                        <a:pt x="1176" y="984"/>
                      </a:lnTo>
                      <a:lnTo>
                        <a:pt x="1182" y="1002"/>
                      </a:lnTo>
                      <a:lnTo>
                        <a:pt x="1188" y="1020"/>
                      </a:lnTo>
                      <a:lnTo>
                        <a:pt x="1206" y="1038"/>
                      </a:lnTo>
                      <a:lnTo>
                        <a:pt x="1128" y="1092"/>
                      </a:lnTo>
                      <a:lnTo>
                        <a:pt x="1092" y="1122"/>
                      </a:lnTo>
                      <a:lnTo>
                        <a:pt x="1056" y="1176"/>
                      </a:lnTo>
                      <a:lnTo>
                        <a:pt x="1032" y="1236"/>
                      </a:lnTo>
                      <a:lnTo>
                        <a:pt x="990" y="1236"/>
                      </a:lnTo>
                      <a:lnTo>
                        <a:pt x="942" y="1188"/>
                      </a:lnTo>
                      <a:lnTo>
                        <a:pt x="906" y="1188"/>
                      </a:lnTo>
                      <a:lnTo>
                        <a:pt x="48" y="1206"/>
                      </a:lnTo>
                      <a:lnTo>
                        <a:pt x="48" y="1206"/>
                      </a:lnTo>
                      <a:lnTo>
                        <a:pt x="0" y="54"/>
                      </a:lnTo>
                      <a:lnTo>
                        <a:pt x="36" y="66"/>
                      </a:lnTo>
                      <a:lnTo>
                        <a:pt x="72" y="66"/>
                      </a:lnTo>
                      <a:lnTo>
                        <a:pt x="126" y="66"/>
                      </a:lnTo>
                      <a:lnTo>
                        <a:pt x="180" y="66"/>
                      </a:lnTo>
                      <a:lnTo>
                        <a:pt x="222" y="78"/>
                      </a:lnTo>
                      <a:lnTo>
                        <a:pt x="252" y="96"/>
                      </a:lnTo>
                      <a:lnTo>
                        <a:pt x="282" y="102"/>
                      </a:lnTo>
                      <a:lnTo>
                        <a:pt x="318" y="96"/>
                      </a:lnTo>
                      <a:lnTo>
                        <a:pt x="360" y="96"/>
                      </a:lnTo>
                      <a:lnTo>
                        <a:pt x="384" y="102"/>
                      </a:lnTo>
                      <a:lnTo>
                        <a:pt x="396" y="102"/>
                      </a:lnTo>
                      <a:lnTo>
                        <a:pt x="408" y="96"/>
                      </a:lnTo>
                      <a:lnTo>
                        <a:pt x="420" y="90"/>
                      </a:lnTo>
                      <a:lnTo>
                        <a:pt x="426" y="84"/>
                      </a:lnTo>
                      <a:lnTo>
                        <a:pt x="438" y="72"/>
                      </a:lnTo>
                      <a:lnTo>
                        <a:pt x="456" y="54"/>
                      </a:lnTo>
                      <a:lnTo>
                        <a:pt x="474" y="42"/>
                      </a:lnTo>
                      <a:lnTo>
                        <a:pt x="504" y="30"/>
                      </a:lnTo>
                      <a:lnTo>
                        <a:pt x="534" y="12"/>
                      </a:lnTo>
                      <a:lnTo>
                        <a:pt x="570" y="6"/>
                      </a:lnTo>
                      <a:lnTo>
                        <a:pt x="60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5" name="Freeform 213">
                  <a:extLst>
                    <a:ext uri="{FF2B5EF4-FFF2-40B4-BE49-F238E27FC236}">
                      <a16:creationId xmlns:a16="http://schemas.microsoft.com/office/drawing/2014/main" id="{85223917-5045-4D91-A74B-51AF0E04E2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3" y="834"/>
                  <a:ext cx="1146" cy="1830"/>
                </a:xfrm>
                <a:custGeom>
                  <a:avLst/>
                  <a:gdLst>
                    <a:gd name="T0" fmla="*/ 288 w 1146"/>
                    <a:gd name="T1" fmla="*/ 0 h 1830"/>
                    <a:gd name="T2" fmla="*/ 1122 w 1146"/>
                    <a:gd name="T3" fmla="*/ 414 h 1830"/>
                    <a:gd name="T4" fmla="*/ 1122 w 1146"/>
                    <a:gd name="T5" fmla="*/ 414 h 1830"/>
                    <a:gd name="T6" fmla="*/ 1134 w 1146"/>
                    <a:gd name="T7" fmla="*/ 510 h 1830"/>
                    <a:gd name="T8" fmla="*/ 1134 w 1146"/>
                    <a:gd name="T9" fmla="*/ 642 h 1830"/>
                    <a:gd name="T10" fmla="*/ 1140 w 1146"/>
                    <a:gd name="T11" fmla="*/ 744 h 1830"/>
                    <a:gd name="T12" fmla="*/ 1146 w 1146"/>
                    <a:gd name="T13" fmla="*/ 840 h 1830"/>
                    <a:gd name="T14" fmla="*/ 1140 w 1146"/>
                    <a:gd name="T15" fmla="*/ 894 h 1830"/>
                    <a:gd name="T16" fmla="*/ 1080 w 1146"/>
                    <a:gd name="T17" fmla="*/ 894 h 1830"/>
                    <a:gd name="T18" fmla="*/ 1050 w 1146"/>
                    <a:gd name="T19" fmla="*/ 960 h 1830"/>
                    <a:gd name="T20" fmla="*/ 1014 w 1146"/>
                    <a:gd name="T21" fmla="*/ 1008 h 1830"/>
                    <a:gd name="T22" fmla="*/ 984 w 1146"/>
                    <a:gd name="T23" fmla="*/ 1044 h 1830"/>
                    <a:gd name="T24" fmla="*/ 972 w 1146"/>
                    <a:gd name="T25" fmla="*/ 1104 h 1830"/>
                    <a:gd name="T26" fmla="*/ 972 w 1146"/>
                    <a:gd name="T27" fmla="*/ 1140 h 1830"/>
                    <a:gd name="T28" fmla="*/ 954 w 1146"/>
                    <a:gd name="T29" fmla="*/ 1188 h 1830"/>
                    <a:gd name="T30" fmla="*/ 1002 w 1146"/>
                    <a:gd name="T31" fmla="*/ 1224 h 1830"/>
                    <a:gd name="T32" fmla="*/ 1014 w 1146"/>
                    <a:gd name="T33" fmla="*/ 1296 h 1830"/>
                    <a:gd name="T34" fmla="*/ 1044 w 1146"/>
                    <a:gd name="T35" fmla="*/ 1338 h 1830"/>
                    <a:gd name="T36" fmla="*/ 1068 w 1146"/>
                    <a:gd name="T37" fmla="*/ 1392 h 1830"/>
                    <a:gd name="T38" fmla="*/ 1050 w 1146"/>
                    <a:gd name="T39" fmla="*/ 1428 h 1830"/>
                    <a:gd name="T40" fmla="*/ 960 w 1146"/>
                    <a:gd name="T41" fmla="*/ 1434 h 1830"/>
                    <a:gd name="T42" fmla="*/ 906 w 1146"/>
                    <a:gd name="T43" fmla="*/ 1512 h 1830"/>
                    <a:gd name="T44" fmla="*/ 804 w 1146"/>
                    <a:gd name="T45" fmla="*/ 1626 h 1830"/>
                    <a:gd name="T46" fmla="*/ 738 w 1146"/>
                    <a:gd name="T47" fmla="*/ 1662 h 1830"/>
                    <a:gd name="T48" fmla="*/ 654 w 1146"/>
                    <a:gd name="T49" fmla="*/ 1674 h 1830"/>
                    <a:gd name="T50" fmla="*/ 600 w 1146"/>
                    <a:gd name="T51" fmla="*/ 1692 h 1830"/>
                    <a:gd name="T52" fmla="*/ 588 w 1146"/>
                    <a:gd name="T53" fmla="*/ 1758 h 1830"/>
                    <a:gd name="T54" fmla="*/ 498 w 1146"/>
                    <a:gd name="T55" fmla="*/ 1788 h 1830"/>
                    <a:gd name="T56" fmla="*/ 444 w 1146"/>
                    <a:gd name="T57" fmla="*/ 1818 h 1830"/>
                    <a:gd name="T58" fmla="*/ 366 w 1146"/>
                    <a:gd name="T59" fmla="*/ 1830 h 1830"/>
                    <a:gd name="T60" fmla="*/ 276 w 1146"/>
                    <a:gd name="T61" fmla="*/ 1830 h 1830"/>
                    <a:gd name="T62" fmla="*/ 222 w 1146"/>
                    <a:gd name="T63" fmla="*/ 1740 h 1830"/>
                    <a:gd name="T64" fmla="*/ 204 w 1146"/>
                    <a:gd name="T65" fmla="*/ 1692 h 1830"/>
                    <a:gd name="T66" fmla="*/ 138 w 1146"/>
                    <a:gd name="T67" fmla="*/ 1644 h 1830"/>
                    <a:gd name="T68" fmla="*/ 90 w 1146"/>
                    <a:gd name="T69" fmla="*/ 1626 h 1830"/>
                    <a:gd name="T70" fmla="*/ 54 w 1146"/>
                    <a:gd name="T71" fmla="*/ 1572 h 1830"/>
                    <a:gd name="T72" fmla="*/ 78 w 1146"/>
                    <a:gd name="T73" fmla="*/ 1542 h 1830"/>
                    <a:gd name="T74" fmla="*/ 162 w 1146"/>
                    <a:gd name="T75" fmla="*/ 1542 h 1830"/>
                    <a:gd name="T76" fmla="*/ 204 w 1146"/>
                    <a:gd name="T77" fmla="*/ 1494 h 1830"/>
                    <a:gd name="T78" fmla="*/ 204 w 1146"/>
                    <a:gd name="T79" fmla="*/ 1416 h 1830"/>
                    <a:gd name="T80" fmla="*/ 174 w 1146"/>
                    <a:gd name="T81" fmla="*/ 1368 h 1830"/>
                    <a:gd name="T82" fmla="*/ 180 w 1146"/>
                    <a:gd name="T83" fmla="*/ 1320 h 1830"/>
                    <a:gd name="T84" fmla="*/ 180 w 1146"/>
                    <a:gd name="T85" fmla="*/ 1272 h 1830"/>
                    <a:gd name="T86" fmla="*/ 132 w 1146"/>
                    <a:gd name="T87" fmla="*/ 1242 h 1830"/>
                    <a:gd name="T88" fmla="*/ 54 w 1146"/>
                    <a:gd name="T89" fmla="*/ 1206 h 1830"/>
                    <a:gd name="T90" fmla="*/ 0 w 1146"/>
                    <a:gd name="T91" fmla="*/ 1128 h 1830"/>
                    <a:gd name="T92" fmla="*/ 24 w 1146"/>
                    <a:gd name="T93" fmla="*/ 1020 h 1830"/>
                    <a:gd name="T94" fmla="*/ 12 w 1146"/>
                    <a:gd name="T95" fmla="*/ 930 h 1830"/>
                    <a:gd name="T96" fmla="*/ 96 w 1146"/>
                    <a:gd name="T97" fmla="*/ 876 h 1830"/>
                    <a:gd name="T98" fmla="*/ 168 w 1146"/>
                    <a:gd name="T99" fmla="*/ 816 h 1830"/>
                    <a:gd name="T100" fmla="*/ 210 w 1146"/>
                    <a:gd name="T101" fmla="*/ 762 h 1830"/>
                    <a:gd name="T102" fmla="*/ 222 w 1146"/>
                    <a:gd name="T103" fmla="*/ 666 h 1830"/>
                    <a:gd name="T104" fmla="*/ 222 w 1146"/>
                    <a:gd name="T105" fmla="*/ 534 h 1830"/>
                    <a:gd name="T106" fmla="*/ 258 w 1146"/>
                    <a:gd name="T107" fmla="*/ 474 h 1830"/>
                    <a:gd name="T108" fmla="*/ 258 w 1146"/>
                    <a:gd name="T109" fmla="*/ 414 h 1830"/>
                    <a:gd name="T110" fmla="*/ 234 w 1146"/>
                    <a:gd name="T111" fmla="*/ 324 h 1830"/>
                    <a:gd name="T112" fmla="*/ 192 w 1146"/>
                    <a:gd name="T113" fmla="*/ 276 h 1830"/>
                    <a:gd name="T114" fmla="*/ 192 w 1146"/>
                    <a:gd name="T115" fmla="*/ 132 h 1830"/>
                    <a:gd name="T116" fmla="*/ 144 w 1146"/>
                    <a:gd name="T117" fmla="*/ 72 h 1830"/>
                    <a:gd name="T118" fmla="*/ 144 w 1146"/>
                    <a:gd name="T119" fmla="*/ 72 h 1830"/>
                    <a:gd name="T120" fmla="*/ 216 w 1146"/>
                    <a:gd name="T121" fmla="*/ 12 h 1830"/>
                    <a:gd name="T122" fmla="*/ 288 w 1146"/>
                    <a:gd name="T123" fmla="*/ 0 h 18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46" h="1830">
                      <a:moveTo>
                        <a:pt x="288" y="0"/>
                      </a:moveTo>
                      <a:lnTo>
                        <a:pt x="1122" y="414"/>
                      </a:lnTo>
                      <a:lnTo>
                        <a:pt x="1122" y="414"/>
                      </a:lnTo>
                      <a:lnTo>
                        <a:pt x="1134" y="510"/>
                      </a:lnTo>
                      <a:lnTo>
                        <a:pt x="1134" y="642"/>
                      </a:lnTo>
                      <a:lnTo>
                        <a:pt x="1140" y="744"/>
                      </a:lnTo>
                      <a:lnTo>
                        <a:pt x="1146" y="840"/>
                      </a:lnTo>
                      <a:lnTo>
                        <a:pt x="1140" y="894"/>
                      </a:lnTo>
                      <a:lnTo>
                        <a:pt x="1080" y="894"/>
                      </a:lnTo>
                      <a:lnTo>
                        <a:pt x="1050" y="960"/>
                      </a:lnTo>
                      <a:lnTo>
                        <a:pt x="1014" y="1008"/>
                      </a:lnTo>
                      <a:lnTo>
                        <a:pt x="984" y="1044"/>
                      </a:lnTo>
                      <a:lnTo>
                        <a:pt x="972" y="1104"/>
                      </a:lnTo>
                      <a:lnTo>
                        <a:pt x="972" y="1140"/>
                      </a:lnTo>
                      <a:lnTo>
                        <a:pt x="954" y="1188"/>
                      </a:lnTo>
                      <a:lnTo>
                        <a:pt x="1002" y="1224"/>
                      </a:lnTo>
                      <a:lnTo>
                        <a:pt x="1014" y="1296"/>
                      </a:lnTo>
                      <a:lnTo>
                        <a:pt x="1044" y="1338"/>
                      </a:lnTo>
                      <a:lnTo>
                        <a:pt x="1068" y="1392"/>
                      </a:lnTo>
                      <a:lnTo>
                        <a:pt x="1050" y="1428"/>
                      </a:lnTo>
                      <a:lnTo>
                        <a:pt x="960" y="1434"/>
                      </a:lnTo>
                      <a:lnTo>
                        <a:pt x="906" y="1512"/>
                      </a:lnTo>
                      <a:lnTo>
                        <a:pt x="804" y="1626"/>
                      </a:lnTo>
                      <a:lnTo>
                        <a:pt x="738" y="1662"/>
                      </a:lnTo>
                      <a:lnTo>
                        <a:pt x="654" y="1674"/>
                      </a:lnTo>
                      <a:lnTo>
                        <a:pt x="600" y="1692"/>
                      </a:lnTo>
                      <a:lnTo>
                        <a:pt x="588" y="1758"/>
                      </a:lnTo>
                      <a:lnTo>
                        <a:pt x="498" y="1788"/>
                      </a:lnTo>
                      <a:lnTo>
                        <a:pt x="444" y="1818"/>
                      </a:lnTo>
                      <a:lnTo>
                        <a:pt x="366" y="1830"/>
                      </a:lnTo>
                      <a:lnTo>
                        <a:pt x="276" y="1830"/>
                      </a:lnTo>
                      <a:lnTo>
                        <a:pt x="222" y="1740"/>
                      </a:lnTo>
                      <a:lnTo>
                        <a:pt x="204" y="1692"/>
                      </a:lnTo>
                      <a:lnTo>
                        <a:pt x="138" y="1644"/>
                      </a:lnTo>
                      <a:lnTo>
                        <a:pt x="90" y="1626"/>
                      </a:lnTo>
                      <a:lnTo>
                        <a:pt x="54" y="1572"/>
                      </a:lnTo>
                      <a:lnTo>
                        <a:pt x="78" y="1542"/>
                      </a:lnTo>
                      <a:lnTo>
                        <a:pt x="162" y="1542"/>
                      </a:lnTo>
                      <a:lnTo>
                        <a:pt x="204" y="1494"/>
                      </a:lnTo>
                      <a:lnTo>
                        <a:pt x="204" y="1416"/>
                      </a:lnTo>
                      <a:lnTo>
                        <a:pt x="174" y="1368"/>
                      </a:lnTo>
                      <a:lnTo>
                        <a:pt x="180" y="1320"/>
                      </a:lnTo>
                      <a:lnTo>
                        <a:pt x="180" y="1272"/>
                      </a:lnTo>
                      <a:lnTo>
                        <a:pt x="132" y="1242"/>
                      </a:lnTo>
                      <a:lnTo>
                        <a:pt x="54" y="1206"/>
                      </a:lnTo>
                      <a:lnTo>
                        <a:pt x="0" y="1128"/>
                      </a:lnTo>
                      <a:lnTo>
                        <a:pt x="24" y="1020"/>
                      </a:lnTo>
                      <a:lnTo>
                        <a:pt x="12" y="930"/>
                      </a:lnTo>
                      <a:lnTo>
                        <a:pt x="96" y="876"/>
                      </a:lnTo>
                      <a:lnTo>
                        <a:pt x="168" y="816"/>
                      </a:lnTo>
                      <a:lnTo>
                        <a:pt x="210" y="762"/>
                      </a:lnTo>
                      <a:lnTo>
                        <a:pt x="222" y="666"/>
                      </a:lnTo>
                      <a:lnTo>
                        <a:pt x="222" y="534"/>
                      </a:lnTo>
                      <a:lnTo>
                        <a:pt x="258" y="474"/>
                      </a:lnTo>
                      <a:lnTo>
                        <a:pt x="258" y="414"/>
                      </a:lnTo>
                      <a:lnTo>
                        <a:pt x="234" y="324"/>
                      </a:lnTo>
                      <a:lnTo>
                        <a:pt x="192" y="276"/>
                      </a:lnTo>
                      <a:lnTo>
                        <a:pt x="192" y="132"/>
                      </a:lnTo>
                      <a:lnTo>
                        <a:pt x="144" y="72"/>
                      </a:lnTo>
                      <a:lnTo>
                        <a:pt x="144" y="72"/>
                      </a:lnTo>
                      <a:lnTo>
                        <a:pt x="216" y="12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6" name="Freeform 214">
                  <a:extLst>
                    <a:ext uri="{FF2B5EF4-FFF2-40B4-BE49-F238E27FC236}">
                      <a16:creationId xmlns:a16="http://schemas.microsoft.com/office/drawing/2014/main" id="{84B7B56F-72B0-4875-B54C-99AF8939B2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5" y="1410"/>
                  <a:ext cx="702" cy="666"/>
                </a:xfrm>
                <a:custGeom>
                  <a:avLst/>
                  <a:gdLst>
                    <a:gd name="T0" fmla="*/ 192 w 702"/>
                    <a:gd name="T1" fmla="*/ 0 h 666"/>
                    <a:gd name="T2" fmla="*/ 228 w 702"/>
                    <a:gd name="T3" fmla="*/ 72 h 666"/>
                    <a:gd name="T4" fmla="*/ 264 w 702"/>
                    <a:gd name="T5" fmla="*/ 144 h 666"/>
                    <a:gd name="T6" fmla="*/ 276 w 702"/>
                    <a:gd name="T7" fmla="*/ 198 h 666"/>
                    <a:gd name="T8" fmla="*/ 294 w 702"/>
                    <a:gd name="T9" fmla="*/ 258 h 666"/>
                    <a:gd name="T10" fmla="*/ 312 w 702"/>
                    <a:gd name="T11" fmla="*/ 300 h 666"/>
                    <a:gd name="T12" fmla="*/ 330 w 702"/>
                    <a:gd name="T13" fmla="*/ 324 h 666"/>
                    <a:gd name="T14" fmla="*/ 342 w 702"/>
                    <a:gd name="T15" fmla="*/ 330 h 666"/>
                    <a:gd name="T16" fmla="*/ 348 w 702"/>
                    <a:gd name="T17" fmla="*/ 324 h 666"/>
                    <a:gd name="T18" fmla="*/ 354 w 702"/>
                    <a:gd name="T19" fmla="*/ 324 h 666"/>
                    <a:gd name="T20" fmla="*/ 366 w 702"/>
                    <a:gd name="T21" fmla="*/ 324 h 666"/>
                    <a:gd name="T22" fmla="*/ 372 w 702"/>
                    <a:gd name="T23" fmla="*/ 324 h 666"/>
                    <a:gd name="T24" fmla="*/ 384 w 702"/>
                    <a:gd name="T25" fmla="*/ 330 h 666"/>
                    <a:gd name="T26" fmla="*/ 390 w 702"/>
                    <a:gd name="T27" fmla="*/ 336 h 666"/>
                    <a:gd name="T28" fmla="*/ 396 w 702"/>
                    <a:gd name="T29" fmla="*/ 342 h 666"/>
                    <a:gd name="T30" fmla="*/ 402 w 702"/>
                    <a:gd name="T31" fmla="*/ 342 h 666"/>
                    <a:gd name="T32" fmla="*/ 414 w 702"/>
                    <a:gd name="T33" fmla="*/ 342 h 666"/>
                    <a:gd name="T34" fmla="*/ 432 w 702"/>
                    <a:gd name="T35" fmla="*/ 342 h 666"/>
                    <a:gd name="T36" fmla="*/ 438 w 702"/>
                    <a:gd name="T37" fmla="*/ 348 h 666"/>
                    <a:gd name="T38" fmla="*/ 444 w 702"/>
                    <a:gd name="T39" fmla="*/ 354 h 666"/>
                    <a:gd name="T40" fmla="*/ 450 w 702"/>
                    <a:gd name="T41" fmla="*/ 360 h 666"/>
                    <a:gd name="T42" fmla="*/ 450 w 702"/>
                    <a:gd name="T43" fmla="*/ 372 h 666"/>
                    <a:gd name="T44" fmla="*/ 450 w 702"/>
                    <a:gd name="T45" fmla="*/ 384 h 666"/>
                    <a:gd name="T46" fmla="*/ 450 w 702"/>
                    <a:gd name="T47" fmla="*/ 390 h 666"/>
                    <a:gd name="T48" fmla="*/ 456 w 702"/>
                    <a:gd name="T49" fmla="*/ 402 h 666"/>
                    <a:gd name="T50" fmla="*/ 462 w 702"/>
                    <a:gd name="T51" fmla="*/ 408 h 666"/>
                    <a:gd name="T52" fmla="*/ 474 w 702"/>
                    <a:gd name="T53" fmla="*/ 408 h 666"/>
                    <a:gd name="T54" fmla="*/ 504 w 702"/>
                    <a:gd name="T55" fmla="*/ 420 h 666"/>
                    <a:gd name="T56" fmla="*/ 528 w 702"/>
                    <a:gd name="T57" fmla="*/ 444 h 666"/>
                    <a:gd name="T58" fmla="*/ 552 w 702"/>
                    <a:gd name="T59" fmla="*/ 480 h 666"/>
                    <a:gd name="T60" fmla="*/ 576 w 702"/>
                    <a:gd name="T61" fmla="*/ 522 h 666"/>
                    <a:gd name="T62" fmla="*/ 612 w 702"/>
                    <a:gd name="T63" fmla="*/ 558 h 666"/>
                    <a:gd name="T64" fmla="*/ 660 w 702"/>
                    <a:gd name="T65" fmla="*/ 582 h 666"/>
                    <a:gd name="T66" fmla="*/ 702 w 702"/>
                    <a:gd name="T67" fmla="*/ 594 h 666"/>
                    <a:gd name="T68" fmla="*/ 702 w 702"/>
                    <a:gd name="T69" fmla="*/ 594 h 666"/>
                    <a:gd name="T70" fmla="*/ 642 w 702"/>
                    <a:gd name="T71" fmla="*/ 666 h 666"/>
                    <a:gd name="T72" fmla="*/ 600 w 702"/>
                    <a:gd name="T73" fmla="*/ 636 h 666"/>
                    <a:gd name="T74" fmla="*/ 552 w 702"/>
                    <a:gd name="T75" fmla="*/ 618 h 666"/>
                    <a:gd name="T76" fmla="*/ 504 w 702"/>
                    <a:gd name="T77" fmla="*/ 576 h 666"/>
                    <a:gd name="T78" fmla="*/ 444 w 702"/>
                    <a:gd name="T79" fmla="*/ 522 h 666"/>
                    <a:gd name="T80" fmla="*/ 372 w 702"/>
                    <a:gd name="T81" fmla="*/ 510 h 666"/>
                    <a:gd name="T82" fmla="*/ 330 w 702"/>
                    <a:gd name="T83" fmla="*/ 456 h 666"/>
                    <a:gd name="T84" fmla="*/ 270 w 702"/>
                    <a:gd name="T85" fmla="*/ 414 h 666"/>
                    <a:gd name="T86" fmla="*/ 222 w 702"/>
                    <a:gd name="T87" fmla="*/ 432 h 666"/>
                    <a:gd name="T88" fmla="*/ 150 w 702"/>
                    <a:gd name="T89" fmla="*/ 414 h 666"/>
                    <a:gd name="T90" fmla="*/ 90 w 702"/>
                    <a:gd name="T91" fmla="*/ 444 h 666"/>
                    <a:gd name="T92" fmla="*/ 0 w 702"/>
                    <a:gd name="T93" fmla="*/ 432 h 666"/>
                    <a:gd name="T94" fmla="*/ 0 w 702"/>
                    <a:gd name="T95" fmla="*/ 330 h 666"/>
                    <a:gd name="T96" fmla="*/ 36 w 702"/>
                    <a:gd name="T97" fmla="*/ 282 h 666"/>
                    <a:gd name="T98" fmla="*/ 36 w 702"/>
                    <a:gd name="T99" fmla="*/ 150 h 666"/>
                    <a:gd name="T100" fmla="*/ 84 w 702"/>
                    <a:gd name="T101" fmla="*/ 120 h 666"/>
                    <a:gd name="T102" fmla="*/ 132 w 702"/>
                    <a:gd name="T103" fmla="*/ 72 h 666"/>
                    <a:gd name="T104" fmla="*/ 150 w 702"/>
                    <a:gd name="T105" fmla="*/ 42 h 666"/>
                    <a:gd name="T106" fmla="*/ 192 w 702"/>
                    <a:gd name="T107" fmla="*/ 0 h 6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702" h="666">
                      <a:moveTo>
                        <a:pt x="192" y="0"/>
                      </a:moveTo>
                      <a:lnTo>
                        <a:pt x="228" y="72"/>
                      </a:lnTo>
                      <a:lnTo>
                        <a:pt x="264" y="144"/>
                      </a:lnTo>
                      <a:lnTo>
                        <a:pt x="276" y="198"/>
                      </a:lnTo>
                      <a:lnTo>
                        <a:pt x="294" y="258"/>
                      </a:lnTo>
                      <a:lnTo>
                        <a:pt x="312" y="300"/>
                      </a:lnTo>
                      <a:lnTo>
                        <a:pt x="330" y="324"/>
                      </a:lnTo>
                      <a:lnTo>
                        <a:pt x="342" y="330"/>
                      </a:lnTo>
                      <a:lnTo>
                        <a:pt x="348" y="324"/>
                      </a:lnTo>
                      <a:lnTo>
                        <a:pt x="354" y="324"/>
                      </a:lnTo>
                      <a:lnTo>
                        <a:pt x="366" y="324"/>
                      </a:lnTo>
                      <a:lnTo>
                        <a:pt x="372" y="324"/>
                      </a:lnTo>
                      <a:lnTo>
                        <a:pt x="384" y="330"/>
                      </a:lnTo>
                      <a:lnTo>
                        <a:pt x="390" y="336"/>
                      </a:lnTo>
                      <a:lnTo>
                        <a:pt x="396" y="342"/>
                      </a:lnTo>
                      <a:lnTo>
                        <a:pt x="402" y="342"/>
                      </a:lnTo>
                      <a:lnTo>
                        <a:pt x="414" y="342"/>
                      </a:lnTo>
                      <a:lnTo>
                        <a:pt x="432" y="342"/>
                      </a:lnTo>
                      <a:lnTo>
                        <a:pt x="438" y="348"/>
                      </a:lnTo>
                      <a:lnTo>
                        <a:pt x="444" y="354"/>
                      </a:lnTo>
                      <a:lnTo>
                        <a:pt x="450" y="360"/>
                      </a:lnTo>
                      <a:lnTo>
                        <a:pt x="450" y="372"/>
                      </a:lnTo>
                      <a:lnTo>
                        <a:pt x="450" y="384"/>
                      </a:lnTo>
                      <a:lnTo>
                        <a:pt x="450" y="390"/>
                      </a:lnTo>
                      <a:lnTo>
                        <a:pt x="456" y="402"/>
                      </a:lnTo>
                      <a:lnTo>
                        <a:pt x="462" y="408"/>
                      </a:lnTo>
                      <a:lnTo>
                        <a:pt x="474" y="408"/>
                      </a:lnTo>
                      <a:lnTo>
                        <a:pt x="504" y="420"/>
                      </a:lnTo>
                      <a:lnTo>
                        <a:pt x="528" y="444"/>
                      </a:lnTo>
                      <a:lnTo>
                        <a:pt x="552" y="480"/>
                      </a:lnTo>
                      <a:lnTo>
                        <a:pt x="576" y="522"/>
                      </a:lnTo>
                      <a:lnTo>
                        <a:pt x="612" y="558"/>
                      </a:lnTo>
                      <a:lnTo>
                        <a:pt x="660" y="582"/>
                      </a:lnTo>
                      <a:lnTo>
                        <a:pt x="702" y="594"/>
                      </a:lnTo>
                      <a:lnTo>
                        <a:pt x="702" y="594"/>
                      </a:lnTo>
                      <a:lnTo>
                        <a:pt x="642" y="666"/>
                      </a:lnTo>
                      <a:lnTo>
                        <a:pt x="600" y="636"/>
                      </a:lnTo>
                      <a:lnTo>
                        <a:pt x="552" y="618"/>
                      </a:lnTo>
                      <a:lnTo>
                        <a:pt x="504" y="576"/>
                      </a:lnTo>
                      <a:lnTo>
                        <a:pt x="444" y="522"/>
                      </a:lnTo>
                      <a:lnTo>
                        <a:pt x="372" y="510"/>
                      </a:lnTo>
                      <a:lnTo>
                        <a:pt x="330" y="456"/>
                      </a:lnTo>
                      <a:lnTo>
                        <a:pt x="270" y="414"/>
                      </a:lnTo>
                      <a:lnTo>
                        <a:pt x="222" y="432"/>
                      </a:lnTo>
                      <a:lnTo>
                        <a:pt x="150" y="414"/>
                      </a:lnTo>
                      <a:lnTo>
                        <a:pt x="90" y="444"/>
                      </a:lnTo>
                      <a:lnTo>
                        <a:pt x="0" y="432"/>
                      </a:lnTo>
                      <a:lnTo>
                        <a:pt x="0" y="330"/>
                      </a:lnTo>
                      <a:lnTo>
                        <a:pt x="36" y="282"/>
                      </a:lnTo>
                      <a:lnTo>
                        <a:pt x="36" y="150"/>
                      </a:lnTo>
                      <a:lnTo>
                        <a:pt x="84" y="120"/>
                      </a:lnTo>
                      <a:lnTo>
                        <a:pt x="132" y="72"/>
                      </a:lnTo>
                      <a:lnTo>
                        <a:pt x="150" y="42"/>
                      </a:lnTo>
                      <a:lnTo>
                        <a:pt x="19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7" name="Freeform 215">
                  <a:extLst>
                    <a:ext uri="{FF2B5EF4-FFF2-40B4-BE49-F238E27FC236}">
                      <a16:creationId xmlns:a16="http://schemas.microsoft.com/office/drawing/2014/main" id="{B481EE58-B3D5-42BB-A1F4-4B01A4A67F7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87" y="798"/>
                  <a:ext cx="1794" cy="1710"/>
                </a:xfrm>
                <a:custGeom>
                  <a:avLst/>
                  <a:gdLst>
                    <a:gd name="T0" fmla="*/ 258 w 1794"/>
                    <a:gd name="T1" fmla="*/ 1710 h 1710"/>
                    <a:gd name="T2" fmla="*/ 258 w 1794"/>
                    <a:gd name="T3" fmla="*/ 1710 h 1710"/>
                    <a:gd name="T4" fmla="*/ 1476 w 1794"/>
                    <a:gd name="T5" fmla="*/ 42 h 1710"/>
                    <a:gd name="T6" fmla="*/ 1542 w 1794"/>
                    <a:gd name="T7" fmla="*/ 108 h 1710"/>
                    <a:gd name="T8" fmla="*/ 1578 w 1794"/>
                    <a:gd name="T9" fmla="*/ 144 h 1710"/>
                    <a:gd name="T10" fmla="*/ 1602 w 1794"/>
                    <a:gd name="T11" fmla="*/ 174 h 1710"/>
                    <a:gd name="T12" fmla="*/ 1614 w 1794"/>
                    <a:gd name="T13" fmla="*/ 240 h 1710"/>
                    <a:gd name="T14" fmla="*/ 1626 w 1794"/>
                    <a:gd name="T15" fmla="*/ 342 h 1710"/>
                    <a:gd name="T16" fmla="*/ 1668 w 1794"/>
                    <a:gd name="T17" fmla="*/ 456 h 1710"/>
                    <a:gd name="T18" fmla="*/ 1674 w 1794"/>
                    <a:gd name="T19" fmla="*/ 528 h 1710"/>
                    <a:gd name="T20" fmla="*/ 1686 w 1794"/>
                    <a:gd name="T21" fmla="*/ 552 h 1710"/>
                    <a:gd name="T22" fmla="*/ 1722 w 1794"/>
                    <a:gd name="T23" fmla="*/ 570 h 1710"/>
                    <a:gd name="T24" fmla="*/ 1764 w 1794"/>
                    <a:gd name="T25" fmla="*/ 588 h 1710"/>
                    <a:gd name="T26" fmla="*/ 1794 w 1794"/>
                    <a:gd name="T27" fmla="*/ 612 h 1710"/>
                    <a:gd name="T28" fmla="*/ 1740 w 1794"/>
                    <a:gd name="T29" fmla="*/ 684 h 1710"/>
                    <a:gd name="T30" fmla="*/ 1644 w 1794"/>
                    <a:gd name="T31" fmla="*/ 762 h 1710"/>
                    <a:gd name="T32" fmla="*/ 1608 w 1794"/>
                    <a:gd name="T33" fmla="*/ 942 h 1710"/>
                    <a:gd name="T34" fmla="*/ 1584 w 1794"/>
                    <a:gd name="T35" fmla="*/ 1200 h 1710"/>
                    <a:gd name="T36" fmla="*/ 1494 w 1794"/>
                    <a:gd name="T37" fmla="*/ 1308 h 1710"/>
                    <a:gd name="T38" fmla="*/ 1452 w 1794"/>
                    <a:gd name="T39" fmla="*/ 1452 h 1710"/>
                    <a:gd name="T40" fmla="*/ 1386 w 1794"/>
                    <a:gd name="T41" fmla="*/ 1596 h 1710"/>
                    <a:gd name="T42" fmla="*/ 1308 w 1794"/>
                    <a:gd name="T43" fmla="*/ 1608 h 1710"/>
                    <a:gd name="T44" fmla="*/ 1308 w 1794"/>
                    <a:gd name="T45" fmla="*/ 1482 h 1710"/>
                    <a:gd name="T46" fmla="*/ 1236 w 1794"/>
                    <a:gd name="T47" fmla="*/ 1368 h 1710"/>
                    <a:gd name="T48" fmla="*/ 1218 w 1794"/>
                    <a:gd name="T49" fmla="*/ 1242 h 1710"/>
                    <a:gd name="T50" fmla="*/ 1176 w 1794"/>
                    <a:gd name="T51" fmla="*/ 1290 h 1710"/>
                    <a:gd name="T52" fmla="*/ 1128 w 1794"/>
                    <a:gd name="T53" fmla="*/ 1356 h 1710"/>
                    <a:gd name="T54" fmla="*/ 1056 w 1794"/>
                    <a:gd name="T55" fmla="*/ 1560 h 1710"/>
                    <a:gd name="T56" fmla="*/ 900 w 1794"/>
                    <a:gd name="T57" fmla="*/ 1602 h 1710"/>
                    <a:gd name="T58" fmla="*/ 744 w 1794"/>
                    <a:gd name="T59" fmla="*/ 1602 h 1710"/>
                    <a:gd name="T60" fmla="*/ 660 w 1794"/>
                    <a:gd name="T61" fmla="*/ 1578 h 1710"/>
                    <a:gd name="T62" fmla="*/ 618 w 1794"/>
                    <a:gd name="T63" fmla="*/ 1608 h 1710"/>
                    <a:gd name="T64" fmla="*/ 504 w 1794"/>
                    <a:gd name="T65" fmla="*/ 1584 h 1710"/>
                    <a:gd name="T66" fmla="*/ 348 w 1794"/>
                    <a:gd name="T67" fmla="*/ 1500 h 1710"/>
                    <a:gd name="T68" fmla="*/ 330 w 1794"/>
                    <a:gd name="T69" fmla="*/ 1572 h 1710"/>
                    <a:gd name="T70" fmla="*/ 312 w 1794"/>
                    <a:gd name="T71" fmla="*/ 1656 h 1710"/>
                    <a:gd name="T72" fmla="*/ 258 w 1794"/>
                    <a:gd name="T73" fmla="*/ 1710 h 1710"/>
                    <a:gd name="T74" fmla="*/ 210 w 1794"/>
                    <a:gd name="T75" fmla="*/ 1626 h 1710"/>
                    <a:gd name="T76" fmla="*/ 192 w 1794"/>
                    <a:gd name="T77" fmla="*/ 1536 h 1710"/>
                    <a:gd name="T78" fmla="*/ 96 w 1794"/>
                    <a:gd name="T79" fmla="*/ 1464 h 1710"/>
                    <a:gd name="T80" fmla="*/ 90 w 1794"/>
                    <a:gd name="T81" fmla="*/ 1374 h 1710"/>
                    <a:gd name="T82" fmla="*/ 48 w 1794"/>
                    <a:gd name="T83" fmla="*/ 1260 h 1710"/>
                    <a:gd name="T84" fmla="*/ 18 w 1794"/>
                    <a:gd name="T85" fmla="*/ 1176 h 1710"/>
                    <a:gd name="T86" fmla="*/ 30 w 1794"/>
                    <a:gd name="T87" fmla="*/ 1080 h 1710"/>
                    <a:gd name="T88" fmla="*/ 96 w 1794"/>
                    <a:gd name="T89" fmla="*/ 996 h 1710"/>
                    <a:gd name="T90" fmla="*/ 186 w 1794"/>
                    <a:gd name="T91" fmla="*/ 930 h 1710"/>
                    <a:gd name="T92" fmla="*/ 186 w 1794"/>
                    <a:gd name="T93" fmla="*/ 780 h 1710"/>
                    <a:gd name="T94" fmla="*/ 180 w 1794"/>
                    <a:gd name="T95" fmla="*/ 546 h 1710"/>
                    <a:gd name="T96" fmla="*/ 168 w 1794"/>
                    <a:gd name="T97" fmla="*/ 450 h 1710"/>
                    <a:gd name="T98" fmla="*/ 288 w 1794"/>
                    <a:gd name="T99" fmla="*/ 168 h 1710"/>
                    <a:gd name="T100" fmla="*/ 1182 w 1794"/>
                    <a:gd name="T101" fmla="*/ 150 h 1710"/>
                    <a:gd name="T102" fmla="*/ 1272 w 1794"/>
                    <a:gd name="T103" fmla="*/ 198 h 1710"/>
                    <a:gd name="T104" fmla="*/ 1332 w 1794"/>
                    <a:gd name="T105" fmla="*/ 84 h 1710"/>
                    <a:gd name="T106" fmla="*/ 1446 w 1794"/>
                    <a:gd name="T107" fmla="*/ 0 h 17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94" h="1710">
                      <a:moveTo>
                        <a:pt x="258" y="1710"/>
                      </a:moveTo>
                      <a:lnTo>
                        <a:pt x="258" y="1710"/>
                      </a:lnTo>
                      <a:lnTo>
                        <a:pt x="258" y="1710"/>
                      </a:lnTo>
                      <a:lnTo>
                        <a:pt x="258" y="1710"/>
                      </a:lnTo>
                      <a:close/>
                      <a:moveTo>
                        <a:pt x="1446" y="0"/>
                      </a:moveTo>
                      <a:lnTo>
                        <a:pt x="1476" y="42"/>
                      </a:lnTo>
                      <a:lnTo>
                        <a:pt x="1512" y="78"/>
                      </a:lnTo>
                      <a:lnTo>
                        <a:pt x="1542" y="108"/>
                      </a:lnTo>
                      <a:lnTo>
                        <a:pt x="1560" y="132"/>
                      </a:lnTo>
                      <a:lnTo>
                        <a:pt x="1578" y="144"/>
                      </a:lnTo>
                      <a:lnTo>
                        <a:pt x="1596" y="156"/>
                      </a:lnTo>
                      <a:lnTo>
                        <a:pt x="1602" y="174"/>
                      </a:lnTo>
                      <a:lnTo>
                        <a:pt x="1608" y="192"/>
                      </a:lnTo>
                      <a:lnTo>
                        <a:pt x="1614" y="240"/>
                      </a:lnTo>
                      <a:lnTo>
                        <a:pt x="1614" y="294"/>
                      </a:lnTo>
                      <a:lnTo>
                        <a:pt x="1626" y="342"/>
                      </a:lnTo>
                      <a:lnTo>
                        <a:pt x="1650" y="396"/>
                      </a:lnTo>
                      <a:lnTo>
                        <a:pt x="1668" y="456"/>
                      </a:lnTo>
                      <a:lnTo>
                        <a:pt x="1674" y="510"/>
                      </a:lnTo>
                      <a:lnTo>
                        <a:pt x="1674" y="528"/>
                      </a:lnTo>
                      <a:lnTo>
                        <a:pt x="1680" y="540"/>
                      </a:lnTo>
                      <a:lnTo>
                        <a:pt x="1686" y="552"/>
                      </a:lnTo>
                      <a:lnTo>
                        <a:pt x="1704" y="558"/>
                      </a:lnTo>
                      <a:lnTo>
                        <a:pt x="1722" y="570"/>
                      </a:lnTo>
                      <a:lnTo>
                        <a:pt x="1746" y="576"/>
                      </a:lnTo>
                      <a:lnTo>
                        <a:pt x="1764" y="588"/>
                      </a:lnTo>
                      <a:lnTo>
                        <a:pt x="1782" y="600"/>
                      </a:lnTo>
                      <a:lnTo>
                        <a:pt x="1794" y="612"/>
                      </a:lnTo>
                      <a:lnTo>
                        <a:pt x="1752" y="654"/>
                      </a:lnTo>
                      <a:lnTo>
                        <a:pt x="1740" y="684"/>
                      </a:lnTo>
                      <a:lnTo>
                        <a:pt x="1692" y="732"/>
                      </a:lnTo>
                      <a:lnTo>
                        <a:pt x="1644" y="762"/>
                      </a:lnTo>
                      <a:lnTo>
                        <a:pt x="1644" y="894"/>
                      </a:lnTo>
                      <a:lnTo>
                        <a:pt x="1608" y="942"/>
                      </a:lnTo>
                      <a:lnTo>
                        <a:pt x="1608" y="1134"/>
                      </a:lnTo>
                      <a:lnTo>
                        <a:pt x="1584" y="1200"/>
                      </a:lnTo>
                      <a:lnTo>
                        <a:pt x="1542" y="1248"/>
                      </a:lnTo>
                      <a:lnTo>
                        <a:pt x="1494" y="1308"/>
                      </a:lnTo>
                      <a:lnTo>
                        <a:pt x="1470" y="1374"/>
                      </a:lnTo>
                      <a:lnTo>
                        <a:pt x="1452" y="1452"/>
                      </a:lnTo>
                      <a:lnTo>
                        <a:pt x="1398" y="1482"/>
                      </a:lnTo>
                      <a:lnTo>
                        <a:pt x="1386" y="1596"/>
                      </a:lnTo>
                      <a:lnTo>
                        <a:pt x="1380" y="1602"/>
                      </a:lnTo>
                      <a:lnTo>
                        <a:pt x="1308" y="1608"/>
                      </a:lnTo>
                      <a:lnTo>
                        <a:pt x="1320" y="1530"/>
                      </a:lnTo>
                      <a:lnTo>
                        <a:pt x="1308" y="1482"/>
                      </a:lnTo>
                      <a:lnTo>
                        <a:pt x="1260" y="1440"/>
                      </a:lnTo>
                      <a:lnTo>
                        <a:pt x="1236" y="1368"/>
                      </a:lnTo>
                      <a:lnTo>
                        <a:pt x="1236" y="1314"/>
                      </a:lnTo>
                      <a:lnTo>
                        <a:pt x="1218" y="1242"/>
                      </a:lnTo>
                      <a:lnTo>
                        <a:pt x="1170" y="1242"/>
                      </a:lnTo>
                      <a:lnTo>
                        <a:pt x="1176" y="1290"/>
                      </a:lnTo>
                      <a:lnTo>
                        <a:pt x="1116" y="1290"/>
                      </a:lnTo>
                      <a:lnTo>
                        <a:pt x="1128" y="1356"/>
                      </a:lnTo>
                      <a:lnTo>
                        <a:pt x="1110" y="1440"/>
                      </a:lnTo>
                      <a:lnTo>
                        <a:pt x="1056" y="1560"/>
                      </a:lnTo>
                      <a:lnTo>
                        <a:pt x="1002" y="1596"/>
                      </a:lnTo>
                      <a:lnTo>
                        <a:pt x="900" y="1602"/>
                      </a:lnTo>
                      <a:lnTo>
                        <a:pt x="804" y="1530"/>
                      </a:lnTo>
                      <a:lnTo>
                        <a:pt x="744" y="1602"/>
                      </a:lnTo>
                      <a:lnTo>
                        <a:pt x="696" y="1566"/>
                      </a:lnTo>
                      <a:lnTo>
                        <a:pt x="660" y="1578"/>
                      </a:lnTo>
                      <a:lnTo>
                        <a:pt x="648" y="1596"/>
                      </a:lnTo>
                      <a:lnTo>
                        <a:pt x="618" y="1608"/>
                      </a:lnTo>
                      <a:lnTo>
                        <a:pt x="540" y="1608"/>
                      </a:lnTo>
                      <a:lnTo>
                        <a:pt x="504" y="1584"/>
                      </a:lnTo>
                      <a:lnTo>
                        <a:pt x="456" y="1500"/>
                      </a:lnTo>
                      <a:lnTo>
                        <a:pt x="348" y="1500"/>
                      </a:lnTo>
                      <a:lnTo>
                        <a:pt x="348" y="1524"/>
                      </a:lnTo>
                      <a:lnTo>
                        <a:pt x="330" y="1572"/>
                      </a:lnTo>
                      <a:lnTo>
                        <a:pt x="324" y="1620"/>
                      </a:lnTo>
                      <a:lnTo>
                        <a:pt x="312" y="1656"/>
                      </a:lnTo>
                      <a:lnTo>
                        <a:pt x="294" y="1674"/>
                      </a:lnTo>
                      <a:lnTo>
                        <a:pt x="258" y="1710"/>
                      </a:lnTo>
                      <a:lnTo>
                        <a:pt x="204" y="1674"/>
                      </a:lnTo>
                      <a:lnTo>
                        <a:pt x="210" y="1626"/>
                      </a:lnTo>
                      <a:lnTo>
                        <a:pt x="240" y="1566"/>
                      </a:lnTo>
                      <a:lnTo>
                        <a:pt x="192" y="1536"/>
                      </a:lnTo>
                      <a:lnTo>
                        <a:pt x="144" y="1512"/>
                      </a:lnTo>
                      <a:lnTo>
                        <a:pt x="96" y="1464"/>
                      </a:lnTo>
                      <a:lnTo>
                        <a:pt x="114" y="1428"/>
                      </a:lnTo>
                      <a:lnTo>
                        <a:pt x="90" y="1374"/>
                      </a:lnTo>
                      <a:lnTo>
                        <a:pt x="60" y="1332"/>
                      </a:lnTo>
                      <a:lnTo>
                        <a:pt x="48" y="1260"/>
                      </a:lnTo>
                      <a:lnTo>
                        <a:pt x="0" y="1224"/>
                      </a:lnTo>
                      <a:lnTo>
                        <a:pt x="18" y="1176"/>
                      </a:lnTo>
                      <a:lnTo>
                        <a:pt x="18" y="1140"/>
                      </a:lnTo>
                      <a:lnTo>
                        <a:pt x="30" y="1080"/>
                      </a:lnTo>
                      <a:lnTo>
                        <a:pt x="60" y="1044"/>
                      </a:lnTo>
                      <a:lnTo>
                        <a:pt x="96" y="996"/>
                      </a:lnTo>
                      <a:lnTo>
                        <a:pt x="126" y="930"/>
                      </a:lnTo>
                      <a:lnTo>
                        <a:pt x="186" y="930"/>
                      </a:lnTo>
                      <a:lnTo>
                        <a:pt x="192" y="876"/>
                      </a:lnTo>
                      <a:lnTo>
                        <a:pt x="186" y="780"/>
                      </a:lnTo>
                      <a:lnTo>
                        <a:pt x="180" y="678"/>
                      </a:lnTo>
                      <a:lnTo>
                        <a:pt x="180" y="546"/>
                      </a:lnTo>
                      <a:lnTo>
                        <a:pt x="168" y="450"/>
                      </a:lnTo>
                      <a:lnTo>
                        <a:pt x="168" y="450"/>
                      </a:lnTo>
                      <a:lnTo>
                        <a:pt x="288" y="408"/>
                      </a:lnTo>
                      <a:lnTo>
                        <a:pt x="288" y="168"/>
                      </a:lnTo>
                      <a:lnTo>
                        <a:pt x="1146" y="150"/>
                      </a:lnTo>
                      <a:lnTo>
                        <a:pt x="1182" y="150"/>
                      </a:lnTo>
                      <a:lnTo>
                        <a:pt x="1230" y="198"/>
                      </a:lnTo>
                      <a:lnTo>
                        <a:pt x="1272" y="198"/>
                      </a:lnTo>
                      <a:lnTo>
                        <a:pt x="1296" y="138"/>
                      </a:lnTo>
                      <a:lnTo>
                        <a:pt x="1332" y="84"/>
                      </a:lnTo>
                      <a:lnTo>
                        <a:pt x="1368" y="54"/>
                      </a:lnTo>
                      <a:lnTo>
                        <a:pt x="144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8" name="Freeform 216">
                  <a:extLst>
                    <a:ext uri="{FF2B5EF4-FFF2-40B4-BE49-F238E27FC236}">
                      <a16:creationId xmlns:a16="http://schemas.microsoft.com/office/drawing/2014/main" id="{24EABF47-8E9B-44E0-9BB3-CB35ABAF1E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01" y="2004"/>
                  <a:ext cx="168" cy="258"/>
                </a:xfrm>
                <a:custGeom>
                  <a:avLst/>
                  <a:gdLst>
                    <a:gd name="T0" fmla="*/ 96 w 168"/>
                    <a:gd name="T1" fmla="*/ 0 h 258"/>
                    <a:gd name="T2" fmla="*/ 126 w 168"/>
                    <a:gd name="T3" fmla="*/ 6 h 258"/>
                    <a:gd name="T4" fmla="*/ 162 w 168"/>
                    <a:gd name="T5" fmla="*/ 30 h 258"/>
                    <a:gd name="T6" fmla="*/ 168 w 168"/>
                    <a:gd name="T7" fmla="*/ 72 h 258"/>
                    <a:gd name="T8" fmla="*/ 144 w 168"/>
                    <a:gd name="T9" fmla="*/ 114 h 258"/>
                    <a:gd name="T10" fmla="*/ 126 w 168"/>
                    <a:gd name="T11" fmla="*/ 126 h 258"/>
                    <a:gd name="T12" fmla="*/ 120 w 168"/>
                    <a:gd name="T13" fmla="*/ 144 h 258"/>
                    <a:gd name="T14" fmla="*/ 120 w 168"/>
                    <a:gd name="T15" fmla="*/ 150 h 258"/>
                    <a:gd name="T16" fmla="*/ 120 w 168"/>
                    <a:gd name="T17" fmla="*/ 162 h 258"/>
                    <a:gd name="T18" fmla="*/ 126 w 168"/>
                    <a:gd name="T19" fmla="*/ 168 h 258"/>
                    <a:gd name="T20" fmla="*/ 132 w 168"/>
                    <a:gd name="T21" fmla="*/ 180 h 258"/>
                    <a:gd name="T22" fmla="*/ 138 w 168"/>
                    <a:gd name="T23" fmla="*/ 186 h 258"/>
                    <a:gd name="T24" fmla="*/ 150 w 168"/>
                    <a:gd name="T25" fmla="*/ 198 h 258"/>
                    <a:gd name="T26" fmla="*/ 156 w 168"/>
                    <a:gd name="T27" fmla="*/ 204 h 258"/>
                    <a:gd name="T28" fmla="*/ 126 w 168"/>
                    <a:gd name="T29" fmla="*/ 258 h 258"/>
                    <a:gd name="T30" fmla="*/ 90 w 168"/>
                    <a:gd name="T31" fmla="*/ 246 h 258"/>
                    <a:gd name="T32" fmla="*/ 36 w 168"/>
                    <a:gd name="T33" fmla="*/ 246 h 258"/>
                    <a:gd name="T34" fmla="*/ 0 w 168"/>
                    <a:gd name="T35" fmla="*/ 204 h 258"/>
                    <a:gd name="T36" fmla="*/ 0 w 168"/>
                    <a:gd name="T37" fmla="*/ 126 h 258"/>
                    <a:gd name="T38" fmla="*/ 36 w 168"/>
                    <a:gd name="T39" fmla="*/ 72 h 258"/>
                    <a:gd name="T40" fmla="*/ 36 w 168"/>
                    <a:gd name="T41" fmla="*/ 72 h 258"/>
                    <a:gd name="T42" fmla="*/ 96 w 168"/>
                    <a:gd name="T43" fmla="*/ 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68" h="258">
                      <a:moveTo>
                        <a:pt x="96" y="0"/>
                      </a:moveTo>
                      <a:lnTo>
                        <a:pt x="126" y="6"/>
                      </a:lnTo>
                      <a:lnTo>
                        <a:pt x="162" y="30"/>
                      </a:lnTo>
                      <a:lnTo>
                        <a:pt x="168" y="72"/>
                      </a:lnTo>
                      <a:lnTo>
                        <a:pt x="144" y="114"/>
                      </a:lnTo>
                      <a:lnTo>
                        <a:pt x="126" y="126"/>
                      </a:lnTo>
                      <a:lnTo>
                        <a:pt x="120" y="144"/>
                      </a:lnTo>
                      <a:lnTo>
                        <a:pt x="120" y="150"/>
                      </a:lnTo>
                      <a:lnTo>
                        <a:pt x="120" y="162"/>
                      </a:lnTo>
                      <a:lnTo>
                        <a:pt x="126" y="168"/>
                      </a:lnTo>
                      <a:lnTo>
                        <a:pt x="132" y="180"/>
                      </a:lnTo>
                      <a:lnTo>
                        <a:pt x="138" y="186"/>
                      </a:lnTo>
                      <a:lnTo>
                        <a:pt x="150" y="198"/>
                      </a:lnTo>
                      <a:lnTo>
                        <a:pt x="156" y="204"/>
                      </a:lnTo>
                      <a:lnTo>
                        <a:pt x="126" y="258"/>
                      </a:lnTo>
                      <a:lnTo>
                        <a:pt x="90" y="246"/>
                      </a:lnTo>
                      <a:lnTo>
                        <a:pt x="36" y="246"/>
                      </a:lnTo>
                      <a:lnTo>
                        <a:pt x="0" y="204"/>
                      </a:lnTo>
                      <a:lnTo>
                        <a:pt x="0" y="126"/>
                      </a:lnTo>
                      <a:lnTo>
                        <a:pt x="36" y="72"/>
                      </a:lnTo>
                      <a:lnTo>
                        <a:pt x="36" y="72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99" name="Freeform 217">
                  <a:extLst>
                    <a:ext uri="{FF2B5EF4-FFF2-40B4-BE49-F238E27FC236}">
                      <a16:creationId xmlns:a16="http://schemas.microsoft.com/office/drawing/2014/main" id="{A91DE6D3-136B-4471-BCAD-F0447C9474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7" y="1824"/>
                  <a:ext cx="1650" cy="1302"/>
                </a:xfrm>
                <a:custGeom>
                  <a:avLst/>
                  <a:gdLst>
                    <a:gd name="T0" fmla="*/ 498 w 1650"/>
                    <a:gd name="T1" fmla="*/ 0 h 1302"/>
                    <a:gd name="T2" fmla="*/ 570 w 1650"/>
                    <a:gd name="T3" fmla="*/ 18 h 1302"/>
                    <a:gd name="T4" fmla="*/ 618 w 1650"/>
                    <a:gd name="T5" fmla="*/ 0 h 1302"/>
                    <a:gd name="T6" fmla="*/ 678 w 1650"/>
                    <a:gd name="T7" fmla="*/ 42 h 1302"/>
                    <a:gd name="T8" fmla="*/ 720 w 1650"/>
                    <a:gd name="T9" fmla="*/ 96 h 1302"/>
                    <a:gd name="T10" fmla="*/ 792 w 1650"/>
                    <a:gd name="T11" fmla="*/ 108 h 1302"/>
                    <a:gd name="T12" fmla="*/ 852 w 1650"/>
                    <a:gd name="T13" fmla="*/ 162 h 1302"/>
                    <a:gd name="T14" fmla="*/ 900 w 1650"/>
                    <a:gd name="T15" fmla="*/ 204 h 1302"/>
                    <a:gd name="T16" fmla="*/ 948 w 1650"/>
                    <a:gd name="T17" fmla="*/ 222 h 1302"/>
                    <a:gd name="T18" fmla="*/ 990 w 1650"/>
                    <a:gd name="T19" fmla="*/ 252 h 1302"/>
                    <a:gd name="T20" fmla="*/ 990 w 1650"/>
                    <a:gd name="T21" fmla="*/ 252 h 1302"/>
                    <a:gd name="T22" fmla="*/ 954 w 1650"/>
                    <a:gd name="T23" fmla="*/ 306 h 1302"/>
                    <a:gd name="T24" fmla="*/ 954 w 1650"/>
                    <a:gd name="T25" fmla="*/ 384 h 1302"/>
                    <a:gd name="T26" fmla="*/ 990 w 1650"/>
                    <a:gd name="T27" fmla="*/ 426 h 1302"/>
                    <a:gd name="T28" fmla="*/ 1044 w 1650"/>
                    <a:gd name="T29" fmla="*/ 426 h 1302"/>
                    <a:gd name="T30" fmla="*/ 1080 w 1650"/>
                    <a:gd name="T31" fmla="*/ 438 h 1302"/>
                    <a:gd name="T32" fmla="*/ 1080 w 1650"/>
                    <a:gd name="T33" fmla="*/ 444 h 1302"/>
                    <a:gd name="T34" fmla="*/ 1134 w 1650"/>
                    <a:gd name="T35" fmla="*/ 528 h 1302"/>
                    <a:gd name="T36" fmla="*/ 1200 w 1650"/>
                    <a:gd name="T37" fmla="*/ 612 h 1302"/>
                    <a:gd name="T38" fmla="*/ 1314 w 1650"/>
                    <a:gd name="T39" fmla="*/ 654 h 1302"/>
                    <a:gd name="T40" fmla="*/ 1458 w 1650"/>
                    <a:gd name="T41" fmla="*/ 720 h 1302"/>
                    <a:gd name="T42" fmla="*/ 1512 w 1650"/>
                    <a:gd name="T43" fmla="*/ 744 h 1302"/>
                    <a:gd name="T44" fmla="*/ 1650 w 1650"/>
                    <a:gd name="T45" fmla="*/ 744 h 1302"/>
                    <a:gd name="T46" fmla="*/ 1554 w 1650"/>
                    <a:gd name="T47" fmla="*/ 846 h 1302"/>
                    <a:gd name="T48" fmla="*/ 1308 w 1650"/>
                    <a:gd name="T49" fmla="*/ 1116 h 1302"/>
                    <a:gd name="T50" fmla="*/ 1158 w 1650"/>
                    <a:gd name="T51" fmla="*/ 1146 h 1302"/>
                    <a:gd name="T52" fmla="*/ 1116 w 1650"/>
                    <a:gd name="T53" fmla="*/ 1212 h 1302"/>
                    <a:gd name="T54" fmla="*/ 1020 w 1650"/>
                    <a:gd name="T55" fmla="*/ 1242 h 1302"/>
                    <a:gd name="T56" fmla="*/ 918 w 1650"/>
                    <a:gd name="T57" fmla="*/ 1236 h 1302"/>
                    <a:gd name="T58" fmla="*/ 822 w 1650"/>
                    <a:gd name="T59" fmla="*/ 1242 h 1302"/>
                    <a:gd name="T60" fmla="*/ 744 w 1650"/>
                    <a:gd name="T61" fmla="*/ 1278 h 1302"/>
                    <a:gd name="T62" fmla="*/ 654 w 1650"/>
                    <a:gd name="T63" fmla="*/ 1302 h 1302"/>
                    <a:gd name="T64" fmla="*/ 576 w 1650"/>
                    <a:gd name="T65" fmla="*/ 1266 h 1302"/>
                    <a:gd name="T66" fmla="*/ 414 w 1650"/>
                    <a:gd name="T67" fmla="*/ 1140 h 1302"/>
                    <a:gd name="T68" fmla="*/ 306 w 1650"/>
                    <a:gd name="T69" fmla="*/ 1128 h 1302"/>
                    <a:gd name="T70" fmla="*/ 276 w 1650"/>
                    <a:gd name="T71" fmla="*/ 1056 h 1302"/>
                    <a:gd name="T72" fmla="*/ 216 w 1650"/>
                    <a:gd name="T73" fmla="*/ 1008 h 1302"/>
                    <a:gd name="T74" fmla="*/ 180 w 1650"/>
                    <a:gd name="T75" fmla="*/ 906 h 1302"/>
                    <a:gd name="T76" fmla="*/ 126 w 1650"/>
                    <a:gd name="T77" fmla="*/ 852 h 1302"/>
                    <a:gd name="T78" fmla="*/ 84 w 1650"/>
                    <a:gd name="T79" fmla="*/ 816 h 1302"/>
                    <a:gd name="T80" fmla="*/ 18 w 1650"/>
                    <a:gd name="T81" fmla="*/ 798 h 1302"/>
                    <a:gd name="T82" fmla="*/ 0 w 1650"/>
                    <a:gd name="T83" fmla="*/ 738 h 1302"/>
                    <a:gd name="T84" fmla="*/ 84 w 1650"/>
                    <a:gd name="T85" fmla="*/ 708 h 1302"/>
                    <a:gd name="T86" fmla="*/ 120 w 1650"/>
                    <a:gd name="T87" fmla="*/ 660 h 1302"/>
                    <a:gd name="T88" fmla="*/ 126 w 1650"/>
                    <a:gd name="T89" fmla="*/ 570 h 1302"/>
                    <a:gd name="T90" fmla="*/ 138 w 1650"/>
                    <a:gd name="T91" fmla="*/ 456 h 1302"/>
                    <a:gd name="T92" fmla="*/ 192 w 1650"/>
                    <a:gd name="T93" fmla="*/ 426 h 1302"/>
                    <a:gd name="T94" fmla="*/ 210 w 1650"/>
                    <a:gd name="T95" fmla="*/ 348 h 1302"/>
                    <a:gd name="T96" fmla="*/ 234 w 1650"/>
                    <a:gd name="T97" fmla="*/ 282 h 1302"/>
                    <a:gd name="T98" fmla="*/ 282 w 1650"/>
                    <a:gd name="T99" fmla="*/ 222 h 1302"/>
                    <a:gd name="T100" fmla="*/ 324 w 1650"/>
                    <a:gd name="T101" fmla="*/ 174 h 1302"/>
                    <a:gd name="T102" fmla="*/ 348 w 1650"/>
                    <a:gd name="T103" fmla="*/ 108 h 1302"/>
                    <a:gd name="T104" fmla="*/ 348 w 1650"/>
                    <a:gd name="T105" fmla="*/ 18 h 1302"/>
                    <a:gd name="T106" fmla="*/ 438 w 1650"/>
                    <a:gd name="T107" fmla="*/ 30 h 1302"/>
                    <a:gd name="T108" fmla="*/ 498 w 1650"/>
                    <a:gd name="T109" fmla="*/ 0 h 1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650" h="1302">
                      <a:moveTo>
                        <a:pt x="498" y="0"/>
                      </a:moveTo>
                      <a:lnTo>
                        <a:pt x="570" y="18"/>
                      </a:lnTo>
                      <a:lnTo>
                        <a:pt x="618" y="0"/>
                      </a:lnTo>
                      <a:lnTo>
                        <a:pt x="678" y="42"/>
                      </a:lnTo>
                      <a:lnTo>
                        <a:pt x="720" y="96"/>
                      </a:lnTo>
                      <a:lnTo>
                        <a:pt x="792" y="108"/>
                      </a:lnTo>
                      <a:lnTo>
                        <a:pt x="852" y="162"/>
                      </a:lnTo>
                      <a:lnTo>
                        <a:pt x="900" y="204"/>
                      </a:lnTo>
                      <a:lnTo>
                        <a:pt x="948" y="222"/>
                      </a:lnTo>
                      <a:lnTo>
                        <a:pt x="990" y="252"/>
                      </a:lnTo>
                      <a:lnTo>
                        <a:pt x="990" y="252"/>
                      </a:lnTo>
                      <a:lnTo>
                        <a:pt x="954" y="306"/>
                      </a:lnTo>
                      <a:lnTo>
                        <a:pt x="954" y="384"/>
                      </a:lnTo>
                      <a:lnTo>
                        <a:pt x="990" y="426"/>
                      </a:lnTo>
                      <a:lnTo>
                        <a:pt x="1044" y="426"/>
                      </a:lnTo>
                      <a:lnTo>
                        <a:pt x="1080" y="438"/>
                      </a:lnTo>
                      <a:lnTo>
                        <a:pt x="1080" y="444"/>
                      </a:lnTo>
                      <a:lnTo>
                        <a:pt x="1134" y="528"/>
                      </a:lnTo>
                      <a:lnTo>
                        <a:pt x="1200" y="612"/>
                      </a:lnTo>
                      <a:lnTo>
                        <a:pt x="1314" y="654"/>
                      </a:lnTo>
                      <a:lnTo>
                        <a:pt x="1458" y="720"/>
                      </a:lnTo>
                      <a:lnTo>
                        <a:pt x="1512" y="744"/>
                      </a:lnTo>
                      <a:lnTo>
                        <a:pt x="1650" y="744"/>
                      </a:lnTo>
                      <a:lnTo>
                        <a:pt x="1554" y="846"/>
                      </a:lnTo>
                      <a:lnTo>
                        <a:pt x="1308" y="1116"/>
                      </a:lnTo>
                      <a:lnTo>
                        <a:pt x="1158" y="1146"/>
                      </a:lnTo>
                      <a:lnTo>
                        <a:pt x="1116" y="1212"/>
                      </a:lnTo>
                      <a:lnTo>
                        <a:pt x="1020" y="1242"/>
                      </a:lnTo>
                      <a:lnTo>
                        <a:pt x="918" y="1236"/>
                      </a:lnTo>
                      <a:lnTo>
                        <a:pt x="822" y="1242"/>
                      </a:lnTo>
                      <a:lnTo>
                        <a:pt x="744" y="1278"/>
                      </a:lnTo>
                      <a:lnTo>
                        <a:pt x="654" y="1302"/>
                      </a:lnTo>
                      <a:lnTo>
                        <a:pt x="576" y="1266"/>
                      </a:lnTo>
                      <a:lnTo>
                        <a:pt x="414" y="1140"/>
                      </a:lnTo>
                      <a:lnTo>
                        <a:pt x="306" y="1128"/>
                      </a:lnTo>
                      <a:lnTo>
                        <a:pt x="276" y="1056"/>
                      </a:lnTo>
                      <a:lnTo>
                        <a:pt x="216" y="1008"/>
                      </a:lnTo>
                      <a:lnTo>
                        <a:pt x="180" y="906"/>
                      </a:lnTo>
                      <a:lnTo>
                        <a:pt x="126" y="852"/>
                      </a:lnTo>
                      <a:lnTo>
                        <a:pt x="84" y="816"/>
                      </a:lnTo>
                      <a:lnTo>
                        <a:pt x="18" y="798"/>
                      </a:lnTo>
                      <a:lnTo>
                        <a:pt x="0" y="738"/>
                      </a:lnTo>
                      <a:lnTo>
                        <a:pt x="84" y="708"/>
                      </a:lnTo>
                      <a:lnTo>
                        <a:pt x="120" y="660"/>
                      </a:lnTo>
                      <a:lnTo>
                        <a:pt x="126" y="570"/>
                      </a:lnTo>
                      <a:lnTo>
                        <a:pt x="138" y="456"/>
                      </a:lnTo>
                      <a:lnTo>
                        <a:pt x="192" y="426"/>
                      </a:lnTo>
                      <a:lnTo>
                        <a:pt x="210" y="348"/>
                      </a:lnTo>
                      <a:lnTo>
                        <a:pt x="234" y="282"/>
                      </a:lnTo>
                      <a:lnTo>
                        <a:pt x="282" y="222"/>
                      </a:lnTo>
                      <a:lnTo>
                        <a:pt x="324" y="174"/>
                      </a:lnTo>
                      <a:lnTo>
                        <a:pt x="348" y="108"/>
                      </a:lnTo>
                      <a:lnTo>
                        <a:pt x="348" y="18"/>
                      </a:lnTo>
                      <a:lnTo>
                        <a:pt x="438" y="30"/>
                      </a:lnTo>
                      <a:lnTo>
                        <a:pt x="49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0" name="Freeform 218">
                  <a:extLst>
                    <a:ext uri="{FF2B5EF4-FFF2-40B4-BE49-F238E27FC236}">
                      <a16:creationId xmlns:a16="http://schemas.microsoft.com/office/drawing/2014/main" id="{52AFD3C3-9628-4A35-945B-7B777266A7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33" y="3036"/>
                  <a:ext cx="654" cy="660"/>
                </a:xfrm>
                <a:custGeom>
                  <a:avLst/>
                  <a:gdLst>
                    <a:gd name="T0" fmla="*/ 150 w 654"/>
                    <a:gd name="T1" fmla="*/ 30 h 660"/>
                    <a:gd name="T2" fmla="*/ 150 w 654"/>
                    <a:gd name="T3" fmla="*/ 30 h 660"/>
                    <a:gd name="T4" fmla="*/ 144 w 654"/>
                    <a:gd name="T5" fmla="*/ 30 h 660"/>
                    <a:gd name="T6" fmla="*/ 150 w 654"/>
                    <a:gd name="T7" fmla="*/ 30 h 660"/>
                    <a:gd name="T8" fmla="*/ 522 w 654"/>
                    <a:gd name="T9" fmla="*/ 0 h 660"/>
                    <a:gd name="T10" fmla="*/ 516 w 654"/>
                    <a:gd name="T11" fmla="*/ 6 h 660"/>
                    <a:gd name="T12" fmla="*/ 618 w 654"/>
                    <a:gd name="T13" fmla="*/ 96 h 660"/>
                    <a:gd name="T14" fmla="*/ 654 w 654"/>
                    <a:gd name="T15" fmla="*/ 174 h 660"/>
                    <a:gd name="T16" fmla="*/ 654 w 654"/>
                    <a:gd name="T17" fmla="*/ 282 h 660"/>
                    <a:gd name="T18" fmla="*/ 600 w 654"/>
                    <a:gd name="T19" fmla="*/ 384 h 660"/>
                    <a:gd name="T20" fmla="*/ 546 w 654"/>
                    <a:gd name="T21" fmla="*/ 450 h 660"/>
                    <a:gd name="T22" fmla="*/ 474 w 654"/>
                    <a:gd name="T23" fmla="*/ 558 h 660"/>
                    <a:gd name="T24" fmla="*/ 372 w 654"/>
                    <a:gd name="T25" fmla="*/ 612 h 660"/>
                    <a:gd name="T26" fmla="*/ 312 w 654"/>
                    <a:gd name="T27" fmla="*/ 600 h 660"/>
                    <a:gd name="T28" fmla="*/ 234 w 654"/>
                    <a:gd name="T29" fmla="*/ 618 h 660"/>
                    <a:gd name="T30" fmla="*/ 180 w 654"/>
                    <a:gd name="T31" fmla="*/ 630 h 660"/>
                    <a:gd name="T32" fmla="*/ 138 w 654"/>
                    <a:gd name="T33" fmla="*/ 600 h 660"/>
                    <a:gd name="T34" fmla="*/ 78 w 654"/>
                    <a:gd name="T35" fmla="*/ 606 h 660"/>
                    <a:gd name="T36" fmla="*/ 42 w 654"/>
                    <a:gd name="T37" fmla="*/ 660 h 660"/>
                    <a:gd name="T38" fmla="*/ 0 w 654"/>
                    <a:gd name="T39" fmla="*/ 636 h 660"/>
                    <a:gd name="T40" fmla="*/ 30 w 654"/>
                    <a:gd name="T41" fmla="*/ 582 h 660"/>
                    <a:gd name="T42" fmla="*/ 30 w 654"/>
                    <a:gd name="T43" fmla="*/ 504 h 660"/>
                    <a:gd name="T44" fmla="*/ 60 w 654"/>
                    <a:gd name="T45" fmla="*/ 420 h 660"/>
                    <a:gd name="T46" fmla="*/ 96 w 654"/>
                    <a:gd name="T47" fmla="*/ 366 h 660"/>
                    <a:gd name="T48" fmla="*/ 198 w 654"/>
                    <a:gd name="T49" fmla="*/ 240 h 660"/>
                    <a:gd name="T50" fmla="*/ 216 w 654"/>
                    <a:gd name="T51" fmla="*/ 186 h 660"/>
                    <a:gd name="T52" fmla="*/ 186 w 654"/>
                    <a:gd name="T53" fmla="*/ 120 h 660"/>
                    <a:gd name="T54" fmla="*/ 150 w 654"/>
                    <a:gd name="T55" fmla="*/ 30 h 660"/>
                    <a:gd name="T56" fmla="*/ 216 w 654"/>
                    <a:gd name="T57" fmla="*/ 48 h 660"/>
                    <a:gd name="T58" fmla="*/ 294 w 654"/>
                    <a:gd name="T59" fmla="*/ 30 h 660"/>
                    <a:gd name="T60" fmla="*/ 360 w 654"/>
                    <a:gd name="T61" fmla="*/ 36 h 660"/>
                    <a:gd name="T62" fmla="*/ 450 w 654"/>
                    <a:gd name="T63" fmla="*/ 36 h 660"/>
                    <a:gd name="T64" fmla="*/ 522 w 654"/>
                    <a:gd name="T65" fmla="*/ 0 h 6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54" h="660">
                      <a:moveTo>
                        <a:pt x="150" y="30"/>
                      </a:moveTo>
                      <a:lnTo>
                        <a:pt x="150" y="30"/>
                      </a:lnTo>
                      <a:lnTo>
                        <a:pt x="144" y="30"/>
                      </a:lnTo>
                      <a:lnTo>
                        <a:pt x="150" y="30"/>
                      </a:lnTo>
                      <a:close/>
                      <a:moveTo>
                        <a:pt x="522" y="0"/>
                      </a:moveTo>
                      <a:lnTo>
                        <a:pt x="516" y="6"/>
                      </a:lnTo>
                      <a:lnTo>
                        <a:pt x="618" y="96"/>
                      </a:lnTo>
                      <a:lnTo>
                        <a:pt x="654" y="174"/>
                      </a:lnTo>
                      <a:lnTo>
                        <a:pt x="654" y="282"/>
                      </a:lnTo>
                      <a:lnTo>
                        <a:pt x="600" y="384"/>
                      </a:lnTo>
                      <a:lnTo>
                        <a:pt x="546" y="450"/>
                      </a:lnTo>
                      <a:lnTo>
                        <a:pt x="474" y="558"/>
                      </a:lnTo>
                      <a:lnTo>
                        <a:pt x="372" y="612"/>
                      </a:lnTo>
                      <a:lnTo>
                        <a:pt x="312" y="600"/>
                      </a:lnTo>
                      <a:lnTo>
                        <a:pt x="234" y="618"/>
                      </a:lnTo>
                      <a:lnTo>
                        <a:pt x="180" y="630"/>
                      </a:lnTo>
                      <a:lnTo>
                        <a:pt x="138" y="600"/>
                      </a:lnTo>
                      <a:lnTo>
                        <a:pt x="78" y="606"/>
                      </a:lnTo>
                      <a:lnTo>
                        <a:pt x="42" y="660"/>
                      </a:lnTo>
                      <a:lnTo>
                        <a:pt x="0" y="636"/>
                      </a:lnTo>
                      <a:lnTo>
                        <a:pt x="30" y="582"/>
                      </a:lnTo>
                      <a:lnTo>
                        <a:pt x="30" y="504"/>
                      </a:lnTo>
                      <a:lnTo>
                        <a:pt x="60" y="420"/>
                      </a:lnTo>
                      <a:lnTo>
                        <a:pt x="96" y="366"/>
                      </a:lnTo>
                      <a:lnTo>
                        <a:pt x="198" y="240"/>
                      </a:lnTo>
                      <a:lnTo>
                        <a:pt x="216" y="186"/>
                      </a:lnTo>
                      <a:lnTo>
                        <a:pt x="186" y="120"/>
                      </a:lnTo>
                      <a:lnTo>
                        <a:pt x="150" y="30"/>
                      </a:lnTo>
                      <a:lnTo>
                        <a:pt x="216" y="48"/>
                      </a:lnTo>
                      <a:lnTo>
                        <a:pt x="294" y="30"/>
                      </a:lnTo>
                      <a:lnTo>
                        <a:pt x="360" y="36"/>
                      </a:lnTo>
                      <a:lnTo>
                        <a:pt x="450" y="36"/>
                      </a:lnTo>
                      <a:lnTo>
                        <a:pt x="52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1" name="Freeform 219">
                  <a:extLst>
                    <a:ext uri="{FF2B5EF4-FFF2-40B4-BE49-F238E27FC236}">
                      <a16:creationId xmlns:a16="http://schemas.microsoft.com/office/drawing/2014/main" id="{B8DEC5B4-81EE-477D-A7A3-0ED7D39CF7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5" y="2040"/>
                  <a:ext cx="1308" cy="1044"/>
                </a:xfrm>
                <a:custGeom>
                  <a:avLst/>
                  <a:gdLst>
                    <a:gd name="T0" fmla="*/ 960 w 1308"/>
                    <a:gd name="T1" fmla="*/ 0 h 1044"/>
                    <a:gd name="T2" fmla="*/ 978 w 1308"/>
                    <a:gd name="T3" fmla="*/ 126 h 1044"/>
                    <a:gd name="T4" fmla="*/ 1050 w 1308"/>
                    <a:gd name="T5" fmla="*/ 240 h 1044"/>
                    <a:gd name="T6" fmla="*/ 1050 w 1308"/>
                    <a:gd name="T7" fmla="*/ 366 h 1044"/>
                    <a:gd name="T8" fmla="*/ 1128 w 1308"/>
                    <a:gd name="T9" fmla="*/ 354 h 1044"/>
                    <a:gd name="T10" fmla="*/ 1086 w 1308"/>
                    <a:gd name="T11" fmla="*/ 492 h 1044"/>
                    <a:gd name="T12" fmla="*/ 1020 w 1308"/>
                    <a:gd name="T13" fmla="*/ 582 h 1044"/>
                    <a:gd name="T14" fmla="*/ 1128 w 1308"/>
                    <a:gd name="T15" fmla="*/ 636 h 1044"/>
                    <a:gd name="T16" fmla="*/ 1218 w 1308"/>
                    <a:gd name="T17" fmla="*/ 792 h 1044"/>
                    <a:gd name="T18" fmla="*/ 1308 w 1308"/>
                    <a:gd name="T19" fmla="*/ 912 h 1044"/>
                    <a:gd name="T20" fmla="*/ 1194 w 1308"/>
                    <a:gd name="T21" fmla="*/ 924 h 1044"/>
                    <a:gd name="T22" fmla="*/ 1110 w 1308"/>
                    <a:gd name="T23" fmla="*/ 996 h 1044"/>
                    <a:gd name="T24" fmla="*/ 948 w 1308"/>
                    <a:gd name="T25" fmla="*/ 1032 h 1044"/>
                    <a:gd name="T26" fmla="*/ 804 w 1308"/>
                    <a:gd name="T27" fmla="*/ 1044 h 1044"/>
                    <a:gd name="T28" fmla="*/ 738 w 1308"/>
                    <a:gd name="T29" fmla="*/ 1026 h 1044"/>
                    <a:gd name="T30" fmla="*/ 684 w 1308"/>
                    <a:gd name="T31" fmla="*/ 966 h 1044"/>
                    <a:gd name="T32" fmla="*/ 444 w 1308"/>
                    <a:gd name="T33" fmla="*/ 948 h 1044"/>
                    <a:gd name="T34" fmla="*/ 312 w 1308"/>
                    <a:gd name="T35" fmla="*/ 756 h 1044"/>
                    <a:gd name="T36" fmla="*/ 210 w 1308"/>
                    <a:gd name="T37" fmla="*/ 654 h 1044"/>
                    <a:gd name="T38" fmla="*/ 96 w 1308"/>
                    <a:gd name="T39" fmla="*/ 552 h 1044"/>
                    <a:gd name="T40" fmla="*/ 0 w 1308"/>
                    <a:gd name="T41" fmla="*/ 468 h 1044"/>
                    <a:gd name="T42" fmla="*/ 36 w 1308"/>
                    <a:gd name="T43" fmla="*/ 432 h 1044"/>
                    <a:gd name="T44" fmla="*/ 66 w 1308"/>
                    <a:gd name="T45" fmla="*/ 378 h 1044"/>
                    <a:gd name="T46" fmla="*/ 90 w 1308"/>
                    <a:gd name="T47" fmla="*/ 282 h 1044"/>
                    <a:gd name="T48" fmla="*/ 198 w 1308"/>
                    <a:gd name="T49" fmla="*/ 258 h 1044"/>
                    <a:gd name="T50" fmla="*/ 282 w 1308"/>
                    <a:gd name="T51" fmla="*/ 366 h 1044"/>
                    <a:gd name="T52" fmla="*/ 390 w 1308"/>
                    <a:gd name="T53" fmla="*/ 354 h 1044"/>
                    <a:gd name="T54" fmla="*/ 438 w 1308"/>
                    <a:gd name="T55" fmla="*/ 324 h 1044"/>
                    <a:gd name="T56" fmla="*/ 546 w 1308"/>
                    <a:gd name="T57" fmla="*/ 288 h 1044"/>
                    <a:gd name="T58" fmla="*/ 744 w 1308"/>
                    <a:gd name="T59" fmla="*/ 354 h 1044"/>
                    <a:gd name="T60" fmla="*/ 852 w 1308"/>
                    <a:gd name="T61" fmla="*/ 198 h 1044"/>
                    <a:gd name="T62" fmla="*/ 858 w 1308"/>
                    <a:gd name="T63" fmla="*/ 48 h 1044"/>
                    <a:gd name="T64" fmla="*/ 912 w 1308"/>
                    <a:gd name="T65" fmla="*/ 0 h 10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08" h="1044">
                      <a:moveTo>
                        <a:pt x="912" y="0"/>
                      </a:moveTo>
                      <a:lnTo>
                        <a:pt x="960" y="0"/>
                      </a:lnTo>
                      <a:lnTo>
                        <a:pt x="978" y="72"/>
                      </a:lnTo>
                      <a:lnTo>
                        <a:pt x="978" y="126"/>
                      </a:lnTo>
                      <a:lnTo>
                        <a:pt x="1002" y="198"/>
                      </a:lnTo>
                      <a:lnTo>
                        <a:pt x="1050" y="240"/>
                      </a:lnTo>
                      <a:lnTo>
                        <a:pt x="1062" y="288"/>
                      </a:lnTo>
                      <a:lnTo>
                        <a:pt x="1050" y="366"/>
                      </a:lnTo>
                      <a:lnTo>
                        <a:pt x="1122" y="360"/>
                      </a:lnTo>
                      <a:lnTo>
                        <a:pt x="1128" y="354"/>
                      </a:lnTo>
                      <a:lnTo>
                        <a:pt x="1122" y="444"/>
                      </a:lnTo>
                      <a:lnTo>
                        <a:pt x="1086" y="492"/>
                      </a:lnTo>
                      <a:lnTo>
                        <a:pt x="1002" y="522"/>
                      </a:lnTo>
                      <a:lnTo>
                        <a:pt x="1020" y="582"/>
                      </a:lnTo>
                      <a:lnTo>
                        <a:pt x="1086" y="600"/>
                      </a:lnTo>
                      <a:lnTo>
                        <a:pt x="1128" y="636"/>
                      </a:lnTo>
                      <a:lnTo>
                        <a:pt x="1182" y="690"/>
                      </a:lnTo>
                      <a:lnTo>
                        <a:pt x="1218" y="792"/>
                      </a:lnTo>
                      <a:lnTo>
                        <a:pt x="1278" y="840"/>
                      </a:lnTo>
                      <a:lnTo>
                        <a:pt x="1308" y="912"/>
                      </a:lnTo>
                      <a:lnTo>
                        <a:pt x="1272" y="924"/>
                      </a:lnTo>
                      <a:lnTo>
                        <a:pt x="1194" y="924"/>
                      </a:lnTo>
                      <a:lnTo>
                        <a:pt x="1128" y="942"/>
                      </a:lnTo>
                      <a:lnTo>
                        <a:pt x="1110" y="996"/>
                      </a:lnTo>
                      <a:lnTo>
                        <a:pt x="1038" y="1032"/>
                      </a:lnTo>
                      <a:lnTo>
                        <a:pt x="948" y="1032"/>
                      </a:lnTo>
                      <a:lnTo>
                        <a:pt x="882" y="1026"/>
                      </a:lnTo>
                      <a:lnTo>
                        <a:pt x="804" y="1044"/>
                      </a:lnTo>
                      <a:lnTo>
                        <a:pt x="732" y="1026"/>
                      </a:lnTo>
                      <a:lnTo>
                        <a:pt x="738" y="1026"/>
                      </a:lnTo>
                      <a:lnTo>
                        <a:pt x="720" y="990"/>
                      </a:lnTo>
                      <a:lnTo>
                        <a:pt x="684" y="966"/>
                      </a:lnTo>
                      <a:lnTo>
                        <a:pt x="570" y="960"/>
                      </a:lnTo>
                      <a:lnTo>
                        <a:pt x="444" y="948"/>
                      </a:lnTo>
                      <a:lnTo>
                        <a:pt x="372" y="876"/>
                      </a:lnTo>
                      <a:lnTo>
                        <a:pt x="312" y="756"/>
                      </a:lnTo>
                      <a:lnTo>
                        <a:pt x="258" y="726"/>
                      </a:lnTo>
                      <a:lnTo>
                        <a:pt x="210" y="654"/>
                      </a:lnTo>
                      <a:lnTo>
                        <a:pt x="162" y="606"/>
                      </a:lnTo>
                      <a:lnTo>
                        <a:pt x="96" y="552"/>
                      </a:lnTo>
                      <a:lnTo>
                        <a:pt x="36" y="516"/>
                      </a:lnTo>
                      <a:lnTo>
                        <a:pt x="0" y="468"/>
                      </a:lnTo>
                      <a:lnTo>
                        <a:pt x="0" y="468"/>
                      </a:lnTo>
                      <a:lnTo>
                        <a:pt x="36" y="432"/>
                      </a:lnTo>
                      <a:lnTo>
                        <a:pt x="54" y="414"/>
                      </a:lnTo>
                      <a:lnTo>
                        <a:pt x="66" y="378"/>
                      </a:lnTo>
                      <a:lnTo>
                        <a:pt x="72" y="330"/>
                      </a:lnTo>
                      <a:lnTo>
                        <a:pt x="90" y="282"/>
                      </a:lnTo>
                      <a:lnTo>
                        <a:pt x="90" y="258"/>
                      </a:lnTo>
                      <a:lnTo>
                        <a:pt x="198" y="258"/>
                      </a:lnTo>
                      <a:lnTo>
                        <a:pt x="246" y="342"/>
                      </a:lnTo>
                      <a:lnTo>
                        <a:pt x="282" y="366"/>
                      </a:lnTo>
                      <a:lnTo>
                        <a:pt x="360" y="366"/>
                      </a:lnTo>
                      <a:lnTo>
                        <a:pt x="390" y="354"/>
                      </a:lnTo>
                      <a:lnTo>
                        <a:pt x="402" y="336"/>
                      </a:lnTo>
                      <a:lnTo>
                        <a:pt x="438" y="324"/>
                      </a:lnTo>
                      <a:lnTo>
                        <a:pt x="486" y="360"/>
                      </a:lnTo>
                      <a:lnTo>
                        <a:pt x="546" y="288"/>
                      </a:lnTo>
                      <a:lnTo>
                        <a:pt x="642" y="360"/>
                      </a:lnTo>
                      <a:lnTo>
                        <a:pt x="744" y="354"/>
                      </a:lnTo>
                      <a:lnTo>
                        <a:pt x="798" y="318"/>
                      </a:lnTo>
                      <a:lnTo>
                        <a:pt x="852" y="198"/>
                      </a:lnTo>
                      <a:lnTo>
                        <a:pt x="870" y="114"/>
                      </a:lnTo>
                      <a:lnTo>
                        <a:pt x="858" y="48"/>
                      </a:lnTo>
                      <a:lnTo>
                        <a:pt x="918" y="48"/>
                      </a:lnTo>
                      <a:lnTo>
                        <a:pt x="91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2" name="Freeform 220">
                  <a:extLst>
                    <a:ext uri="{FF2B5EF4-FFF2-40B4-BE49-F238E27FC236}">
                      <a16:creationId xmlns:a16="http://schemas.microsoft.com/office/drawing/2014/main" id="{8BCE5A06-F027-4204-8E48-6E7201EC96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7" y="2112"/>
                  <a:ext cx="1140" cy="1608"/>
                </a:xfrm>
                <a:custGeom>
                  <a:avLst/>
                  <a:gdLst>
                    <a:gd name="T0" fmla="*/ 1128 w 1140"/>
                    <a:gd name="T1" fmla="*/ 6 h 1608"/>
                    <a:gd name="T2" fmla="*/ 1134 w 1140"/>
                    <a:gd name="T3" fmla="*/ 48 h 1608"/>
                    <a:gd name="T4" fmla="*/ 1122 w 1140"/>
                    <a:gd name="T5" fmla="*/ 108 h 1608"/>
                    <a:gd name="T6" fmla="*/ 1122 w 1140"/>
                    <a:gd name="T7" fmla="*/ 138 h 1608"/>
                    <a:gd name="T8" fmla="*/ 1128 w 1140"/>
                    <a:gd name="T9" fmla="*/ 156 h 1608"/>
                    <a:gd name="T10" fmla="*/ 1128 w 1140"/>
                    <a:gd name="T11" fmla="*/ 168 h 1608"/>
                    <a:gd name="T12" fmla="*/ 1110 w 1140"/>
                    <a:gd name="T13" fmla="*/ 180 h 1608"/>
                    <a:gd name="T14" fmla="*/ 1098 w 1140"/>
                    <a:gd name="T15" fmla="*/ 210 h 1608"/>
                    <a:gd name="T16" fmla="*/ 1092 w 1140"/>
                    <a:gd name="T17" fmla="*/ 264 h 1608"/>
                    <a:gd name="T18" fmla="*/ 1056 w 1140"/>
                    <a:gd name="T19" fmla="*/ 366 h 1608"/>
                    <a:gd name="T20" fmla="*/ 1014 w 1140"/>
                    <a:gd name="T21" fmla="*/ 444 h 1608"/>
                    <a:gd name="T22" fmla="*/ 984 w 1140"/>
                    <a:gd name="T23" fmla="*/ 504 h 1608"/>
                    <a:gd name="T24" fmla="*/ 972 w 1140"/>
                    <a:gd name="T25" fmla="*/ 594 h 1608"/>
                    <a:gd name="T26" fmla="*/ 942 w 1140"/>
                    <a:gd name="T27" fmla="*/ 672 h 1608"/>
                    <a:gd name="T28" fmla="*/ 876 w 1140"/>
                    <a:gd name="T29" fmla="*/ 780 h 1608"/>
                    <a:gd name="T30" fmla="*/ 750 w 1140"/>
                    <a:gd name="T31" fmla="*/ 936 h 1608"/>
                    <a:gd name="T32" fmla="*/ 612 w 1140"/>
                    <a:gd name="T33" fmla="*/ 1086 h 1608"/>
                    <a:gd name="T34" fmla="*/ 522 w 1140"/>
                    <a:gd name="T35" fmla="*/ 1176 h 1608"/>
                    <a:gd name="T36" fmla="*/ 402 w 1140"/>
                    <a:gd name="T37" fmla="*/ 1272 h 1608"/>
                    <a:gd name="T38" fmla="*/ 288 w 1140"/>
                    <a:gd name="T39" fmla="*/ 1374 h 1608"/>
                    <a:gd name="T40" fmla="*/ 216 w 1140"/>
                    <a:gd name="T41" fmla="*/ 1434 h 1608"/>
                    <a:gd name="T42" fmla="*/ 180 w 1140"/>
                    <a:gd name="T43" fmla="*/ 1500 h 1608"/>
                    <a:gd name="T44" fmla="*/ 132 w 1140"/>
                    <a:gd name="T45" fmla="*/ 1566 h 1608"/>
                    <a:gd name="T46" fmla="*/ 96 w 1140"/>
                    <a:gd name="T47" fmla="*/ 1608 h 1608"/>
                    <a:gd name="T48" fmla="*/ 12 w 1140"/>
                    <a:gd name="T49" fmla="*/ 1098 h 1608"/>
                    <a:gd name="T50" fmla="*/ 150 w 1140"/>
                    <a:gd name="T51" fmla="*/ 954 h 1608"/>
                    <a:gd name="T52" fmla="*/ 288 w 1140"/>
                    <a:gd name="T53" fmla="*/ 858 h 1608"/>
                    <a:gd name="T54" fmla="*/ 684 w 1140"/>
                    <a:gd name="T55" fmla="*/ 558 h 1608"/>
                    <a:gd name="T56" fmla="*/ 642 w 1140"/>
                    <a:gd name="T57" fmla="*/ 456 h 1608"/>
                    <a:gd name="T58" fmla="*/ 444 w 1140"/>
                    <a:gd name="T59" fmla="*/ 366 h 1608"/>
                    <a:gd name="T60" fmla="*/ 264 w 1140"/>
                    <a:gd name="T61" fmla="*/ 240 h 1608"/>
                    <a:gd name="T62" fmla="*/ 210 w 1140"/>
                    <a:gd name="T63" fmla="*/ 150 h 1608"/>
                    <a:gd name="T64" fmla="*/ 276 w 1140"/>
                    <a:gd name="T65" fmla="*/ 132 h 1608"/>
                    <a:gd name="T66" fmla="*/ 378 w 1140"/>
                    <a:gd name="T67" fmla="*/ 204 h 1608"/>
                    <a:gd name="T68" fmla="*/ 438 w 1140"/>
                    <a:gd name="T69" fmla="*/ 210 h 1608"/>
                    <a:gd name="T70" fmla="*/ 486 w 1140"/>
                    <a:gd name="T71" fmla="*/ 174 h 1608"/>
                    <a:gd name="T72" fmla="*/ 570 w 1140"/>
                    <a:gd name="T73" fmla="*/ 144 h 1608"/>
                    <a:gd name="T74" fmla="*/ 642 w 1140"/>
                    <a:gd name="T75" fmla="*/ 138 h 1608"/>
                    <a:gd name="T76" fmla="*/ 666 w 1140"/>
                    <a:gd name="T77" fmla="*/ 132 h 1608"/>
                    <a:gd name="T78" fmla="*/ 678 w 1140"/>
                    <a:gd name="T79" fmla="*/ 126 h 1608"/>
                    <a:gd name="T80" fmla="*/ 696 w 1140"/>
                    <a:gd name="T81" fmla="*/ 114 h 1608"/>
                    <a:gd name="T82" fmla="*/ 744 w 1140"/>
                    <a:gd name="T83" fmla="*/ 78 h 1608"/>
                    <a:gd name="T84" fmla="*/ 822 w 1140"/>
                    <a:gd name="T85" fmla="*/ 78 h 1608"/>
                    <a:gd name="T86" fmla="*/ 912 w 1140"/>
                    <a:gd name="T87" fmla="*/ 60 h 1608"/>
                    <a:gd name="T88" fmla="*/ 1008 w 1140"/>
                    <a:gd name="T89" fmla="*/ 30 h 1608"/>
                    <a:gd name="T90" fmla="*/ 1056 w 1140"/>
                    <a:gd name="T91" fmla="*/ 12 h 1608"/>
                    <a:gd name="T92" fmla="*/ 1104 w 1140"/>
                    <a:gd name="T93" fmla="*/ 0 h 16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140" h="1608">
                      <a:moveTo>
                        <a:pt x="1104" y="0"/>
                      </a:moveTo>
                      <a:lnTo>
                        <a:pt x="1128" y="6"/>
                      </a:lnTo>
                      <a:lnTo>
                        <a:pt x="1140" y="24"/>
                      </a:lnTo>
                      <a:lnTo>
                        <a:pt x="1134" y="48"/>
                      </a:lnTo>
                      <a:lnTo>
                        <a:pt x="1128" y="78"/>
                      </a:lnTo>
                      <a:lnTo>
                        <a:pt x="1122" y="108"/>
                      </a:lnTo>
                      <a:lnTo>
                        <a:pt x="1116" y="126"/>
                      </a:lnTo>
                      <a:lnTo>
                        <a:pt x="1122" y="138"/>
                      </a:lnTo>
                      <a:lnTo>
                        <a:pt x="1122" y="150"/>
                      </a:lnTo>
                      <a:lnTo>
                        <a:pt x="1128" y="156"/>
                      </a:lnTo>
                      <a:lnTo>
                        <a:pt x="1128" y="162"/>
                      </a:lnTo>
                      <a:lnTo>
                        <a:pt x="1128" y="168"/>
                      </a:lnTo>
                      <a:lnTo>
                        <a:pt x="1122" y="174"/>
                      </a:lnTo>
                      <a:lnTo>
                        <a:pt x="1110" y="180"/>
                      </a:lnTo>
                      <a:lnTo>
                        <a:pt x="1104" y="192"/>
                      </a:lnTo>
                      <a:lnTo>
                        <a:pt x="1098" y="210"/>
                      </a:lnTo>
                      <a:lnTo>
                        <a:pt x="1098" y="234"/>
                      </a:lnTo>
                      <a:lnTo>
                        <a:pt x="1092" y="264"/>
                      </a:lnTo>
                      <a:lnTo>
                        <a:pt x="1080" y="312"/>
                      </a:lnTo>
                      <a:lnTo>
                        <a:pt x="1056" y="366"/>
                      </a:lnTo>
                      <a:lnTo>
                        <a:pt x="1032" y="414"/>
                      </a:lnTo>
                      <a:lnTo>
                        <a:pt x="1014" y="444"/>
                      </a:lnTo>
                      <a:lnTo>
                        <a:pt x="990" y="468"/>
                      </a:lnTo>
                      <a:lnTo>
                        <a:pt x="984" y="504"/>
                      </a:lnTo>
                      <a:lnTo>
                        <a:pt x="978" y="552"/>
                      </a:lnTo>
                      <a:lnTo>
                        <a:pt x="972" y="594"/>
                      </a:lnTo>
                      <a:lnTo>
                        <a:pt x="966" y="630"/>
                      </a:lnTo>
                      <a:lnTo>
                        <a:pt x="942" y="672"/>
                      </a:lnTo>
                      <a:lnTo>
                        <a:pt x="912" y="720"/>
                      </a:lnTo>
                      <a:lnTo>
                        <a:pt x="876" y="780"/>
                      </a:lnTo>
                      <a:lnTo>
                        <a:pt x="816" y="858"/>
                      </a:lnTo>
                      <a:lnTo>
                        <a:pt x="750" y="936"/>
                      </a:lnTo>
                      <a:lnTo>
                        <a:pt x="678" y="1020"/>
                      </a:lnTo>
                      <a:lnTo>
                        <a:pt x="612" y="1086"/>
                      </a:lnTo>
                      <a:lnTo>
                        <a:pt x="564" y="1140"/>
                      </a:lnTo>
                      <a:lnTo>
                        <a:pt x="522" y="1176"/>
                      </a:lnTo>
                      <a:lnTo>
                        <a:pt x="468" y="1218"/>
                      </a:lnTo>
                      <a:lnTo>
                        <a:pt x="402" y="1272"/>
                      </a:lnTo>
                      <a:lnTo>
                        <a:pt x="342" y="1326"/>
                      </a:lnTo>
                      <a:lnTo>
                        <a:pt x="288" y="1374"/>
                      </a:lnTo>
                      <a:lnTo>
                        <a:pt x="240" y="1410"/>
                      </a:lnTo>
                      <a:lnTo>
                        <a:pt x="216" y="1434"/>
                      </a:lnTo>
                      <a:lnTo>
                        <a:pt x="198" y="1470"/>
                      </a:lnTo>
                      <a:lnTo>
                        <a:pt x="180" y="1500"/>
                      </a:lnTo>
                      <a:lnTo>
                        <a:pt x="156" y="1536"/>
                      </a:lnTo>
                      <a:lnTo>
                        <a:pt x="132" y="1566"/>
                      </a:lnTo>
                      <a:lnTo>
                        <a:pt x="114" y="1590"/>
                      </a:lnTo>
                      <a:lnTo>
                        <a:pt x="96" y="1608"/>
                      </a:lnTo>
                      <a:lnTo>
                        <a:pt x="0" y="1482"/>
                      </a:lnTo>
                      <a:lnTo>
                        <a:pt x="12" y="1098"/>
                      </a:lnTo>
                      <a:lnTo>
                        <a:pt x="96" y="1044"/>
                      </a:lnTo>
                      <a:lnTo>
                        <a:pt x="150" y="954"/>
                      </a:lnTo>
                      <a:lnTo>
                        <a:pt x="246" y="924"/>
                      </a:lnTo>
                      <a:lnTo>
                        <a:pt x="288" y="858"/>
                      </a:lnTo>
                      <a:lnTo>
                        <a:pt x="438" y="828"/>
                      </a:lnTo>
                      <a:lnTo>
                        <a:pt x="684" y="558"/>
                      </a:lnTo>
                      <a:lnTo>
                        <a:pt x="780" y="456"/>
                      </a:lnTo>
                      <a:lnTo>
                        <a:pt x="642" y="456"/>
                      </a:lnTo>
                      <a:lnTo>
                        <a:pt x="588" y="432"/>
                      </a:lnTo>
                      <a:lnTo>
                        <a:pt x="444" y="366"/>
                      </a:lnTo>
                      <a:lnTo>
                        <a:pt x="330" y="324"/>
                      </a:lnTo>
                      <a:lnTo>
                        <a:pt x="264" y="240"/>
                      </a:lnTo>
                      <a:lnTo>
                        <a:pt x="210" y="156"/>
                      </a:lnTo>
                      <a:lnTo>
                        <a:pt x="210" y="150"/>
                      </a:lnTo>
                      <a:lnTo>
                        <a:pt x="240" y="96"/>
                      </a:lnTo>
                      <a:lnTo>
                        <a:pt x="276" y="132"/>
                      </a:lnTo>
                      <a:lnTo>
                        <a:pt x="324" y="168"/>
                      </a:lnTo>
                      <a:lnTo>
                        <a:pt x="378" y="204"/>
                      </a:lnTo>
                      <a:lnTo>
                        <a:pt x="414" y="216"/>
                      </a:lnTo>
                      <a:lnTo>
                        <a:pt x="438" y="210"/>
                      </a:lnTo>
                      <a:lnTo>
                        <a:pt x="462" y="192"/>
                      </a:lnTo>
                      <a:lnTo>
                        <a:pt x="486" y="174"/>
                      </a:lnTo>
                      <a:lnTo>
                        <a:pt x="528" y="156"/>
                      </a:lnTo>
                      <a:lnTo>
                        <a:pt x="570" y="144"/>
                      </a:lnTo>
                      <a:lnTo>
                        <a:pt x="624" y="138"/>
                      </a:lnTo>
                      <a:lnTo>
                        <a:pt x="642" y="138"/>
                      </a:lnTo>
                      <a:lnTo>
                        <a:pt x="654" y="132"/>
                      </a:lnTo>
                      <a:lnTo>
                        <a:pt x="666" y="132"/>
                      </a:lnTo>
                      <a:lnTo>
                        <a:pt x="672" y="132"/>
                      </a:lnTo>
                      <a:lnTo>
                        <a:pt x="678" y="126"/>
                      </a:lnTo>
                      <a:lnTo>
                        <a:pt x="684" y="120"/>
                      </a:lnTo>
                      <a:lnTo>
                        <a:pt x="696" y="114"/>
                      </a:lnTo>
                      <a:lnTo>
                        <a:pt x="708" y="96"/>
                      </a:lnTo>
                      <a:lnTo>
                        <a:pt x="744" y="78"/>
                      </a:lnTo>
                      <a:lnTo>
                        <a:pt x="780" y="72"/>
                      </a:lnTo>
                      <a:lnTo>
                        <a:pt x="822" y="78"/>
                      </a:lnTo>
                      <a:lnTo>
                        <a:pt x="864" y="72"/>
                      </a:lnTo>
                      <a:lnTo>
                        <a:pt x="912" y="60"/>
                      </a:lnTo>
                      <a:lnTo>
                        <a:pt x="960" y="42"/>
                      </a:lnTo>
                      <a:lnTo>
                        <a:pt x="1008" y="30"/>
                      </a:lnTo>
                      <a:lnTo>
                        <a:pt x="1038" y="24"/>
                      </a:lnTo>
                      <a:lnTo>
                        <a:pt x="1056" y="12"/>
                      </a:lnTo>
                      <a:lnTo>
                        <a:pt x="1074" y="0"/>
                      </a:lnTo>
                      <a:lnTo>
                        <a:pt x="110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3" name="Freeform 221">
                  <a:extLst>
                    <a:ext uri="{FF2B5EF4-FFF2-40B4-BE49-F238E27FC236}">
                      <a16:creationId xmlns:a16="http://schemas.microsoft.com/office/drawing/2014/main" id="{AE0924D5-2FC3-4545-9B06-1D78582C17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7" y="2952"/>
                  <a:ext cx="960" cy="1080"/>
                </a:xfrm>
                <a:custGeom>
                  <a:avLst/>
                  <a:gdLst>
                    <a:gd name="T0" fmla="*/ 246 w 960"/>
                    <a:gd name="T1" fmla="*/ 0 h 1080"/>
                    <a:gd name="T2" fmla="*/ 354 w 960"/>
                    <a:gd name="T3" fmla="*/ 12 h 1080"/>
                    <a:gd name="T4" fmla="*/ 516 w 960"/>
                    <a:gd name="T5" fmla="*/ 138 h 1080"/>
                    <a:gd name="T6" fmla="*/ 594 w 960"/>
                    <a:gd name="T7" fmla="*/ 174 h 1080"/>
                    <a:gd name="T8" fmla="*/ 684 w 960"/>
                    <a:gd name="T9" fmla="*/ 150 h 1080"/>
                    <a:gd name="T10" fmla="*/ 762 w 960"/>
                    <a:gd name="T11" fmla="*/ 114 h 1080"/>
                    <a:gd name="T12" fmla="*/ 858 w 960"/>
                    <a:gd name="T13" fmla="*/ 108 h 1080"/>
                    <a:gd name="T14" fmla="*/ 960 w 960"/>
                    <a:gd name="T15" fmla="*/ 114 h 1080"/>
                    <a:gd name="T16" fmla="*/ 906 w 960"/>
                    <a:gd name="T17" fmla="*/ 204 h 1080"/>
                    <a:gd name="T18" fmla="*/ 822 w 960"/>
                    <a:gd name="T19" fmla="*/ 258 h 1080"/>
                    <a:gd name="T20" fmla="*/ 810 w 960"/>
                    <a:gd name="T21" fmla="*/ 642 h 1080"/>
                    <a:gd name="T22" fmla="*/ 906 w 960"/>
                    <a:gd name="T23" fmla="*/ 768 h 1080"/>
                    <a:gd name="T24" fmla="*/ 894 w 960"/>
                    <a:gd name="T25" fmla="*/ 774 h 1080"/>
                    <a:gd name="T26" fmla="*/ 876 w 960"/>
                    <a:gd name="T27" fmla="*/ 774 h 1080"/>
                    <a:gd name="T28" fmla="*/ 858 w 960"/>
                    <a:gd name="T29" fmla="*/ 780 h 1080"/>
                    <a:gd name="T30" fmla="*/ 846 w 960"/>
                    <a:gd name="T31" fmla="*/ 780 h 1080"/>
                    <a:gd name="T32" fmla="*/ 834 w 960"/>
                    <a:gd name="T33" fmla="*/ 792 h 1080"/>
                    <a:gd name="T34" fmla="*/ 828 w 960"/>
                    <a:gd name="T35" fmla="*/ 804 h 1080"/>
                    <a:gd name="T36" fmla="*/ 822 w 960"/>
                    <a:gd name="T37" fmla="*/ 828 h 1080"/>
                    <a:gd name="T38" fmla="*/ 810 w 960"/>
                    <a:gd name="T39" fmla="*/ 840 h 1080"/>
                    <a:gd name="T40" fmla="*/ 804 w 960"/>
                    <a:gd name="T41" fmla="*/ 852 h 1080"/>
                    <a:gd name="T42" fmla="*/ 798 w 960"/>
                    <a:gd name="T43" fmla="*/ 858 h 1080"/>
                    <a:gd name="T44" fmla="*/ 786 w 960"/>
                    <a:gd name="T45" fmla="*/ 864 h 1080"/>
                    <a:gd name="T46" fmla="*/ 780 w 960"/>
                    <a:gd name="T47" fmla="*/ 870 h 1080"/>
                    <a:gd name="T48" fmla="*/ 774 w 960"/>
                    <a:gd name="T49" fmla="*/ 876 h 1080"/>
                    <a:gd name="T50" fmla="*/ 774 w 960"/>
                    <a:gd name="T51" fmla="*/ 888 h 1080"/>
                    <a:gd name="T52" fmla="*/ 774 w 960"/>
                    <a:gd name="T53" fmla="*/ 906 h 1080"/>
                    <a:gd name="T54" fmla="*/ 774 w 960"/>
                    <a:gd name="T55" fmla="*/ 918 h 1080"/>
                    <a:gd name="T56" fmla="*/ 768 w 960"/>
                    <a:gd name="T57" fmla="*/ 924 h 1080"/>
                    <a:gd name="T58" fmla="*/ 762 w 960"/>
                    <a:gd name="T59" fmla="*/ 924 h 1080"/>
                    <a:gd name="T60" fmla="*/ 750 w 960"/>
                    <a:gd name="T61" fmla="*/ 924 h 1080"/>
                    <a:gd name="T62" fmla="*/ 732 w 960"/>
                    <a:gd name="T63" fmla="*/ 930 h 1080"/>
                    <a:gd name="T64" fmla="*/ 726 w 960"/>
                    <a:gd name="T65" fmla="*/ 954 h 1080"/>
                    <a:gd name="T66" fmla="*/ 726 w 960"/>
                    <a:gd name="T67" fmla="*/ 990 h 1080"/>
                    <a:gd name="T68" fmla="*/ 720 w 960"/>
                    <a:gd name="T69" fmla="*/ 1026 h 1080"/>
                    <a:gd name="T70" fmla="*/ 714 w 960"/>
                    <a:gd name="T71" fmla="*/ 1044 h 1080"/>
                    <a:gd name="T72" fmla="*/ 708 w 960"/>
                    <a:gd name="T73" fmla="*/ 1056 h 1080"/>
                    <a:gd name="T74" fmla="*/ 696 w 960"/>
                    <a:gd name="T75" fmla="*/ 1068 h 1080"/>
                    <a:gd name="T76" fmla="*/ 684 w 960"/>
                    <a:gd name="T77" fmla="*/ 1080 h 1080"/>
                    <a:gd name="T78" fmla="*/ 594 w 960"/>
                    <a:gd name="T79" fmla="*/ 1050 h 1080"/>
                    <a:gd name="T80" fmla="*/ 504 w 960"/>
                    <a:gd name="T81" fmla="*/ 996 h 1080"/>
                    <a:gd name="T82" fmla="*/ 498 w 960"/>
                    <a:gd name="T83" fmla="*/ 924 h 1080"/>
                    <a:gd name="T84" fmla="*/ 312 w 960"/>
                    <a:gd name="T85" fmla="*/ 822 h 1080"/>
                    <a:gd name="T86" fmla="*/ 78 w 960"/>
                    <a:gd name="T87" fmla="*/ 684 h 1080"/>
                    <a:gd name="T88" fmla="*/ 0 w 960"/>
                    <a:gd name="T89" fmla="*/ 642 h 1080"/>
                    <a:gd name="T90" fmla="*/ 72 w 960"/>
                    <a:gd name="T91" fmla="*/ 534 h 1080"/>
                    <a:gd name="T92" fmla="*/ 126 w 960"/>
                    <a:gd name="T93" fmla="*/ 468 h 1080"/>
                    <a:gd name="T94" fmla="*/ 180 w 960"/>
                    <a:gd name="T95" fmla="*/ 366 h 1080"/>
                    <a:gd name="T96" fmla="*/ 180 w 960"/>
                    <a:gd name="T97" fmla="*/ 258 h 1080"/>
                    <a:gd name="T98" fmla="*/ 144 w 960"/>
                    <a:gd name="T99" fmla="*/ 180 h 1080"/>
                    <a:gd name="T100" fmla="*/ 42 w 960"/>
                    <a:gd name="T101" fmla="*/ 90 h 1080"/>
                    <a:gd name="T102" fmla="*/ 48 w 960"/>
                    <a:gd name="T103" fmla="*/ 84 h 1080"/>
                    <a:gd name="T104" fmla="*/ 66 w 960"/>
                    <a:gd name="T105" fmla="*/ 30 h 1080"/>
                    <a:gd name="T106" fmla="*/ 132 w 960"/>
                    <a:gd name="T107" fmla="*/ 12 h 1080"/>
                    <a:gd name="T108" fmla="*/ 210 w 960"/>
                    <a:gd name="T109" fmla="*/ 12 h 1080"/>
                    <a:gd name="T110" fmla="*/ 246 w 960"/>
                    <a:gd name="T111" fmla="*/ 0 h 10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960" h="1080">
                      <a:moveTo>
                        <a:pt x="246" y="0"/>
                      </a:moveTo>
                      <a:lnTo>
                        <a:pt x="354" y="12"/>
                      </a:lnTo>
                      <a:lnTo>
                        <a:pt x="516" y="138"/>
                      </a:lnTo>
                      <a:lnTo>
                        <a:pt x="594" y="174"/>
                      </a:lnTo>
                      <a:lnTo>
                        <a:pt x="684" y="150"/>
                      </a:lnTo>
                      <a:lnTo>
                        <a:pt x="762" y="114"/>
                      </a:lnTo>
                      <a:lnTo>
                        <a:pt x="858" y="108"/>
                      </a:lnTo>
                      <a:lnTo>
                        <a:pt x="960" y="114"/>
                      </a:lnTo>
                      <a:lnTo>
                        <a:pt x="906" y="204"/>
                      </a:lnTo>
                      <a:lnTo>
                        <a:pt x="822" y="258"/>
                      </a:lnTo>
                      <a:lnTo>
                        <a:pt x="810" y="642"/>
                      </a:lnTo>
                      <a:lnTo>
                        <a:pt x="906" y="768"/>
                      </a:lnTo>
                      <a:lnTo>
                        <a:pt x="894" y="774"/>
                      </a:lnTo>
                      <a:lnTo>
                        <a:pt x="876" y="774"/>
                      </a:lnTo>
                      <a:lnTo>
                        <a:pt x="858" y="780"/>
                      </a:lnTo>
                      <a:lnTo>
                        <a:pt x="846" y="780"/>
                      </a:lnTo>
                      <a:lnTo>
                        <a:pt x="834" y="792"/>
                      </a:lnTo>
                      <a:lnTo>
                        <a:pt x="828" y="804"/>
                      </a:lnTo>
                      <a:lnTo>
                        <a:pt x="822" y="828"/>
                      </a:lnTo>
                      <a:lnTo>
                        <a:pt x="810" y="840"/>
                      </a:lnTo>
                      <a:lnTo>
                        <a:pt x="804" y="852"/>
                      </a:lnTo>
                      <a:lnTo>
                        <a:pt x="798" y="858"/>
                      </a:lnTo>
                      <a:lnTo>
                        <a:pt x="786" y="864"/>
                      </a:lnTo>
                      <a:lnTo>
                        <a:pt x="780" y="870"/>
                      </a:lnTo>
                      <a:lnTo>
                        <a:pt x="774" y="876"/>
                      </a:lnTo>
                      <a:lnTo>
                        <a:pt x="774" y="888"/>
                      </a:lnTo>
                      <a:lnTo>
                        <a:pt x="774" y="906"/>
                      </a:lnTo>
                      <a:lnTo>
                        <a:pt x="774" y="918"/>
                      </a:lnTo>
                      <a:lnTo>
                        <a:pt x="768" y="924"/>
                      </a:lnTo>
                      <a:lnTo>
                        <a:pt x="762" y="924"/>
                      </a:lnTo>
                      <a:lnTo>
                        <a:pt x="750" y="924"/>
                      </a:lnTo>
                      <a:lnTo>
                        <a:pt x="732" y="930"/>
                      </a:lnTo>
                      <a:lnTo>
                        <a:pt x="726" y="954"/>
                      </a:lnTo>
                      <a:lnTo>
                        <a:pt x="726" y="990"/>
                      </a:lnTo>
                      <a:lnTo>
                        <a:pt x="720" y="1026"/>
                      </a:lnTo>
                      <a:lnTo>
                        <a:pt x="714" y="1044"/>
                      </a:lnTo>
                      <a:lnTo>
                        <a:pt x="708" y="1056"/>
                      </a:lnTo>
                      <a:lnTo>
                        <a:pt x="696" y="1068"/>
                      </a:lnTo>
                      <a:lnTo>
                        <a:pt x="684" y="1080"/>
                      </a:lnTo>
                      <a:lnTo>
                        <a:pt x="594" y="1050"/>
                      </a:lnTo>
                      <a:lnTo>
                        <a:pt x="504" y="996"/>
                      </a:lnTo>
                      <a:lnTo>
                        <a:pt x="498" y="924"/>
                      </a:lnTo>
                      <a:lnTo>
                        <a:pt x="312" y="822"/>
                      </a:lnTo>
                      <a:lnTo>
                        <a:pt x="78" y="684"/>
                      </a:lnTo>
                      <a:lnTo>
                        <a:pt x="0" y="642"/>
                      </a:lnTo>
                      <a:lnTo>
                        <a:pt x="72" y="534"/>
                      </a:lnTo>
                      <a:lnTo>
                        <a:pt x="126" y="468"/>
                      </a:lnTo>
                      <a:lnTo>
                        <a:pt x="180" y="366"/>
                      </a:lnTo>
                      <a:lnTo>
                        <a:pt x="180" y="258"/>
                      </a:lnTo>
                      <a:lnTo>
                        <a:pt x="144" y="180"/>
                      </a:lnTo>
                      <a:lnTo>
                        <a:pt x="42" y="90"/>
                      </a:lnTo>
                      <a:lnTo>
                        <a:pt x="48" y="84"/>
                      </a:lnTo>
                      <a:lnTo>
                        <a:pt x="66" y="30"/>
                      </a:lnTo>
                      <a:lnTo>
                        <a:pt x="132" y="12"/>
                      </a:lnTo>
                      <a:lnTo>
                        <a:pt x="210" y="12"/>
                      </a:lnTo>
                      <a:lnTo>
                        <a:pt x="24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4" name="Freeform 222">
                  <a:extLst>
                    <a:ext uri="{FF2B5EF4-FFF2-40B4-BE49-F238E27FC236}">
                      <a16:creationId xmlns:a16="http://schemas.microsoft.com/office/drawing/2014/main" id="{D8756409-4B06-475F-9A16-34D8CA810E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41" y="4080"/>
                  <a:ext cx="96" cy="96"/>
                </a:xfrm>
                <a:custGeom>
                  <a:avLst/>
                  <a:gdLst>
                    <a:gd name="T0" fmla="*/ 0 w 96"/>
                    <a:gd name="T1" fmla="*/ 12 h 96"/>
                    <a:gd name="T2" fmla="*/ 0 w 96"/>
                    <a:gd name="T3" fmla="*/ 12 h 96"/>
                    <a:gd name="T4" fmla="*/ 0 w 96"/>
                    <a:gd name="T5" fmla="*/ 12 h 96"/>
                    <a:gd name="T6" fmla="*/ 0 w 96"/>
                    <a:gd name="T7" fmla="*/ 12 h 96"/>
                    <a:gd name="T8" fmla="*/ 42 w 96"/>
                    <a:gd name="T9" fmla="*/ 0 h 96"/>
                    <a:gd name="T10" fmla="*/ 96 w 96"/>
                    <a:gd name="T11" fmla="*/ 18 h 96"/>
                    <a:gd name="T12" fmla="*/ 84 w 96"/>
                    <a:gd name="T13" fmla="*/ 66 h 96"/>
                    <a:gd name="T14" fmla="*/ 42 w 96"/>
                    <a:gd name="T15" fmla="*/ 96 h 96"/>
                    <a:gd name="T16" fmla="*/ 42 w 96"/>
                    <a:gd name="T17" fmla="*/ 96 h 96"/>
                    <a:gd name="T18" fmla="*/ 24 w 96"/>
                    <a:gd name="T19" fmla="*/ 72 h 96"/>
                    <a:gd name="T20" fmla="*/ 12 w 96"/>
                    <a:gd name="T21" fmla="*/ 48 h 96"/>
                    <a:gd name="T22" fmla="*/ 0 w 96"/>
                    <a:gd name="T23" fmla="*/ 12 h 96"/>
                    <a:gd name="T24" fmla="*/ 42 w 96"/>
                    <a:gd name="T25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6" h="96">
                      <a:moveTo>
                        <a:pt x="0" y="12"/>
                      </a:move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close/>
                      <a:moveTo>
                        <a:pt x="42" y="0"/>
                      </a:moveTo>
                      <a:lnTo>
                        <a:pt x="96" y="18"/>
                      </a:lnTo>
                      <a:lnTo>
                        <a:pt x="84" y="66"/>
                      </a:lnTo>
                      <a:lnTo>
                        <a:pt x="42" y="96"/>
                      </a:lnTo>
                      <a:lnTo>
                        <a:pt x="42" y="96"/>
                      </a:lnTo>
                      <a:lnTo>
                        <a:pt x="24" y="72"/>
                      </a:lnTo>
                      <a:lnTo>
                        <a:pt x="12" y="48"/>
                      </a:lnTo>
                      <a:lnTo>
                        <a:pt x="0" y="12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rgbClr val="BFEAF9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5" name="Freeform 223">
                  <a:extLst>
                    <a:ext uri="{FF2B5EF4-FFF2-40B4-BE49-F238E27FC236}">
                      <a16:creationId xmlns:a16="http://schemas.microsoft.com/office/drawing/2014/main" id="{15BAD83D-274D-4985-919B-608FA5CBEF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83" y="2916"/>
                  <a:ext cx="2166" cy="2142"/>
                </a:xfrm>
                <a:custGeom>
                  <a:avLst/>
                  <a:gdLst>
                    <a:gd name="T0" fmla="*/ 0 w 2166"/>
                    <a:gd name="T1" fmla="*/ 1260 h 2142"/>
                    <a:gd name="T2" fmla="*/ 1806 w 2166"/>
                    <a:gd name="T3" fmla="*/ 72 h 2142"/>
                    <a:gd name="T4" fmla="*/ 2082 w 2166"/>
                    <a:gd name="T5" fmla="*/ 114 h 2142"/>
                    <a:gd name="T6" fmla="*/ 2166 w 2166"/>
                    <a:gd name="T7" fmla="*/ 306 h 2142"/>
                    <a:gd name="T8" fmla="*/ 2010 w 2166"/>
                    <a:gd name="T9" fmla="*/ 540 h 2142"/>
                    <a:gd name="T10" fmla="*/ 1950 w 2166"/>
                    <a:gd name="T11" fmla="*/ 756 h 2142"/>
                    <a:gd name="T12" fmla="*/ 1926 w 2166"/>
                    <a:gd name="T13" fmla="*/ 942 h 2142"/>
                    <a:gd name="T14" fmla="*/ 1944 w 2166"/>
                    <a:gd name="T15" fmla="*/ 1182 h 2142"/>
                    <a:gd name="T16" fmla="*/ 2034 w 2166"/>
                    <a:gd name="T17" fmla="*/ 1434 h 2142"/>
                    <a:gd name="T18" fmla="*/ 2118 w 2166"/>
                    <a:gd name="T19" fmla="*/ 1608 h 2142"/>
                    <a:gd name="T20" fmla="*/ 1860 w 2166"/>
                    <a:gd name="T21" fmla="*/ 1620 h 2142"/>
                    <a:gd name="T22" fmla="*/ 1830 w 2166"/>
                    <a:gd name="T23" fmla="*/ 1788 h 2142"/>
                    <a:gd name="T24" fmla="*/ 1812 w 2166"/>
                    <a:gd name="T25" fmla="*/ 1824 h 2142"/>
                    <a:gd name="T26" fmla="*/ 1776 w 2166"/>
                    <a:gd name="T27" fmla="*/ 1884 h 2142"/>
                    <a:gd name="T28" fmla="*/ 1854 w 2166"/>
                    <a:gd name="T29" fmla="*/ 1998 h 2142"/>
                    <a:gd name="T30" fmla="*/ 1938 w 2166"/>
                    <a:gd name="T31" fmla="*/ 2004 h 2142"/>
                    <a:gd name="T32" fmla="*/ 1974 w 2166"/>
                    <a:gd name="T33" fmla="*/ 2004 h 2142"/>
                    <a:gd name="T34" fmla="*/ 1986 w 2166"/>
                    <a:gd name="T35" fmla="*/ 2142 h 2142"/>
                    <a:gd name="T36" fmla="*/ 1752 w 2166"/>
                    <a:gd name="T37" fmla="*/ 2016 h 2142"/>
                    <a:gd name="T38" fmla="*/ 1506 w 2166"/>
                    <a:gd name="T39" fmla="*/ 1956 h 2142"/>
                    <a:gd name="T40" fmla="*/ 1332 w 2166"/>
                    <a:gd name="T41" fmla="*/ 1848 h 2142"/>
                    <a:gd name="T42" fmla="*/ 1086 w 2166"/>
                    <a:gd name="T43" fmla="*/ 1686 h 2142"/>
                    <a:gd name="T44" fmla="*/ 1050 w 2166"/>
                    <a:gd name="T45" fmla="*/ 1470 h 2142"/>
                    <a:gd name="T46" fmla="*/ 858 w 2166"/>
                    <a:gd name="T47" fmla="*/ 1440 h 2142"/>
                    <a:gd name="T48" fmla="*/ 636 w 2166"/>
                    <a:gd name="T49" fmla="*/ 1518 h 2142"/>
                    <a:gd name="T50" fmla="*/ 498 w 2166"/>
                    <a:gd name="T51" fmla="*/ 1296 h 2142"/>
                    <a:gd name="T52" fmla="*/ 66 w 2166"/>
                    <a:gd name="T53" fmla="*/ 1284 h 2142"/>
                    <a:gd name="T54" fmla="*/ 12 w 2166"/>
                    <a:gd name="T55" fmla="*/ 1272 h 2142"/>
                    <a:gd name="T56" fmla="*/ 54 w 2166"/>
                    <a:gd name="T57" fmla="*/ 1182 h 2142"/>
                    <a:gd name="T58" fmla="*/ 96 w 2166"/>
                    <a:gd name="T59" fmla="*/ 1128 h 2142"/>
                    <a:gd name="T60" fmla="*/ 162 w 2166"/>
                    <a:gd name="T61" fmla="*/ 1170 h 2142"/>
                    <a:gd name="T62" fmla="*/ 186 w 2166"/>
                    <a:gd name="T63" fmla="*/ 1152 h 2142"/>
                    <a:gd name="T64" fmla="*/ 228 w 2166"/>
                    <a:gd name="T65" fmla="*/ 1146 h 2142"/>
                    <a:gd name="T66" fmla="*/ 306 w 2166"/>
                    <a:gd name="T67" fmla="*/ 1128 h 2142"/>
                    <a:gd name="T68" fmla="*/ 360 w 2166"/>
                    <a:gd name="T69" fmla="*/ 1074 h 2142"/>
                    <a:gd name="T70" fmla="*/ 408 w 2166"/>
                    <a:gd name="T71" fmla="*/ 1038 h 2142"/>
                    <a:gd name="T72" fmla="*/ 432 w 2166"/>
                    <a:gd name="T73" fmla="*/ 1008 h 2142"/>
                    <a:gd name="T74" fmla="*/ 432 w 2166"/>
                    <a:gd name="T75" fmla="*/ 942 h 2142"/>
                    <a:gd name="T76" fmla="*/ 456 w 2166"/>
                    <a:gd name="T77" fmla="*/ 906 h 2142"/>
                    <a:gd name="T78" fmla="*/ 486 w 2166"/>
                    <a:gd name="T79" fmla="*/ 864 h 2142"/>
                    <a:gd name="T80" fmla="*/ 540 w 2166"/>
                    <a:gd name="T81" fmla="*/ 738 h 2142"/>
                    <a:gd name="T82" fmla="*/ 630 w 2166"/>
                    <a:gd name="T83" fmla="*/ 660 h 2142"/>
                    <a:gd name="T84" fmla="*/ 660 w 2166"/>
                    <a:gd name="T85" fmla="*/ 498 h 2142"/>
                    <a:gd name="T86" fmla="*/ 684 w 2166"/>
                    <a:gd name="T87" fmla="*/ 372 h 2142"/>
                    <a:gd name="T88" fmla="*/ 720 w 2166"/>
                    <a:gd name="T89" fmla="*/ 288 h 2142"/>
                    <a:gd name="T90" fmla="*/ 720 w 2166"/>
                    <a:gd name="T91" fmla="*/ 216 h 2142"/>
                    <a:gd name="T92" fmla="*/ 708 w 2166"/>
                    <a:gd name="T93" fmla="*/ 126 h 2142"/>
                    <a:gd name="T94" fmla="*/ 756 w 2166"/>
                    <a:gd name="T95" fmla="*/ 102 h 2142"/>
                    <a:gd name="T96" fmla="*/ 786 w 2166"/>
                    <a:gd name="T97" fmla="*/ 78 h 2142"/>
                    <a:gd name="T98" fmla="*/ 810 w 2166"/>
                    <a:gd name="T99" fmla="*/ 30 h 2142"/>
                    <a:gd name="T100" fmla="*/ 894 w 2166"/>
                    <a:gd name="T101" fmla="*/ 60 h 2142"/>
                    <a:gd name="T102" fmla="*/ 942 w 2166"/>
                    <a:gd name="T103" fmla="*/ 102 h 2142"/>
                    <a:gd name="T104" fmla="*/ 1014 w 2166"/>
                    <a:gd name="T105" fmla="*/ 108 h 2142"/>
                    <a:gd name="T106" fmla="*/ 1074 w 2166"/>
                    <a:gd name="T107" fmla="*/ 132 h 2142"/>
                    <a:gd name="T108" fmla="*/ 1176 w 2166"/>
                    <a:gd name="T109" fmla="*/ 126 h 2142"/>
                    <a:gd name="T110" fmla="*/ 1428 w 2166"/>
                    <a:gd name="T111" fmla="*/ 30 h 2142"/>
                    <a:gd name="T112" fmla="*/ 1734 w 2166"/>
                    <a:gd name="T113" fmla="*/ 0 h 2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166" h="2142">
                      <a:moveTo>
                        <a:pt x="0" y="1260"/>
                      </a:moveTo>
                      <a:lnTo>
                        <a:pt x="0" y="1260"/>
                      </a:lnTo>
                      <a:lnTo>
                        <a:pt x="0" y="1260"/>
                      </a:lnTo>
                      <a:lnTo>
                        <a:pt x="0" y="1260"/>
                      </a:lnTo>
                      <a:close/>
                      <a:moveTo>
                        <a:pt x="1734" y="0"/>
                      </a:moveTo>
                      <a:lnTo>
                        <a:pt x="1806" y="72"/>
                      </a:lnTo>
                      <a:lnTo>
                        <a:pt x="1932" y="84"/>
                      </a:lnTo>
                      <a:lnTo>
                        <a:pt x="2046" y="90"/>
                      </a:lnTo>
                      <a:lnTo>
                        <a:pt x="2082" y="114"/>
                      </a:lnTo>
                      <a:lnTo>
                        <a:pt x="2100" y="150"/>
                      </a:lnTo>
                      <a:lnTo>
                        <a:pt x="2136" y="240"/>
                      </a:lnTo>
                      <a:lnTo>
                        <a:pt x="2166" y="306"/>
                      </a:lnTo>
                      <a:lnTo>
                        <a:pt x="2148" y="360"/>
                      </a:lnTo>
                      <a:lnTo>
                        <a:pt x="2046" y="486"/>
                      </a:lnTo>
                      <a:lnTo>
                        <a:pt x="2010" y="540"/>
                      </a:lnTo>
                      <a:lnTo>
                        <a:pt x="1980" y="624"/>
                      </a:lnTo>
                      <a:lnTo>
                        <a:pt x="1980" y="702"/>
                      </a:lnTo>
                      <a:lnTo>
                        <a:pt x="1950" y="756"/>
                      </a:lnTo>
                      <a:lnTo>
                        <a:pt x="1914" y="792"/>
                      </a:lnTo>
                      <a:lnTo>
                        <a:pt x="1908" y="876"/>
                      </a:lnTo>
                      <a:lnTo>
                        <a:pt x="1926" y="942"/>
                      </a:lnTo>
                      <a:lnTo>
                        <a:pt x="1950" y="996"/>
                      </a:lnTo>
                      <a:lnTo>
                        <a:pt x="1938" y="1104"/>
                      </a:lnTo>
                      <a:lnTo>
                        <a:pt x="1944" y="1182"/>
                      </a:lnTo>
                      <a:lnTo>
                        <a:pt x="1968" y="1278"/>
                      </a:lnTo>
                      <a:lnTo>
                        <a:pt x="1992" y="1350"/>
                      </a:lnTo>
                      <a:lnTo>
                        <a:pt x="2034" y="1434"/>
                      </a:lnTo>
                      <a:lnTo>
                        <a:pt x="2052" y="1518"/>
                      </a:lnTo>
                      <a:lnTo>
                        <a:pt x="2118" y="1578"/>
                      </a:lnTo>
                      <a:lnTo>
                        <a:pt x="2118" y="1608"/>
                      </a:lnTo>
                      <a:lnTo>
                        <a:pt x="2046" y="1584"/>
                      </a:lnTo>
                      <a:lnTo>
                        <a:pt x="1914" y="1584"/>
                      </a:lnTo>
                      <a:lnTo>
                        <a:pt x="1860" y="1620"/>
                      </a:lnTo>
                      <a:lnTo>
                        <a:pt x="1830" y="1680"/>
                      </a:lnTo>
                      <a:lnTo>
                        <a:pt x="1830" y="1782"/>
                      </a:lnTo>
                      <a:lnTo>
                        <a:pt x="1830" y="1788"/>
                      </a:lnTo>
                      <a:lnTo>
                        <a:pt x="1824" y="1794"/>
                      </a:lnTo>
                      <a:lnTo>
                        <a:pt x="1824" y="1806"/>
                      </a:lnTo>
                      <a:lnTo>
                        <a:pt x="1812" y="1824"/>
                      </a:lnTo>
                      <a:lnTo>
                        <a:pt x="1806" y="1836"/>
                      </a:lnTo>
                      <a:lnTo>
                        <a:pt x="1794" y="1854"/>
                      </a:lnTo>
                      <a:lnTo>
                        <a:pt x="1776" y="1884"/>
                      </a:lnTo>
                      <a:lnTo>
                        <a:pt x="1782" y="1926"/>
                      </a:lnTo>
                      <a:lnTo>
                        <a:pt x="1818" y="1968"/>
                      </a:lnTo>
                      <a:lnTo>
                        <a:pt x="1854" y="1998"/>
                      </a:lnTo>
                      <a:lnTo>
                        <a:pt x="1884" y="2016"/>
                      </a:lnTo>
                      <a:lnTo>
                        <a:pt x="1920" y="2010"/>
                      </a:lnTo>
                      <a:lnTo>
                        <a:pt x="1938" y="2004"/>
                      </a:lnTo>
                      <a:lnTo>
                        <a:pt x="1956" y="2004"/>
                      </a:lnTo>
                      <a:lnTo>
                        <a:pt x="1968" y="2004"/>
                      </a:lnTo>
                      <a:lnTo>
                        <a:pt x="1974" y="2004"/>
                      </a:lnTo>
                      <a:lnTo>
                        <a:pt x="1974" y="2004"/>
                      </a:lnTo>
                      <a:lnTo>
                        <a:pt x="1986" y="2010"/>
                      </a:lnTo>
                      <a:lnTo>
                        <a:pt x="1986" y="2142"/>
                      </a:lnTo>
                      <a:lnTo>
                        <a:pt x="1896" y="2142"/>
                      </a:lnTo>
                      <a:lnTo>
                        <a:pt x="1836" y="2100"/>
                      </a:lnTo>
                      <a:lnTo>
                        <a:pt x="1752" y="2016"/>
                      </a:lnTo>
                      <a:lnTo>
                        <a:pt x="1686" y="1992"/>
                      </a:lnTo>
                      <a:lnTo>
                        <a:pt x="1566" y="1992"/>
                      </a:lnTo>
                      <a:lnTo>
                        <a:pt x="1506" y="1956"/>
                      </a:lnTo>
                      <a:lnTo>
                        <a:pt x="1482" y="1902"/>
                      </a:lnTo>
                      <a:lnTo>
                        <a:pt x="1338" y="1902"/>
                      </a:lnTo>
                      <a:lnTo>
                        <a:pt x="1332" y="1848"/>
                      </a:lnTo>
                      <a:lnTo>
                        <a:pt x="1122" y="1848"/>
                      </a:lnTo>
                      <a:lnTo>
                        <a:pt x="1122" y="1734"/>
                      </a:lnTo>
                      <a:lnTo>
                        <a:pt x="1086" y="1686"/>
                      </a:lnTo>
                      <a:lnTo>
                        <a:pt x="1098" y="1626"/>
                      </a:lnTo>
                      <a:lnTo>
                        <a:pt x="1116" y="1578"/>
                      </a:lnTo>
                      <a:lnTo>
                        <a:pt x="1050" y="1470"/>
                      </a:lnTo>
                      <a:lnTo>
                        <a:pt x="990" y="1470"/>
                      </a:lnTo>
                      <a:lnTo>
                        <a:pt x="942" y="1428"/>
                      </a:lnTo>
                      <a:lnTo>
                        <a:pt x="858" y="1440"/>
                      </a:lnTo>
                      <a:lnTo>
                        <a:pt x="780" y="1512"/>
                      </a:lnTo>
                      <a:lnTo>
                        <a:pt x="696" y="1530"/>
                      </a:lnTo>
                      <a:lnTo>
                        <a:pt x="636" y="1518"/>
                      </a:lnTo>
                      <a:lnTo>
                        <a:pt x="564" y="1458"/>
                      </a:lnTo>
                      <a:lnTo>
                        <a:pt x="558" y="1368"/>
                      </a:lnTo>
                      <a:lnTo>
                        <a:pt x="498" y="1296"/>
                      </a:lnTo>
                      <a:lnTo>
                        <a:pt x="408" y="1284"/>
                      </a:lnTo>
                      <a:lnTo>
                        <a:pt x="78" y="1290"/>
                      </a:lnTo>
                      <a:lnTo>
                        <a:pt x="66" y="1284"/>
                      </a:lnTo>
                      <a:lnTo>
                        <a:pt x="54" y="1278"/>
                      </a:lnTo>
                      <a:lnTo>
                        <a:pt x="30" y="1278"/>
                      </a:lnTo>
                      <a:lnTo>
                        <a:pt x="12" y="1272"/>
                      </a:lnTo>
                      <a:lnTo>
                        <a:pt x="0" y="1260"/>
                      </a:lnTo>
                      <a:lnTo>
                        <a:pt x="42" y="1230"/>
                      </a:lnTo>
                      <a:lnTo>
                        <a:pt x="54" y="1182"/>
                      </a:lnTo>
                      <a:lnTo>
                        <a:pt x="54" y="1182"/>
                      </a:lnTo>
                      <a:lnTo>
                        <a:pt x="54" y="1140"/>
                      </a:lnTo>
                      <a:lnTo>
                        <a:pt x="96" y="1128"/>
                      </a:lnTo>
                      <a:lnTo>
                        <a:pt x="114" y="1170"/>
                      </a:lnTo>
                      <a:lnTo>
                        <a:pt x="162" y="1170"/>
                      </a:lnTo>
                      <a:lnTo>
                        <a:pt x="162" y="1170"/>
                      </a:lnTo>
                      <a:lnTo>
                        <a:pt x="168" y="1164"/>
                      </a:lnTo>
                      <a:lnTo>
                        <a:pt x="174" y="1158"/>
                      </a:lnTo>
                      <a:lnTo>
                        <a:pt x="186" y="1152"/>
                      </a:lnTo>
                      <a:lnTo>
                        <a:pt x="198" y="1146"/>
                      </a:lnTo>
                      <a:lnTo>
                        <a:pt x="210" y="1146"/>
                      </a:lnTo>
                      <a:lnTo>
                        <a:pt x="228" y="1146"/>
                      </a:lnTo>
                      <a:lnTo>
                        <a:pt x="258" y="1152"/>
                      </a:lnTo>
                      <a:lnTo>
                        <a:pt x="282" y="1146"/>
                      </a:lnTo>
                      <a:lnTo>
                        <a:pt x="306" y="1128"/>
                      </a:lnTo>
                      <a:lnTo>
                        <a:pt x="324" y="1104"/>
                      </a:lnTo>
                      <a:lnTo>
                        <a:pt x="342" y="1086"/>
                      </a:lnTo>
                      <a:lnTo>
                        <a:pt x="360" y="1074"/>
                      </a:lnTo>
                      <a:lnTo>
                        <a:pt x="384" y="1056"/>
                      </a:lnTo>
                      <a:lnTo>
                        <a:pt x="396" y="1050"/>
                      </a:lnTo>
                      <a:lnTo>
                        <a:pt x="408" y="1038"/>
                      </a:lnTo>
                      <a:lnTo>
                        <a:pt x="414" y="1032"/>
                      </a:lnTo>
                      <a:lnTo>
                        <a:pt x="426" y="1020"/>
                      </a:lnTo>
                      <a:lnTo>
                        <a:pt x="432" y="1008"/>
                      </a:lnTo>
                      <a:lnTo>
                        <a:pt x="432" y="984"/>
                      </a:lnTo>
                      <a:lnTo>
                        <a:pt x="432" y="960"/>
                      </a:lnTo>
                      <a:lnTo>
                        <a:pt x="432" y="942"/>
                      </a:lnTo>
                      <a:lnTo>
                        <a:pt x="438" y="930"/>
                      </a:lnTo>
                      <a:lnTo>
                        <a:pt x="444" y="918"/>
                      </a:lnTo>
                      <a:lnTo>
                        <a:pt x="456" y="906"/>
                      </a:lnTo>
                      <a:lnTo>
                        <a:pt x="474" y="894"/>
                      </a:lnTo>
                      <a:lnTo>
                        <a:pt x="480" y="882"/>
                      </a:lnTo>
                      <a:lnTo>
                        <a:pt x="486" y="864"/>
                      </a:lnTo>
                      <a:lnTo>
                        <a:pt x="492" y="840"/>
                      </a:lnTo>
                      <a:lnTo>
                        <a:pt x="498" y="792"/>
                      </a:lnTo>
                      <a:lnTo>
                        <a:pt x="540" y="738"/>
                      </a:lnTo>
                      <a:lnTo>
                        <a:pt x="570" y="714"/>
                      </a:lnTo>
                      <a:lnTo>
                        <a:pt x="606" y="690"/>
                      </a:lnTo>
                      <a:lnTo>
                        <a:pt x="630" y="660"/>
                      </a:lnTo>
                      <a:lnTo>
                        <a:pt x="648" y="624"/>
                      </a:lnTo>
                      <a:lnTo>
                        <a:pt x="654" y="564"/>
                      </a:lnTo>
                      <a:lnTo>
                        <a:pt x="660" y="498"/>
                      </a:lnTo>
                      <a:lnTo>
                        <a:pt x="666" y="438"/>
                      </a:lnTo>
                      <a:lnTo>
                        <a:pt x="672" y="402"/>
                      </a:lnTo>
                      <a:lnTo>
                        <a:pt x="684" y="372"/>
                      </a:lnTo>
                      <a:lnTo>
                        <a:pt x="702" y="348"/>
                      </a:lnTo>
                      <a:lnTo>
                        <a:pt x="714" y="318"/>
                      </a:lnTo>
                      <a:lnTo>
                        <a:pt x="720" y="288"/>
                      </a:lnTo>
                      <a:lnTo>
                        <a:pt x="720" y="270"/>
                      </a:lnTo>
                      <a:lnTo>
                        <a:pt x="726" y="252"/>
                      </a:lnTo>
                      <a:lnTo>
                        <a:pt x="720" y="216"/>
                      </a:lnTo>
                      <a:lnTo>
                        <a:pt x="714" y="186"/>
                      </a:lnTo>
                      <a:lnTo>
                        <a:pt x="708" y="150"/>
                      </a:lnTo>
                      <a:lnTo>
                        <a:pt x="708" y="126"/>
                      </a:lnTo>
                      <a:lnTo>
                        <a:pt x="714" y="108"/>
                      </a:lnTo>
                      <a:lnTo>
                        <a:pt x="738" y="102"/>
                      </a:lnTo>
                      <a:lnTo>
                        <a:pt x="756" y="102"/>
                      </a:lnTo>
                      <a:lnTo>
                        <a:pt x="768" y="96"/>
                      </a:lnTo>
                      <a:lnTo>
                        <a:pt x="780" y="90"/>
                      </a:lnTo>
                      <a:lnTo>
                        <a:pt x="786" y="78"/>
                      </a:lnTo>
                      <a:lnTo>
                        <a:pt x="786" y="60"/>
                      </a:lnTo>
                      <a:lnTo>
                        <a:pt x="792" y="48"/>
                      </a:lnTo>
                      <a:lnTo>
                        <a:pt x="810" y="30"/>
                      </a:lnTo>
                      <a:lnTo>
                        <a:pt x="840" y="30"/>
                      </a:lnTo>
                      <a:lnTo>
                        <a:pt x="870" y="36"/>
                      </a:lnTo>
                      <a:lnTo>
                        <a:pt x="894" y="60"/>
                      </a:lnTo>
                      <a:lnTo>
                        <a:pt x="906" y="84"/>
                      </a:lnTo>
                      <a:lnTo>
                        <a:pt x="924" y="96"/>
                      </a:lnTo>
                      <a:lnTo>
                        <a:pt x="942" y="102"/>
                      </a:lnTo>
                      <a:lnTo>
                        <a:pt x="966" y="108"/>
                      </a:lnTo>
                      <a:lnTo>
                        <a:pt x="990" y="108"/>
                      </a:lnTo>
                      <a:lnTo>
                        <a:pt x="1014" y="108"/>
                      </a:lnTo>
                      <a:lnTo>
                        <a:pt x="1038" y="114"/>
                      </a:lnTo>
                      <a:lnTo>
                        <a:pt x="1056" y="120"/>
                      </a:lnTo>
                      <a:lnTo>
                        <a:pt x="1074" y="132"/>
                      </a:lnTo>
                      <a:lnTo>
                        <a:pt x="1104" y="150"/>
                      </a:lnTo>
                      <a:lnTo>
                        <a:pt x="1140" y="144"/>
                      </a:lnTo>
                      <a:lnTo>
                        <a:pt x="1176" y="126"/>
                      </a:lnTo>
                      <a:lnTo>
                        <a:pt x="1212" y="60"/>
                      </a:lnTo>
                      <a:lnTo>
                        <a:pt x="1326" y="30"/>
                      </a:lnTo>
                      <a:lnTo>
                        <a:pt x="1428" y="30"/>
                      </a:lnTo>
                      <a:lnTo>
                        <a:pt x="1476" y="12"/>
                      </a:lnTo>
                      <a:lnTo>
                        <a:pt x="1590" y="12"/>
                      </a:lnTo>
                      <a:lnTo>
                        <a:pt x="173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6" name="Freeform 224">
                  <a:extLst>
                    <a:ext uri="{FF2B5EF4-FFF2-40B4-BE49-F238E27FC236}">
                      <a16:creationId xmlns:a16="http://schemas.microsoft.com/office/drawing/2014/main" id="{EF77A65D-3A48-4619-8C30-08AE9DE02D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1" y="3594"/>
                  <a:ext cx="1260" cy="1278"/>
                </a:xfrm>
                <a:custGeom>
                  <a:avLst/>
                  <a:gdLst>
                    <a:gd name="T0" fmla="*/ 564 w 1260"/>
                    <a:gd name="T1" fmla="*/ 42 h 1278"/>
                    <a:gd name="T2" fmla="*/ 984 w 1260"/>
                    <a:gd name="T3" fmla="*/ 282 h 1278"/>
                    <a:gd name="T4" fmla="*/ 1080 w 1260"/>
                    <a:gd name="T5" fmla="*/ 408 h 1278"/>
                    <a:gd name="T6" fmla="*/ 1152 w 1260"/>
                    <a:gd name="T7" fmla="*/ 450 h 1278"/>
                    <a:gd name="T8" fmla="*/ 1116 w 1260"/>
                    <a:gd name="T9" fmla="*/ 474 h 1278"/>
                    <a:gd name="T10" fmla="*/ 1098 w 1260"/>
                    <a:gd name="T11" fmla="*/ 552 h 1278"/>
                    <a:gd name="T12" fmla="*/ 1122 w 1260"/>
                    <a:gd name="T13" fmla="*/ 630 h 1278"/>
                    <a:gd name="T14" fmla="*/ 1140 w 1260"/>
                    <a:gd name="T15" fmla="*/ 648 h 1278"/>
                    <a:gd name="T16" fmla="*/ 1146 w 1260"/>
                    <a:gd name="T17" fmla="*/ 660 h 1278"/>
                    <a:gd name="T18" fmla="*/ 1140 w 1260"/>
                    <a:gd name="T19" fmla="*/ 678 h 1278"/>
                    <a:gd name="T20" fmla="*/ 1128 w 1260"/>
                    <a:gd name="T21" fmla="*/ 732 h 1278"/>
                    <a:gd name="T22" fmla="*/ 1122 w 1260"/>
                    <a:gd name="T23" fmla="*/ 864 h 1278"/>
                    <a:gd name="T24" fmla="*/ 1140 w 1260"/>
                    <a:gd name="T25" fmla="*/ 972 h 1278"/>
                    <a:gd name="T26" fmla="*/ 1176 w 1260"/>
                    <a:gd name="T27" fmla="*/ 1068 h 1278"/>
                    <a:gd name="T28" fmla="*/ 1218 w 1260"/>
                    <a:gd name="T29" fmla="*/ 1116 h 1278"/>
                    <a:gd name="T30" fmla="*/ 1224 w 1260"/>
                    <a:gd name="T31" fmla="*/ 1152 h 1278"/>
                    <a:gd name="T32" fmla="*/ 1230 w 1260"/>
                    <a:gd name="T33" fmla="*/ 1164 h 1278"/>
                    <a:gd name="T34" fmla="*/ 1242 w 1260"/>
                    <a:gd name="T35" fmla="*/ 1164 h 1278"/>
                    <a:gd name="T36" fmla="*/ 1260 w 1260"/>
                    <a:gd name="T37" fmla="*/ 1170 h 1278"/>
                    <a:gd name="T38" fmla="*/ 1104 w 1260"/>
                    <a:gd name="T39" fmla="*/ 1224 h 1278"/>
                    <a:gd name="T40" fmla="*/ 798 w 1260"/>
                    <a:gd name="T41" fmla="*/ 1278 h 1278"/>
                    <a:gd name="T42" fmla="*/ 654 w 1260"/>
                    <a:gd name="T43" fmla="*/ 1266 h 1278"/>
                    <a:gd name="T44" fmla="*/ 558 w 1260"/>
                    <a:gd name="T45" fmla="*/ 1140 h 1278"/>
                    <a:gd name="T46" fmla="*/ 474 w 1260"/>
                    <a:gd name="T47" fmla="*/ 1026 h 1278"/>
                    <a:gd name="T48" fmla="*/ 252 w 1260"/>
                    <a:gd name="T49" fmla="*/ 960 h 1278"/>
                    <a:gd name="T50" fmla="*/ 180 w 1260"/>
                    <a:gd name="T51" fmla="*/ 930 h 1278"/>
                    <a:gd name="T52" fmla="*/ 114 w 1260"/>
                    <a:gd name="T53" fmla="*/ 840 h 1278"/>
                    <a:gd name="T54" fmla="*/ 54 w 1260"/>
                    <a:gd name="T55" fmla="*/ 672 h 1278"/>
                    <a:gd name="T56" fmla="*/ 6 w 1260"/>
                    <a:gd name="T57" fmla="*/ 504 h 1278"/>
                    <a:gd name="T58" fmla="*/ 66 w 1260"/>
                    <a:gd name="T59" fmla="*/ 438 h 1278"/>
                    <a:gd name="T60" fmla="*/ 144 w 1260"/>
                    <a:gd name="T61" fmla="*/ 366 h 1278"/>
                    <a:gd name="T62" fmla="*/ 174 w 1260"/>
                    <a:gd name="T63" fmla="*/ 246 h 1278"/>
                    <a:gd name="T64" fmla="*/ 156 w 1260"/>
                    <a:gd name="T65" fmla="*/ 168 h 1278"/>
                    <a:gd name="T66" fmla="*/ 192 w 1260"/>
                    <a:gd name="T67" fmla="*/ 72 h 1278"/>
                    <a:gd name="T68" fmla="*/ 324 w 1260"/>
                    <a:gd name="T69" fmla="*/ 42 h 1278"/>
                    <a:gd name="T70" fmla="*/ 486 w 1260"/>
                    <a:gd name="T71" fmla="*/ 0 h 1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260" h="1278">
                      <a:moveTo>
                        <a:pt x="486" y="0"/>
                      </a:moveTo>
                      <a:lnTo>
                        <a:pt x="564" y="42"/>
                      </a:lnTo>
                      <a:lnTo>
                        <a:pt x="798" y="180"/>
                      </a:lnTo>
                      <a:lnTo>
                        <a:pt x="984" y="282"/>
                      </a:lnTo>
                      <a:lnTo>
                        <a:pt x="990" y="354"/>
                      </a:lnTo>
                      <a:lnTo>
                        <a:pt x="1080" y="408"/>
                      </a:lnTo>
                      <a:lnTo>
                        <a:pt x="1170" y="438"/>
                      </a:lnTo>
                      <a:lnTo>
                        <a:pt x="1152" y="450"/>
                      </a:lnTo>
                      <a:lnTo>
                        <a:pt x="1128" y="462"/>
                      </a:lnTo>
                      <a:lnTo>
                        <a:pt x="1116" y="474"/>
                      </a:lnTo>
                      <a:lnTo>
                        <a:pt x="1104" y="504"/>
                      </a:lnTo>
                      <a:lnTo>
                        <a:pt x="1098" y="552"/>
                      </a:lnTo>
                      <a:lnTo>
                        <a:pt x="1098" y="594"/>
                      </a:lnTo>
                      <a:lnTo>
                        <a:pt x="1122" y="630"/>
                      </a:lnTo>
                      <a:lnTo>
                        <a:pt x="1134" y="642"/>
                      </a:lnTo>
                      <a:lnTo>
                        <a:pt x="1140" y="648"/>
                      </a:lnTo>
                      <a:lnTo>
                        <a:pt x="1146" y="654"/>
                      </a:lnTo>
                      <a:lnTo>
                        <a:pt x="1146" y="660"/>
                      </a:lnTo>
                      <a:lnTo>
                        <a:pt x="1146" y="666"/>
                      </a:lnTo>
                      <a:lnTo>
                        <a:pt x="1140" y="678"/>
                      </a:lnTo>
                      <a:lnTo>
                        <a:pt x="1134" y="690"/>
                      </a:lnTo>
                      <a:lnTo>
                        <a:pt x="1128" y="732"/>
                      </a:lnTo>
                      <a:lnTo>
                        <a:pt x="1128" y="798"/>
                      </a:lnTo>
                      <a:lnTo>
                        <a:pt x="1122" y="864"/>
                      </a:lnTo>
                      <a:lnTo>
                        <a:pt x="1128" y="924"/>
                      </a:lnTo>
                      <a:lnTo>
                        <a:pt x="1140" y="972"/>
                      </a:lnTo>
                      <a:lnTo>
                        <a:pt x="1158" y="1026"/>
                      </a:lnTo>
                      <a:lnTo>
                        <a:pt x="1176" y="1068"/>
                      </a:lnTo>
                      <a:lnTo>
                        <a:pt x="1194" y="1092"/>
                      </a:lnTo>
                      <a:lnTo>
                        <a:pt x="1218" y="1116"/>
                      </a:lnTo>
                      <a:lnTo>
                        <a:pt x="1224" y="1140"/>
                      </a:lnTo>
                      <a:lnTo>
                        <a:pt x="1224" y="1152"/>
                      </a:lnTo>
                      <a:lnTo>
                        <a:pt x="1224" y="1158"/>
                      </a:lnTo>
                      <a:lnTo>
                        <a:pt x="1230" y="1164"/>
                      </a:lnTo>
                      <a:lnTo>
                        <a:pt x="1236" y="1164"/>
                      </a:lnTo>
                      <a:lnTo>
                        <a:pt x="1242" y="1164"/>
                      </a:lnTo>
                      <a:lnTo>
                        <a:pt x="1248" y="1164"/>
                      </a:lnTo>
                      <a:lnTo>
                        <a:pt x="1260" y="1170"/>
                      </a:lnTo>
                      <a:lnTo>
                        <a:pt x="1260" y="1170"/>
                      </a:lnTo>
                      <a:lnTo>
                        <a:pt x="1104" y="1224"/>
                      </a:lnTo>
                      <a:lnTo>
                        <a:pt x="930" y="1278"/>
                      </a:lnTo>
                      <a:lnTo>
                        <a:pt x="798" y="1278"/>
                      </a:lnTo>
                      <a:lnTo>
                        <a:pt x="720" y="1248"/>
                      </a:lnTo>
                      <a:lnTo>
                        <a:pt x="654" y="1266"/>
                      </a:lnTo>
                      <a:lnTo>
                        <a:pt x="582" y="1242"/>
                      </a:lnTo>
                      <a:lnTo>
                        <a:pt x="558" y="1140"/>
                      </a:lnTo>
                      <a:lnTo>
                        <a:pt x="522" y="1044"/>
                      </a:lnTo>
                      <a:lnTo>
                        <a:pt x="474" y="1026"/>
                      </a:lnTo>
                      <a:lnTo>
                        <a:pt x="324" y="1026"/>
                      </a:lnTo>
                      <a:lnTo>
                        <a:pt x="252" y="960"/>
                      </a:lnTo>
                      <a:lnTo>
                        <a:pt x="180" y="930"/>
                      </a:lnTo>
                      <a:lnTo>
                        <a:pt x="180" y="930"/>
                      </a:lnTo>
                      <a:lnTo>
                        <a:pt x="180" y="900"/>
                      </a:lnTo>
                      <a:lnTo>
                        <a:pt x="114" y="840"/>
                      </a:lnTo>
                      <a:lnTo>
                        <a:pt x="96" y="756"/>
                      </a:lnTo>
                      <a:lnTo>
                        <a:pt x="54" y="672"/>
                      </a:lnTo>
                      <a:lnTo>
                        <a:pt x="30" y="600"/>
                      </a:lnTo>
                      <a:lnTo>
                        <a:pt x="6" y="504"/>
                      </a:lnTo>
                      <a:lnTo>
                        <a:pt x="0" y="426"/>
                      </a:lnTo>
                      <a:lnTo>
                        <a:pt x="66" y="438"/>
                      </a:lnTo>
                      <a:lnTo>
                        <a:pt x="102" y="396"/>
                      </a:lnTo>
                      <a:lnTo>
                        <a:pt x="144" y="366"/>
                      </a:lnTo>
                      <a:lnTo>
                        <a:pt x="162" y="306"/>
                      </a:lnTo>
                      <a:lnTo>
                        <a:pt x="174" y="246"/>
                      </a:lnTo>
                      <a:lnTo>
                        <a:pt x="114" y="204"/>
                      </a:lnTo>
                      <a:lnTo>
                        <a:pt x="156" y="168"/>
                      </a:lnTo>
                      <a:lnTo>
                        <a:pt x="174" y="126"/>
                      </a:lnTo>
                      <a:lnTo>
                        <a:pt x="192" y="72"/>
                      </a:lnTo>
                      <a:lnTo>
                        <a:pt x="246" y="60"/>
                      </a:lnTo>
                      <a:lnTo>
                        <a:pt x="324" y="42"/>
                      </a:lnTo>
                      <a:lnTo>
                        <a:pt x="384" y="54"/>
                      </a:lnTo>
                      <a:lnTo>
                        <a:pt x="48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7" name="Freeform 225">
                  <a:extLst>
                    <a:ext uri="{FF2B5EF4-FFF2-40B4-BE49-F238E27FC236}">
                      <a16:creationId xmlns:a16="http://schemas.microsoft.com/office/drawing/2014/main" id="{3D40D835-035F-4165-BBE1-5E0F982BD2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35" y="4200"/>
                  <a:ext cx="1386" cy="1392"/>
                </a:xfrm>
                <a:custGeom>
                  <a:avLst/>
                  <a:gdLst>
                    <a:gd name="T0" fmla="*/ 54 w 1386"/>
                    <a:gd name="T1" fmla="*/ 1314 h 1392"/>
                    <a:gd name="T2" fmla="*/ 54 w 1386"/>
                    <a:gd name="T3" fmla="*/ 1314 h 1392"/>
                    <a:gd name="T4" fmla="*/ 546 w 1386"/>
                    <a:gd name="T5" fmla="*/ 12 h 1392"/>
                    <a:gd name="T6" fmla="*/ 612 w 1386"/>
                    <a:gd name="T7" fmla="*/ 174 h 1392"/>
                    <a:gd name="T8" fmla="*/ 744 w 1386"/>
                    <a:gd name="T9" fmla="*/ 246 h 1392"/>
                    <a:gd name="T10" fmla="*/ 906 w 1386"/>
                    <a:gd name="T11" fmla="*/ 156 h 1392"/>
                    <a:gd name="T12" fmla="*/ 1038 w 1386"/>
                    <a:gd name="T13" fmla="*/ 186 h 1392"/>
                    <a:gd name="T14" fmla="*/ 1164 w 1386"/>
                    <a:gd name="T15" fmla="*/ 294 h 1392"/>
                    <a:gd name="T16" fmla="*/ 1134 w 1386"/>
                    <a:gd name="T17" fmla="*/ 402 h 1392"/>
                    <a:gd name="T18" fmla="*/ 1170 w 1386"/>
                    <a:gd name="T19" fmla="*/ 564 h 1392"/>
                    <a:gd name="T20" fmla="*/ 1386 w 1386"/>
                    <a:gd name="T21" fmla="*/ 618 h 1392"/>
                    <a:gd name="T22" fmla="*/ 1356 w 1386"/>
                    <a:gd name="T23" fmla="*/ 816 h 1392"/>
                    <a:gd name="T24" fmla="*/ 1128 w 1386"/>
                    <a:gd name="T25" fmla="*/ 1194 h 1392"/>
                    <a:gd name="T26" fmla="*/ 1212 w 1386"/>
                    <a:gd name="T27" fmla="*/ 1302 h 1392"/>
                    <a:gd name="T28" fmla="*/ 1146 w 1386"/>
                    <a:gd name="T29" fmla="*/ 1386 h 1392"/>
                    <a:gd name="T30" fmla="*/ 954 w 1386"/>
                    <a:gd name="T31" fmla="*/ 1386 h 1392"/>
                    <a:gd name="T32" fmla="*/ 720 w 1386"/>
                    <a:gd name="T33" fmla="*/ 1320 h 1392"/>
                    <a:gd name="T34" fmla="*/ 462 w 1386"/>
                    <a:gd name="T35" fmla="*/ 1314 h 1392"/>
                    <a:gd name="T36" fmla="*/ 216 w 1386"/>
                    <a:gd name="T37" fmla="*/ 1314 h 1392"/>
                    <a:gd name="T38" fmla="*/ 108 w 1386"/>
                    <a:gd name="T39" fmla="*/ 1278 h 1392"/>
                    <a:gd name="T40" fmla="*/ 54 w 1386"/>
                    <a:gd name="T41" fmla="*/ 1308 h 1392"/>
                    <a:gd name="T42" fmla="*/ 48 w 1386"/>
                    <a:gd name="T43" fmla="*/ 1308 h 1392"/>
                    <a:gd name="T44" fmla="*/ 24 w 1386"/>
                    <a:gd name="T45" fmla="*/ 1314 h 1392"/>
                    <a:gd name="T46" fmla="*/ 6 w 1386"/>
                    <a:gd name="T47" fmla="*/ 1308 h 1392"/>
                    <a:gd name="T48" fmla="*/ 6 w 1386"/>
                    <a:gd name="T49" fmla="*/ 1290 h 1392"/>
                    <a:gd name="T50" fmla="*/ 0 w 1386"/>
                    <a:gd name="T51" fmla="*/ 1260 h 1392"/>
                    <a:gd name="T52" fmla="*/ 0 w 1386"/>
                    <a:gd name="T53" fmla="*/ 1194 h 1392"/>
                    <a:gd name="T54" fmla="*/ 24 w 1386"/>
                    <a:gd name="T55" fmla="*/ 1044 h 1392"/>
                    <a:gd name="T56" fmla="*/ 66 w 1386"/>
                    <a:gd name="T57" fmla="*/ 894 h 1392"/>
                    <a:gd name="T58" fmla="*/ 144 w 1386"/>
                    <a:gd name="T59" fmla="*/ 804 h 1392"/>
                    <a:gd name="T60" fmla="*/ 204 w 1386"/>
                    <a:gd name="T61" fmla="*/ 744 h 1392"/>
                    <a:gd name="T62" fmla="*/ 222 w 1386"/>
                    <a:gd name="T63" fmla="*/ 672 h 1392"/>
                    <a:gd name="T64" fmla="*/ 216 w 1386"/>
                    <a:gd name="T65" fmla="*/ 642 h 1392"/>
                    <a:gd name="T66" fmla="*/ 228 w 1386"/>
                    <a:gd name="T67" fmla="*/ 618 h 1392"/>
                    <a:gd name="T68" fmla="*/ 240 w 1386"/>
                    <a:gd name="T69" fmla="*/ 570 h 1392"/>
                    <a:gd name="T70" fmla="*/ 192 w 1386"/>
                    <a:gd name="T71" fmla="*/ 468 h 1392"/>
                    <a:gd name="T72" fmla="*/ 162 w 1386"/>
                    <a:gd name="T73" fmla="*/ 348 h 1392"/>
                    <a:gd name="T74" fmla="*/ 174 w 1386"/>
                    <a:gd name="T75" fmla="*/ 252 h 1392"/>
                    <a:gd name="T76" fmla="*/ 156 w 1386"/>
                    <a:gd name="T77" fmla="*/ 150 h 1392"/>
                    <a:gd name="T78" fmla="*/ 126 w 1386"/>
                    <a:gd name="T79" fmla="*/ 84 h 1392"/>
                    <a:gd name="T80" fmla="*/ 102 w 1386"/>
                    <a:gd name="T81" fmla="*/ 66 h 1392"/>
                    <a:gd name="T82" fmla="*/ 96 w 1386"/>
                    <a:gd name="T83" fmla="*/ 54 h 1392"/>
                    <a:gd name="T84" fmla="*/ 114 w 1386"/>
                    <a:gd name="T85" fmla="*/ 30 h 1392"/>
                    <a:gd name="T86" fmla="*/ 126 w 1386"/>
                    <a:gd name="T87" fmla="*/ 12 h 1392"/>
                    <a:gd name="T88" fmla="*/ 456 w 1386"/>
                    <a:gd name="T89" fmla="*/ 0 h 13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86" h="1392">
                      <a:moveTo>
                        <a:pt x="54" y="1314"/>
                      </a:moveTo>
                      <a:lnTo>
                        <a:pt x="54" y="1314"/>
                      </a:lnTo>
                      <a:lnTo>
                        <a:pt x="54" y="1314"/>
                      </a:lnTo>
                      <a:lnTo>
                        <a:pt x="54" y="1314"/>
                      </a:lnTo>
                      <a:close/>
                      <a:moveTo>
                        <a:pt x="456" y="0"/>
                      </a:moveTo>
                      <a:lnTo>
                        <a:pt x="546" y="12"/>
                      </a:lnTo>
                      <a:lnTo>
                        <a:pt x="606" y="84"/>
                      </a:lnTo>
                      <a:lnTo>
                        <a:pt x="612" y="174"/>
                      </a:lnTo>
                      <a:lnTo>
                        <a:pt x="684" y="234"/>
                      </a:lnTo>
                      <a:lnTo>
                        <a:pt x="744" y="246"/>
                      </a:lnTo>
                      <a:lnTo>
                        <a:pt x="828" y="228"/>
                      </a:lnTo>
                      <a:lnTo>
                        <a:pt x="906" y="156"/>
                      </a:lnTo>
                      <a:lnTo>
                        <a:pt x="990" y="144"/>
                      </a:lnTo>
                      <a:lnTo>
                        <a:pt x="1038" y="186"/>
                      </a:lnTo>
                      <a:lnTo>
                        <a:pt x="1098" y="186"/>
                      </a:lnTo>
                      <a:lnTo>
                        <a:pt x="1164" y="294"/>
                      </a:lnTo>
                      <a:lnTo>
                        <a:pt x="1146" y="342"/>
                      </a:lnTo>
                      <a:lnTo>
                        <a:pt x="1134" y="402"/>
                      </a:lnTo>
                      <a:lnTo>
                        <a:pt x="1170" y="450"/>
                      </a:lnTo>
                      <a:lnTo>
                        <a:pt x="1170" y="564"/>
                      </a:lnTo>
                      <a:lnTo>
                        <a:pt x="1380" y="564"/>
                      </a:lnTo>
                      <a:lnTo>
                        <a:pt x="1386" y="618"/>
                      </a:lnTo>
                      <a:lnTo>
                        <a:pt x="1380" y="798"/>
                      </a:lnTo>
                      <a:lnTo>
                        <a:pt x="1356" y="816"/>
                      </a:lnTo>
                      <a:lnTo>
                        <a:pt x="1146" y="816"/>
                      </a:lnTo>
                      <a:lnTo>
                        <a:pt x="1128" y="1194"/>
                      </a:lnTo>
                      <a:lnTo>
                        <a:pt x="1194" y="1224"/>
                      </a:lnTo>
                      <a:lnTo>
                        <a:pt x="1212" y="1302"/>
                      </a:lnTo>
                      <a:lnTo>
                        <a:pt x="1272" y="1362"/>
                      </a:lnTo>
                      <a:lnTo>
                        <a:pt x="1146" y="1386"/>
                      </a:lnTo>
                      <a:lnTo>
                        <a:pt x="1050" y="1392"/>
                      </a:lnTo>
                      <a:lnTo>
                        <a:pt x="954" y="1386"/>
                      </a:lnTo>
                      <a:lnTo>
                        <a:pt x="822" y="1362"/>
                      </a:lnTo>
                      <a:lnTo>
                        <a:pt x="720" y="1320"/>
                      </a:lnTo>
                      <a:lnTo>
                        <a:pt x="600" y="1308"/>
                      </a:lnTo>
                      <a:lnTo>
                        <a:pt x="462" y="1314"/>
                      </a:lnTo>
                      <a:lnTo>
                        <a:pt x="306" y="1326"/>
                      </a:lnTo>
                      <a:lnTo>
                        <a:pt x="216" y="1314"/>
                      </a:lnTo>
                      <a:lnTo>
                        <a:pt x="156" y="1272"/>
                      </a:lnTo>
                      <a:lnTo>
                        <a:pt x="108" y="1278"/>
                      </a:lnTo>
                      <a:lnTo>
                        <a:pt x="54" y="1314"/>
                      </a:lnTo>
                      <a:lnTo>
                        <a:pt x="54" y="1308"/>
                      </a:lnTo>
                      <a:lnTo>
                        <a:pt x="54" y="1308"/>
                      </a:lnTo>
                      <a:lnTo>
                        <a:pt x="48" y="1308"/>
                      </a:lnTo>
                      <a:lnTo>
                        <a:pt x="36" y="1308"/>
                      </a:lnTo>
                      <a:lnTo>
                        <a:pt x="24" y="1314"/>
                      </a:lnTo>
                      <a:lnTo>
                        <a:pt x="12" y="1314"/>
                      </a:lnTo>
                      <a:lnTo>
                        <a:pt x="6" y="1308"/>
                      </a:lnTo>
                      <a:lnTo>
                        <a:pt x="6" y="1302"/>
                      </a:lnTo>
                      <a:lnTo>
                        <a:pt x="6" y="1290"/>
                      </a:lnTo>
                      <a:lnTo>
                        <a:pt x="0" y="1278"/>
                      </a:lnTo>
                      <a:lnTo>
                        <a:pt x="0" y="1260"/>
                      </a:lnTo>
                      <a:lnTo>
                        <a:pt x="0" y="1242"/>
                      </a:lnTo>
                      <a:lnTo>
                        <a:pt x="0" y="1194"/>
                      </a:lnTo>
                      <a:lnTo>
                        <a:pt x="12" y="1122"/>
                      </a:lnTo>
                      <a:lnTo>
                        <a:pt x="24" y="1044"/>
                      </a:lnTo>
                      <a:lnTo>
                        <a:pt x="42" y="960"/>
                      </a:lnTo>
                      <a:lnTo>
                        <a:pt x="66" y="894"/>
                      </a:lnTo>
                      <a:lnTo>
                        <a:pt x="102" y="840"/>
                      </a:lnTo>
                      <a:lnTo>
                        <a:pt x="144" y="804"/>
                      </a:lnTo>
                      <a:lnTo>
                        <a:pt x="174" y="774"/>
                      </a:lnTo>
                      <a:lnTo>
                        <a:pt x="204" y="744"/>
                      </a:lnTo>
                      <a:lnTo>
                        <a:pt x="222" y="708"/>
                      </a:lnTo>
                      <a:lnTo>
                        <a:pt x="222" y="672"/>
                      </a:lnTo>
                      <a:lnTo>
                        <a:pt x="222" y="654"/>
                      </a:lnTo>
                      <a:lnTo>
                        <a:pt x="216" y="642"/>
                      </a:lnTo>
                      <a:lnTo>
                        <a:pt x="222" y="630"/>
                      </a:lnTo>
                      <a:lnTo>
                        <a:pt x="228" y="618"/>
                      </a:lnTo>
                      <a:lnTo>
                        <a:pt x="240" y="600"/>
                      </a:lnTo>
                      <a:lnTo>
                        <a:pt x="240" y="570"/>
                      </a:lnTo>
                      <a:lnTo>
                        <a:pt x="222" y="522"/>
                      </a:lnTo>
                      <a:lnTo>
                        <a:pt x="192" y="468"/>
                      </a:lnTo>
                      <a:lnTo>
                        <a:pt x="168" y="408"/>
                      </a:lnTo>
                      <a:lnTo>
                        <a:pt x="162" y="348"/>
                      </a:lnTo>
                      <a:lnTo>
                        <a:pt x="174" y="288"/>
                      </a:lnTo>
                      <a:lnTo>
                        <a:pt x="174" y="252"/>
                      </a:lnTo>
                      <a:lnTo>
                        <a:pt x="168" y="204"/>
                      </a:lnTo>
                      <a:lnTo>
                        <a:pt x="156" y="150"/>
                      </a:lnTo>
                      <a:lnTo>
                        <a:pt x="144" y="108"/>
                      </a:lnTo>
                      <a:lnTo>
                        <a:pt x="126" y="84"/>
                      </a:lnTo>
                      <a:lnTo>
                        <a:pt x="114" y="72"/>
                      </a:lnTo>
                      <a:lnTo>
                        <a:pt x="102" y="66"/>
                      </a:lnTo>
                      <a:lnTo>
                        <a:pt x="96" y="60"/>
                      </a:lnTo>
                      <a:lnTo>
                        <a:pt x="96" y="54"/>
                      </a:lnTo>
                      <a:lnTo>
                        <a:pt x="102" y="42"/>
                      </a:lnTo>
                      <a:lnTo>
                        <a:pt x="114" y="30"/>
                      </a:lnTo>
                      <a:lnTo>
                        <a:pt x="120" y="24"/>
                      </a:lnTo>
                      <a:lnTo>
                        <a:pt x="126" y="12"/>
                      </a:lnTo>
                      <a:lnTo>
                        <a:pt x="126" y="6"/>
                      </a:lnTo>
                      <a:lnTo>
                        <a:pt x="45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8" name="Freeform 226">
                  <a:extLst>
                    <a:ext uri="{FF2B5EF4-FFF2-40B4-BE49-F238E27FC236}">
                      <a16:creationId xmlns:a16="http://schemas.microsoft.com/office/drawing/2014/main" id="{E4109A08-2F31-4A56-BFCD-30A33401A8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63" y="4500"/>
                  <a:ext cx="1320" cy="1086"/>
                </a:xfrm>
                <a:custGeom>
                  <a:avLst/>
                  <a:gdLst>
                    <a:gd name="T0" fmla="*/ 1248 w 1320"/>
                    <a:gd name="T1" fmla="*/ 120 h 1086"/>
                    <a:gd name="T2" fmla="*/ 1242 w 1320"/>
                    <a:gd name="T3" fmla="*/ 120 h 1086"/>
                    <a:gd name="T4" fmla="*/ 966 w 1320"/>
                    <a:gd name="T5" fmla="*/ 0 h 1086"/>
                    <a:gd name="T6" fmla="*/ 1038 w 1320"/>
                    <a:gd name="T7" fmla="*/ 24 h 1086"/>
                    <a:gd name="T8" fmla="*/ 1182 w 1320"/>
                    <a:gd name="T9" fmla="*/ 120 h 1086"/>
                    <a:gd name="T10" fmla="*/ 1302 w 1320"/>
                    <a:gd name="T11" fmla="*/ 222 h 1086"/>
                    <a:gd name="T12" fmla="*/ 1320 w 1320"/>
                    <a:gd name="T13" fmla="*/ 426 h 1086"/>
                    <a:gd name="T14" fmla="*/ 1266 w 1320"/>
                    <a:gd name="T15" fmla="*/ 582 h 1086"/>
                    <a:gd name="T16" fmla="*/ 1134 w 1320"/>
                    <a:gd name="T17" fmla="*/ 690 h 1086"/>
                    <a:gd name="T18" fmla="*/ 966 w 1320"/>
                    <a:gd name="T19" fmla="*/ 756 h 1086"/>
                    <a:gd name="T20" fmla="*/ 882 w 1320"/>
                    <a:gd name="T21" fmla="*/ 816 h 1086"/>
                    <a:gd name="T22" fmla="*/ 804 w 1320"/>
                    <a:gd name="T23" fmla="*/ 822 h 1086"/>
                    <a:gd name="T24" fmla="*/ 750 w 1320"/>
                    <a:gd name="T25" fmla="*/ 864 h 1086"/>
                    <a:gd name="T26" fmla="*/ 744 w 1320"/>
                    <a:gd name="T27" fmla="*/ 888 h 1086"/>
                    <a:gd name="T28" fmla="*/ 750 w 1320"/>
                    <a:gd name="T29" fmla="*/ 906 h 1086"/>
                    <a:gd name="T30" fmla="*/ 756 w 1320"/>
                    <a:gd name="T31" fmla="*/ 924 h 1086"/>
                    <a:gd name="T32" fmla="*/ 750 w 1320"/>
                    <a:gd name="T33" fmla="*/ 942 h 1086"/>
                    <a:gd name="T34" fmla="*/ 624 w 1320"/>
                    <a:gd name="T35" fmla="*/ 1032 h 1086"/>
                    <a:gd name="T36" fmla="*/ 564 w 1320"/>
                    <a:gd name="T37" fmla="*/ 1068 h 1086"/>
                    <a:gd name="T38" fmla="*/ 486 w 1320"/>
                    <a:gd name="T39" fmla="*/ 1086 h 1086"/>
                    <a:gd name="T40" fmla="*/ 402 w 1320"/>
                    <a:gd name="T41" fmla="*/ 1068 h 1086"/>
                    <a:gd name="T42" fmla="*/ 336 w 1320"/>
                    <a:gd name="T43" fmla="*/ 1050 h 1086"/>
                    <a:gd name="T44" fmla="*/ 204 w 1320"/>
                    <a:gd name="T45" fmla="*/ 1038 h 1086"/>
                    <a:gd name="T46" fmla="*/ 84 w 1320"/>
                    <a:gd name="T47" fmla="*/ 1002 h 1086"/>
                    <a:gd name="T48" fmla="*/ 0 w 1320"/>
                    <a:gd name="T49" fmla="*/ 894 h 1086"/>
                    <a:gd name="T50" fmla="*/ 228 w 1320"/>
                    <a:gd name="T51" fmla="*/ 516 h 1086"/>
                    <a:gd name="T52" fmla="*/ 258 w 1320"/>
                    <a:gd name="T53" fmla="*/ 318 h 1086"/>
                    <a:gd name="T54" fmla="*/ 426 w 1320"/>
                    <a:gd name="T55" fmla="*/ 372 h 1086"/>
                    <a:gd name="T56" fmla="*/ 606 w 1320"/>
                    <a:gd name="T57" fmla="*/ 408 h 1086"/>
                    <a:gd name="T58" fmla="*/ 756 w 1320"/>
                    <a:gd name="T59" fmla="*/ 516 h 1086"/>
                    <a:gd name="T60" fmla="*/ 906 w 1320"/>
                    <a:gd name="T61" fmla="*/ 558 h 1086"/>
                    <a:gd name="T62" fmla="*/ 894 w 1320"/>
                    <a:gd name="T63" fmla="*/ 420 h 1086"/>
                    <a:gd name="T64" fmla="*/ 888 w 1320"/>
                    <a:gd name="T65" fmla="*/ 420 h 1086"/>
                    <a:gd name="T66" fmla="*/ 858 w 1320"/>
                    <a:gd name="T67" fmla="*/ 420 h 1086"/>
                    <a:gd name="T68" fmla="*/ 804 w 1320"/>
                    <a:gd name="T69" fmla="*/ 432 h 1086"/>
                    <a:gd name="T70" fmla="*/ 738 w 1320"/>
                    <a:gd name="T71" fmla="*/ 384 h 1086"/>
                    <a:gd name="T72" fmla="*/ 696 w 1320"/>
                    <a:gd name="T73" fmla="*/ 300 h 1086"/>
                    <a:gd name="T74" fmla="*/ 726 w 1320"/>
                    <a:gd name="T75" fmla="*/ 252 h 1086"/>
                    <a:gd name="T76" fmla="*/ 744 w 1320"/>
                    <a:gd name="T77" fmla="*/ 222 h 1086"/>
                    <a:gd name="T78" fmla="*/ 750 w 1320"/>
                    <a:gd name="T79" fmla="*/ 204 h 1086"/>
                    <a:gd name="T80" fmla="*/ 750 w 1320"/>
                    <a:gd name="T81" fmla="*/ 96 h 1086"/>
                    <a:gd name="T82" fmla="*/ 834 w 1320"/>
                    <a:gd name="T83" fmla="*/ 0 h 10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320" h="1086">
                      <a:moveTo>
                        <a:pt x="1242" y="120"/>
                      </a:moveTo>
                      <a:lnTo>
                        <a:pt x="1248" y="120"/>
                      </a:lnTo>
                      <a:lnTo>
                        <a:pt x="1242" y="120"/>
                      </a:lnTo>
                      <a:lnTo>
                        <a:pt x="1242" y="120"/>
                      </a:lnTo>
                      <a:close/>
                      <a:moveTo>
                        <a:pt x="834" y="0"/>
                      </a:moveTo>
                      <a:lnTo>
                        <a:pt x="966" y="0"/>
                      </a:lnTo>
                      <a:lnTo>
                        <a:pt x="1038" y="24"/>
                      </a:lnTo>
                      <a:lnTo>
                        <a:pt x="1038" y="24"/>
                      </a:lnTo>
                      <a:lnTo>
                        <a:pt x="1110" y="54"/>
                      </a:lnTo>
                      <a:lnTo>
                        <a:pt x="1182" y="120"/>
                      </a:lnTo>
                      <a:lnTo>
                        <a:pt x="1242" y="120"/>
                      </a:lnTo>
                      <a:lnTo>
                        <a:pt x="1302" y="222"/>
                      </a:lnTo>
                      <a:lnTo>
                        <a:pt x="1320" y="324"/>
                      </a:lnTo>
                      <a:lnTo>
                        <a:pt x="1320" y="426"/>
                      </a:lnTo>
                      <a:lnTo>
                        <a:pt x="1272" y="486"/>
                      </a:lnTo>
                      <a:lnTo>
                        <a:pt x="1266" y="582"/>
                      </a:lnTo>
                      <a:lnTo>
                        <a:pt x="1260" y="636"/>
                      </a:lnTo>
                      <a:lnTo>
                        <a:pt x="1134" y="690"/>
                      </a:lnTo>
                      <a:lnTo>
                        <a:pt x="1044" y="714"/>
                      </a:lnTo>
                      <a:lnTo>
                        <a:pt x="966" y="756"/>
                      </a:lnTo>
                      <a:lnTo>
                        <a:pt x="900" y="816"/>
                      </a:lnTo>
                      <a:lnTo>
                        <a:pt x="882" y="816"/>
                      </a:lnTo>
                      <a:lnTo>
                        <a:pt x="846" y="810"/>
                      </a:lnTo>
                      <a:lnTo>
                        <a:pt x="804" y="822"/>
                      </a:lnTo>
                      <a:lnTo>
                        <a:pt x="762" y="846"/>
                      </a:lnTo>
                      <a:lnTo>
                        <a:pt x="750" y="864"/>
                      </a:lnTo>
                      <a:lnTo>
                        <a:pt x="744" y="876"/>
                      </a:lnTo>
                      <a:lnTo>
                        <a:pt x="744" y="888"/>
                      </a:lnTo>
                      <a:lnTo>
                        <a:pt x="744" y="894"/>
                      </a:lnTo>
                      <a:lnTo>
                        <a:pt x="750" y="906"/>
                      </a:lnTo>
                      <a:lnTo>
                        <a:pt x="750" y="912"/>
                      </a:lnTo>
                      <a:lnTo>
                        <a:pt x="756" y="924"/>
                      </a:lnTo>
                      <a:lnTo>
                        <a:pt x="750" y="930"/>
                      </a:lnTo>
                      <a:lnTo>
                        <a:pt x="750" y="942"/>
                      </a:lnTo>
                      <a:lnTo>
                        <a:pt x="696" y="984"/>
                      </a:lnTo>
                      <a:lnTo>
                        <a:pt x="624" y="1032"/>
                      </a:lnTo>
                      <a:lnTo>
                        <a:pt x="588" y="1050"/>
                      </a:lnTo>
                      <a:lnTo>
                        <a:pt x="564" y="1068"/>
                      </a:lnTo>
                      <a:lnTo>
                        <a:pt x="534" y="1080"/>
                      </a:lnTo>
                      <a:lnTo>
                        <a:pt x="486" y="1086"/>
                      </a:lnTo>
                      <a:lnTo>
                        <a:pt x="432" y="1080"/>
                      </a:lnTo>
                      <a:lnTo>
                        <a:pt x="402" y="1068"/>
                      </a:lnTo>
                      <a:lnTo>
                        <a:pt x="372" y="1062"/>
                      </a:lnTo>
                      <a:lnTo>
                        <a:pt x="336" y="1050"/>
                      </a:lnTo>
                      <a:lnTo>
                        <a:pt x="264" y="1038"/>
                      </a:lnTo>
                      <a:lnTo>
                        <a:pt x="204" y="1038"/>
                      </a:lnTo>
                      <a:lnTo>
                        <a:pt x="144" y="1062"/>
                      </a:lnTo>
                      <a:lnTo>
                        <a:pt x="84" y="1002"/>
                      </a:lnTo>
                      <a:lnTo>
                        <a:pt x="66" y="924"/>
                      </a:lnTo>
                      <a:lnTo>
                        <a:pt x="0" y="894"/>
                      </a:lnTo>
                      <a:lnTo>
                        <a:pt x="18" y="516"/>
                      </a:lnTo>
                      <a:lnTo>
                        <a:pt x="228" y="516"/>
                      </a:lnTo>
                      <a:lnTo>
                        <a:pt x="252" y="498"/>
                      </a:lnTo>
                      <a:lnTo>
                        <a:pt x="258" y="318"/>
                      </a:lnTo>
                      <a:lnTo>
                        <a:pt x="402" y="318"/>
                      </a:lnTo>
                      <a:lnTo>
                        <a:pt x="426" y="372"/>
                      </a:lnTo>
                      <a:lnTo>
                        <a:pt x="486" y="408"/>
                      </a:lnTo>
                      <a:lnTo>
                        <a:pt x="606" y="408"/>
                      </a:lnTo>
                      <a:lnTo>
                        <a:pt x="672" y="432"/>
                      </a:lnTo>
                      <a:lnTo>
                        <a:pt x="756" y="516"/>
                      </a:lnTo>
                      <a:lnTo>
                        <a:pt x="816" y="558"/>
                      </a:lnTo>
                      <a:lnTo>
                        <a:pt x="906" y="558"/>
                      </a:lnTo>
                      <a:lnTo>
                        <a:pt x="906" y="426"/>
                      </a:lnTo>
                      <a:lnTo>
                        <a:pt x="894" y="420"/>
                      </a:lnTo>
                      <a:lnTo>
                        <a:pt x="894" y="420"/>
                      </a:lnTo>
                      <a:lnTo>
                        <a:pt x="888" y="420"/>
                      </a:lnTo>
                      <a:lnTo>
                        <a:pt x="876" y="420"/>
                      </a:lnTo>
                      <a:lnTo>
                        <a:pt x="858" y="420"/>
                      </a:lnTo>
                      <a:lnTo>
                        <a:pt x="840" y="426"/>
                      </a:lnTo>
                      <a:lnTo>
                        <a:pt x="804" y="432"/>
                      </a:lnTo>
                      <a:lnTo>
                        <a:pt x="774" y="414"/>
                      </a:lnTo>
                      <a:lnTo>
                        <a:pt x="738" y="384"/>
                      </a:lnTo>
                      <a:lnTo>
                        <a:pt x="702" y="342"/>
                      </a:lnTo>
                      <a:lnTo>
                        <a:pt x="696" y="300"/>
                      </a:lnTo>
                      <a:lnTo>
                        <a:pt x="714" y="270"/>
                      </a:lnTo>
                      <a:lnTo>
                        <a:pt x="726" y="252"/>
                      </a:lnTo>
                      <a:lnTo>
                        <a:pt x="732" y="240"/>
                      </a:lnTo>
                      <a:lnTo>
                        <a:pt x="744" y="222"/>
                      </a:lnTo>
                      <a:lnTo>
                        <a:pt x="744" y="210"/>
                      </a:lnTo>
                      <a:lnTo>
                        <a:pt x="750" y="204"/>
                      </a:lnTo>
                      <a:lnTo>
                        <a:pt x="750" y="198"/>
                      </a:lnTo>
                      <a:lnTo>
                        <a:pt x="750" y="96"/>
                      </a:lnTo>
                      <a:lnTo>
                        <a:pt x="780" y="36"/>
                      </a:lnTo>
                      <a:lnTo>
                        <a:pt x="83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09" name="Freeform 227">
                  <a:extLst>
                    <a:ext uri="{FF2B5EF4-FFF2-40B4-BE49-F238E27FC236}">
                      <a16:creationId xmlns:a16="http://schemas.microsoft.com/office/drawing/2014/main" id="{2BFFE76E-7055-4863-AA7B-E8A1ECFB3D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3" y="6528"/>
                  <a:ext cx="186" cy="198"/>
                </a:xfrm>
                <a:custGeom>
                  <a:avLst/>
                  <a:gdLst>
                    <a:gd name="T0" fmla="*/ 114 w 186"/>
                    <a:gd name="T1" fmla="*/ 0 h 198"/>
                    <a:gd name="T2" fmla="*/ 114 w 186"/>
                    <a:gd name="T3" fmla="*/ 0 h 198"/>
                    <a:gd name="T4" fmla="*/ 186 w 186"/>
                    <a:gd name="T5" fmla="*/ 42 h 198"/>
                    <a:gd name="T6" fmla="*/ 186 w 186"/>
                    <a:gd name="T7" fmla="*/ 42 h 198"/>
                    <a:gd name="T8" fmla="*/ 180 w 186"/>
                    <a:gd name="T9" fmla="*/ 48 h 198"/>
                    <a:gd name="T10" fmla="*/ 180 w 186"/>
                    <a:gd name="T11" fmla="*/ 60 h 198"/>
                    <a:gd name="T12" fmla="*/ 186 w 186"/>
                    <a:gd name="T13" fmla="*/ 66 h 198"/>
                    <a:gd name="T14" fmla="*/ 186 w 186"/>
                    <a:gd name="T15" fmla="*/ 66 h 198"/>
                    <a:gd name="T16" fmla="*/ 174 w 186"/>
                    <a:gd name="T17" fmla="*/ 108 h 198"/>
                    <a:gd name="T18" fmla="*/ 156 w 186"/>
                    <a:gd name="T19" fmla="*/ 138 h 198"/>
                    <a:gd name="T20" fmla="*/ 132 w 186"/>
                    <a:gd name="T21" fmla="*/ 174 h 198"/>
                    <a:gd name="T22" fmla="*/ 90 w 186"/>
                    <a:gd name="T23" fmla="*/ 198 h 198"/>
                    <a:gd name="T24" fmla="*/ 42 w 186"/>
                    <a:gd name="T25" fmla="*/ 192 h 198"/>
                    <a:gd name="T26" fmla="*/ 12 w 186"/>
                    <a:gd name="T27" fmla="*/ 138 h 198"/>
                    <a:gd name="T28" fmla="*/ 0 w 186"/>
                    <a:gd name="T29" fmla="*/ 60 h 198"/>
                    <a:gd name="T30" fmla="*/ 48 w 186"/>
                    <a:gd name="T31" fmla="*/ 6 h 198"/>
                    <a:gd name="T32" fmla="*/ 114 w 186"/>
                    <a:gd name="T33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86" h="198">
                      <a:moveTo>
                        <a:pt x="114" y="0"/>
                      </a:moveTo>
                      <a:lnTo>
                        <a:pt x="114" y="0"/>
                      </a:lnTo>
                      <a:lnTo>
                        <a:pt x="186" y="42"/>
                      </a:lnTo>
                      <a:lnTo>
                        <a:pt x="186" y="42"/>
                      </a:lnTo>
                      <a:lnTo>
                        <a:pt x="180" y="48"/>
                      </a:lnTo>
                      <a:lnTo>
                        <a:pt x="180" y="60"/>
                      </a:lnTo>
                      <a:lnTo>
                        <a:pt x="186" y="66"/>
                      </a:lnTo>
                      <a:lnTo>
                        <a:pt x="186" y="66"/>
                      </a:lnTo>
                      <a:lnTo>
                        <a:pt x="174" y="108"/>
                      </a:lnTo>
                      <a:lnTo>
                        <a:pt x="156" y="138"/>
                      </a:lnTo>
                      <a:lnTo>
                        <a:pt x="132" y="174"/>
                      </a:lnTo>
                      <a:lnTo>
                        <a:pt x="90" y="198"/>
                      </a:lnTo>
                      <a:lnTo>
                        <a:pt x="42" y="192"/>
                      </a:lnTo>
                      <a:lnTo>
                        <a:pt x="12" y="138"/>
                      </a:lnTo>
                      <a:lnTo>
                        <a:pt x="0" y="60"/>
                      </a:lnTo>
                      <a:lnTo>
                        <a:pt x="48" y="6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0" name="Freeform 228">
                  <a:extLst>
                    <a:ext uri="{FF2B5EF4-FFF2-40B4-BE49-F238E27FC236}">
                      <a16:creationId xmlns:a16="http://schemas.microsoft.com/office/drawing/2014/main" id="{830C1B2C-8211-4535-A496-688F5EB088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9" y="5310"/>
                  <a:ext cx="918" cy="846"/>
                </a:xfrm>
                <a:custGeom>
                  <a:avLst/>
                  <a:gdLst>
                    <a:gd name="T0" fmla="*/ 510 w 918"/>
                    <a:gd name="T1" fmla="*/ 0 h 846"/>
                    <a:gd name="T2" fmla="*/ 546 w 918"/>
                    <a:gd name="T3" fmla="*/ 6 h 846"/>
                    <a:gd name="T4" fmla="*/ 564 w 918"/>
                    <a:gd name="T5" fmla="*/ 6 h 846"/>
                    <a:gd name="T6" fmla="*/ 564 w 918"/>
                    <a:gd name="T7" fmla="*/ 6 h 846"/>
                    <a:gd name="T8" fmla="*/ 606 w 918"/>
                    <a:gd name="T9" fmla="*/ 60 h 846"/>
                    <a:gd name="T10" fmla="*/ 726 w 918"/>
                    <a:gd name="T11" fmla="*/ 72 h 846"/>
                    <a:gd name="T12" fmla="*/ 804 w 918"/>
                    <a:gd name="T13" fmla="*/ 126 h 846"/>
                    <a:gd name="T14" fmla="*/ 864 w 918"/>
                    <a:gd name="T15" fmla="*/ 144 h 846"/>
                    <a:gd name="T16" fmla="*/ 906 w 918"/>
                    <a:gd name="T17" fmla="*/ 192 h 846"/>
                    <a:gd name="T18" fmla="*/ 906 w 918"/>
                    <a:gd name="T19" fmla="*/ 300 h 846"/>
                    <a:gd name="T20" fmla="*/ 888 w 918"/>
                    <a:gd name="T21" fmla="*/ 366 h 846"/>
                    <a:gd name="T22" fmla="*/ 894 w 918"/>
                    <a:gd name="T23" fmla="*/ 462 h 846"/>
                    <a:gd name="T24" fmla="*/ 918 w 918"/>
                    <a:gd name="T25" fmla="*/ 504 h 846"/>
                    <a:gd name="T26" fmla="*/ 894 w 918"/>
                    <a:gd name="T27" fmla="*/ 564 h 846"/>
                    <a:gd name="T28" fmla="*/ 816 w 918"/>
                    <a:gd name="T29" fmla="*/ 606 h 846"/>
                    <a:gd name="T30" fmla="*/ 762 w 918"/>
                    <a:gd name="T31" fmla="*/ 738 h 846"/>
                    <a:gd name="T32" fmla="*/ 690 w 918"/>
                    <a:gd name="T33" fmla="*/ 846 h 846"/>
                    <a:gd name="T34" fmla="*/ 624 w 918"/>
                    <a:gd name="T35" fmla="*/ 828 h 846"/>
                    <a:gd name="T36" fmla="*/ 564 w 918"/>
                    <a:gd name="T37" fmla="*/ 792 h 846"/>
                    <a:gd name="T38" fmla="*/ 444 w 918"/>
                    <a:gd name="T39" fmla="*/ 762 h 846"/>
                    <a:gd name="T40" fmla="*/ 396 w 918"/>
                    <a:gd name="T41" fmla="*/ 720 h 846"/>
                    <a:gd name="T42" fmla="*/ 300 w 918"/>
                    <a:gd name="T43" fmla="*/ 708 h 846"/>
                    <a:gd name="T44" fmla="*/ 300 w 918"/>
                    <a:gd name="T45" fmla="*/ 654 h 846"/>
                    <a:gd name="T46" fmla="*/ 258 w 918"/>
                    <a:gd name="T47" fmla="*/ 594 h 846"/>
                    <a:gd name="T48" fmla="*/ 204 w 918"/>
                    <a:gd name="T49" fmla="*/ 510 h 846"/>
                    <a:gd name="T50" fmla="*/ 108 w 918"/>
                    <a:gd name="T51" fmla="*/ 420 h 846"/>
                    <a:gd name="T52" fmla="*/ 60 w 918"/>
                    <a:gd name="T53" fmla="*/ 312 h 846"/>
                    <a:gd name="T54" fmla="*/ 0 w 918"/>
                    <a:gd name="T55" fmla="*/ 240 h 846"/>
                    <a:gd name="T56" fmla="*/ 36 w 918"/>
                    <a:gd name="T57" fmla="*/ 252 h 846"/>
                    <a:gd name="T58" fmla="*/ 66 w 918"/>
                    <a:gd name="T59" fmla="*/ 258 h 846"/>
                    <a:gd name="T60" fmla="*/ 96 w 918"/>
                    <a:gd name="T61" fmla="*/ 270 h 846"/>
                    <a:gd name="T62" fmla="*/ 150 w 918"/>
                    <a:gd name="T63" fmla="*/ 276 h 846"/>
                    <a:gd name="T64" fmla="*/ 198 w 918"/>
                    <a:gd name="T65" fmla="*/ 270 h 846"/>
                    <a:gd name="T66" fmla="*/ 228 w 918"/>
                    <a:gd name="T67" fmla="*/ 258 h 846"/>
                    <a:gd name="T68" fmla="*/ 252 w 918"/>
                    <a:gd name="T69" fmla="*/ 240 h 846"/>
                    <a:gd name="T70" fmla="*/ 288 w 918"/>
                    <a:gd name="T71" fmla="*/ 222 h 846"/>
                    <a:gd name="T72" fmla="*/ 360 w 918"/>
                    <a:gd name="T73" fmla="*/ 174 h 846"/>
                    <a:gd name="T74" fmla="*/ 414 w 918"/>
                    <a:gd name="T75" fmla="*/ 132 h 846"/>
                    <a:gd name="T76" fmla="*/ 414 w 918"/>
                    <a:gd name="T77" fmla="*/ 120 h 846"/>
                    <a:gd name="T78" fmla="*/ 420 w 918"/>
                    <a:gd name="T79" fmla="*/ 114 h 846"/>
                    <a:gd name="T80" fmla="*/ 414 w 918"/>
                    <a:gd name="T81" fmla="*/ 102 h 846"/>
                    <a:gd name="T82" fmla="*/ 414 w 918"/>
                    <a:gd name="T83" fmla="*/ 96 h 846"/>
                    <a:gd name="T84" fmla="*/ 408 w 918"/>
                    <a:gd name="T85" fmla="*/ 84 h 846"/>
                    <a:gd name="T86" fmla="*/ 408 w 918"/>
                    <a:gd name="T87" fmla="*/ 78 h 846"/>
                    <a:gd name="T88" fmla="*/ 408 w 918"/>
                    <a:gd name="T89" fmla="*/ 66 h 846"/>
                    <a:gd name="T90" fmla="*/ 414 w 918"/>
                    <a:gd name="T91" fmla="*/ 54 h 846"/>
                    <a:gd name="T92" fmla="*/ 426 w 918"/>
                    <a:gd name="T93" fmla="*/ 36 h 846"/>
                    <a:gd name="T94" fmla="*/ 468 w 918"/>
                    <a:gd name="T95" fmla="*/ 12 h 846"/>
                    <a:gd name="T96" fmla="*/ 510 w 918"/>
                    <a:gd name="T97" fmla="*/ 0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918" h="846">
                      <a:moveTo>
                        <a:pt x="510" y="0"/>
                      </a:moveTo>
                      <a:lnTo>
                        <a:pt x="546" y="6"/>
                      </a:lnTo>
                      <a:lnTo>
                        <a:pt x="564" y="6"/>
                      </a:lnTo>
                      <a:lnTo>
                        <a:pt x="564" y="6"/>
                      </a:lnTo>
                      <a:lnTo>
                        <a:pt x="606" y="60"/>
                      </a:lnTo>
                      <a:lnTo>
                        <a:pt x="726" y="72"/>
                      </a:lnTo>
                      <a:lnTo>
                        <a:pt x="804" y="126"/>
                      </a:lnTo>
                      <a:lnTo>
                        <a:pt x="864" y="144"/>
                      </a:lnTo>
                      <a:lnTo>
                        <a:pt x="906" y="192"/>
                      </a:lnTo>
                      <a:lnTo>
                        <a:pt x="906" y="300"/>
                      </a:lnTo>
                      <a:lnTo>
                        <a:pt x="888" y="366"/>
                      </a:lnTo>
                      <a:lnTo>
                        <a:pt x="894" y="462"/>
                      </a:lnTo>
                      <a:lnTo>
                        <a:pt x="918" y="504"/>
                      </a:lnTo>
                      <a:lnTo>
                        <a:pt x="894" y="564"/>
                      </a:lnTo>
                      <a:lnTo>
                        <a:pt x="816" y="606"/>
                      </a:lnTo>
                      <a:lnTo>
                        <a:pt x="762" y="738"/>
                      </a:lnTo>
                      <a:lnTo>
                        <a:pt x="690" y="846"/>
                      </a:lnTo>
                      <a:lnTo>
                        <a:pt x="624" y="828"/>
                      </a:lnTo>
                      <a:lnTo>
                        <a:pt x="564" y="792"/>
                      </a:lnTo>
                      <a:lnTo>
                        <a:pt x="444" y="762"/>
                      </a:lnTo>
                      <a:lnTo>
                        <a:pt x="396" y="720"/>
                      </a:lnTo>
                      <a:lnTo>
                        <a:pt x="300" y="708"/>
                      </a:lnTo>
                      <a:lnTo>
                        <a:pt x="300" y="654"/>
                      </a:lnTo>
                      <a:lnTo>
                        <a:pt x="258" y="594"/>
                      </a:lnTo>
                      <a:lnTo>
                        <a:pt x="204" y="510"/>
                      </a:lnTo>
                      <a:lnTo>
                        <a:pt x="108" y="420"/>
                      </a:lnTo>
                      <a:lnTo>
                        <a:pt x="60" y="312"/>
                      </a:lnTo>
                      <a:lnTo>
                        <a:pt x="0" y="240"/>
                      </a:lnTo>
                      <a:lnTo>
                        <a:pt x="36" y="252"/>
                      </a:lnTo>
                      <a:lnTo>
                        <a:pt x="66" y="258"/>
                      </a:lnTo>
                      <a:lnTo>
                        <a:pt x="96" y="270"/>
                      </a:lnTo>
                      <a:lnTo>
                        <a:pt x="150" y="276"/>
                      </a:lnTo>
                      <a:lnTo>
                        <a:pt x="198" y="270"/>
                      </a:lnTo>
                      <a:lnTo>
                        <a:pt x="228" y="258"/>
                      </a:lnTo>
                      <a:lnTo>
                        <a:pt x="252" y="240"/>
                      </a:lnTo>
                      <a:lnTo>
                        <a:pt x="288" y="222"/>
                      </a:lnTo>
                      <a:lnTo>
                        <a:pt x="360" y="174"/>
                      </a:lnTo>
                      <a:lnTo>
                        <a:pt x="414" y="132"/>
                      </a:lnTo>
                      <a:lnTo>
                        <a:pt x="414" y="120"/>
                      </a:lnTo>
                      <a:lnTo>
                        <a:pt x="420" y="114"/>
                      </a:lnTo>
                      <a:lnTo>
                        <a:pt x="414" y="102"/>
                      </a:lnTo>
                      <a:lnTo>
                        <a:pt x="414" y="96"/>
                      </a:lnTo>
                      <a:lnTo>
                        <a:pt x="408" y="84"/>
                      </a:lnTo>
                      <a:lnTo>
                        <a:pt x="408" y="78"/>
                      </a:lnTo>
                      <a:lnTo>
                        <a:pt x="408" y="66"/>
                      </a:lnTo>
                      <a:lnTo>
                        <a:pt x="414" y="54"/>
                      </a:lnTo>
                      <a:lnTo>
                        <a:pt x="426" y="36"/>
                      </a:lnTo>
                      <a:lnTo>
                        <a:pt x="468" y="12"/>
                      </a:lnTo>
                      <a:lnTo>
                        <a:pt x="51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1" name="Freeform 229">
                  <a:extLst>
                    <a:ext uri="{FF2B5EF4-FFF2-40B4-BE49-F238E27FC236}">
                      <a16:creationId xmlns:a16="http://schemas.microsoft.com/office/drawing/2014/main" id="{327C1EC3-EBEA-476C-9058-B46781574B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5" y="4620"/>
                  <a:ext cx="348" cy="852"/>
                </a:xfrm>
                <a:custGeom>
                  <a:avLst/>
                  <a:gdLst>
                    <a:gd name="T0" fmla="*/ 0 w 348"/>
                    <a:gd name="T1" fmla="*/ 0 h 852"/>
                    <a:gd name="T2" fmla="*/ 6 w 348"/>
                    <a:gd name="T3" fmla="*/ 0 h 852"/>
                    <a:gd name="T4" fmla="*/ 90 w 348"/>
                    <a:gd name="T5" fmla="*/ 0 h 852"/>
                    <a:gd name="T6" fmla="*/ 138 w 348"/>
                    <a:gd name="T7" fmla="*/ 18 h 852"/>
                    <a:gd name="T8" fmla="*/ 174 w 348"/>
                    <a:gd name="T9" fmla="*/ 114 h 852"/>
                    <a:gd name="T10" fmla="*/ 198 w 348"/>
                    <a:gd name="T11" fmla="*/ 216 h 852"/>
                    <a:gd name="T12" fmla="*/ 180 w 348"/>
                    <a:gd name="T13" fmla="*/ 342 h 852"/>
                    <a:gd name="T14" fmla="*/ 192 w 348"/>
                    <a:gd name="T15" fmla="*/ 414 h 852"/>
                    <a:gd name="T16" fmla="*/ 222 w 348"/>
                    <a:gd name="T17" fmla="*/ 468 h 852"/>
                    <a:gd name="T18" fmla="*/ 252 w 348"/>
                    <a:gd name="T19" fmla="*/ 540 h 852"/>
                    <a:gd name="T20" fmla="*/ 294 w 348"/>
                    <a:gd name="T21" fmla="*/ 588 h 852"/>
                    <a:gd name="T22" fmla="*/ 348 w 348"/>
                    <a:gd name="T23" fmla="*/ 660 h 852"/>
                    <a:gd name="T24" fmla="*/ 336 w 348"/>
                    <a:gd name="T25" fmla="*/ 720 h 852"/>
                    <a:gd name="T26" fmla="*/ 294 w 348"/>
                    <a:gd name="T27" fmla="*/ 780 h 852"/>
                    <a:gd name="T28" fmla="*/ 252 w 348"/>
                    <a:gd name="T29" fmla="*/ 828 h 852"/>
                    <a:gd name="T30" fmla="*/ 210 w 348"/>
                    <a:gd name="T31" fmla="*/ 852 h 852"/>
                    <a:gd name="T32" fmla="*/ 168 w 348"/>
                    <a:gd name="T33" fmla="*/ 828 h 852"/>
                    <a:gd name="T34" fmla="*/ 144 w 348"/>
                    <a:gd name="T35" fmla="*/ 762 h 852"/>
                    <a:gd name="T36" fmla="*/ 174 w 348"/>
                    <a:gd name="T37" fmla="*/ 696 h 852"/>
                    <a:gd name="T38" fmla="*/ 168 w 348"/>
                    <a:gd name="T39" fmla="*/ 624 h 852"/>
                    <a:gd name="T40" fmla="*/ 138 w 348"/>
                    <a:gd name="T41" fmla="*/ 564 h 852"/>
                    <a:gd name="T42" fmla="*/ 90 w 348"/>
                    <a:gd name="T43" fmla="*/ 540 h 852"/>
                    <a:gd name="T44" fmla="*/ 18 w 348"/>
                    <a:gd name="T45" fmla="*/ 516 h 852"/>
                    <a:gd name="T46" fmla="*/ 24 w 348"/>
                    <a:gd name="T47" fmla="*/ 462 h 852"/>
                    <a:gd name="T48" fmla="*/ 30 w 348"/>
                    <a:gd name="T49" fmla="*/ 366 h 852"/>
                    <a:gd name="T50" fmla="*/ 78 w 348"/>
                    <a:gd name="T51" fmla="*/ 306 h 852"/>
                    <a:gd name="T52" fmla="*/ 78 w 348"/>
                    <a:gd name="T53" fmla="*/ 204 h 852"/>
                    <a:gd name="T54" fmla="*/ 60 w 348"/>
                    <a:gd name="T55" fmla="*/ 102 h 852"/>
                    <a:gd name="T56" fmla="*/ 0 w 348"/>
                    <a:gd name="T57" fmla="*/ 0 h 8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48" h="852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90" y="0"/>
                      </a:lnTo>
                      <a:lnTo>
                        <a:pt x="138" y="18"/>
                      </a:lnTo>
                      <a:lnTo>
                        <a:pt x="174" y="114"/>
                      </a:lnTo>
                      <a:lnTo>
                        <a:pt x="198" y="216"/>
                      </a:lnTo>
                      <a:lnTo>
                        <a:pt x="180" y="342"/>
                      </a:lnTo>
                      <a:lnTo>
                        <a:pt x="192" y="414"/>
                      </a:lnTo>
                      <a:lnTo>
                        <a:pt x="222" y="468"/>
                      </a:lnTo>
                      <a:lnTo>
                        <a:pt x="252" y="540"/>
                      </a:lnTo>
                      <a:lnTo>
                        <a:pt x="294" y="588"/>
                      </a:lnTo>
                      <a:lnTo>
                        <a:pt x="348" y="660"/>
                      </a:lnTo>
                      <a:lnTo>
                        <a:pt x="336" y="720"/>
                      </a:lnTo>
                      <a:lnTo>
                        <a:pt x="294" y="780"/>
                      </a:lnTo>
                      <a:lnTo>
                        <a:pt x="252" y="828"/>
                      </a:lnTo>
                      <a:lnTo>
                        <a:pt x="210" y="852"/>
                      </a:lnTo>
                      <a:lnTo>
                        <a:pt x="168" y="828"/>
                      </a:lnTo>
                      <a:lnTo>
                        <a:pt x="144" y="762"/>
                      </a:lnTo>
                      <a:lnTo>
                        <a:pt x="174" y="696"/>
                      </a:lnTo>
                      <a:lnTo>
                        <a:pt x="168" y="624"/>
                      </a:lnTo>
                      <a:lnTo>
                        <a:pt x="138" y="564"/>
                      </a:lnTo>
                      <a:lnTo>
                        <a:pt x="90" y="540"/>
                      </a:lnTo>
                      <a:lnTo>
                        <a:pt x="18" y="516"/>
                      </a:lnTo>
                      <a:lnTo>
                        <a:pt x="24" y="462"/>
                      </a:lnTo>
                      <a:lnTo>
                        <a:pt x="30" y="366"/>
                      </a:lnTo>
                      <a:lnTo>
                        <a:pt x="78" y="306"/>
                      </a:lnTo>
                      <a:lnTo>
                        <a:pt x="78" y="204"/>
                      </a:lnTo>
                      <a:lnTo>
                        <a:pt x="60" y="10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2" name="Freeform 230">
                  <a:extLst>
                    <a:ext uri="{FF2B5EF4-FFF2-40B4-BE49-F238E27FC236}">
                      <a16:creationId xmlns:a16="http://schemas.microsoft.com/office/drawing/2014/main" id="{C9BFD3E3-175C-46FD-BBFB-9F3AF0A8133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63" y="4764"/>
                  <a:ext cx="1230" cy="1806"/>
                </a:xfrm>
                <a:custGeom>
                  <a:avLst/>
                  <a:gdLst>
                    <a:gd name="T0" fmla="*/ 216 w 1230"/>
                    <a:gd name="T1" fmla="*/ 1806 h 1806"/>
                    <a:gd name="T2" fmla="*/ 216 w 1230"/>
                    <a:gd name="T3" fmla="*/ 1806 h 1806"/>
                    <a:gd name="T4" fmla="*/ 1224 w 1230"/>
                    <a:gd name="T5" fmla="*/ 12 h 1806"/>
                    <a:gd name="T6" fmla="*/ 1230 w 1230"/>
                    <a:gd name="T7" fmla="*/ 66 h 1806"/>
                    <a:gd name="T8" fmla="*/ 1206 w 1230"/>
                    <a:gd name="T9" fmla="*/ 168 h 1806"/>
                    <a:gd name="T10" fmla="*/ 1218 w 1230"/>
                    <a:gd name="T11" fmla="*/ 240 h 1806"/>
                    <a:gd name="T12" fmla="*/ 1212 w 1230"/>
                    <a:gd name="T13" fmla="*/ 276 h 1806"/>
                    <a:gd name="T14" fmla="*/ 1206 w 1230"/>
                    <a:gd name="T15" fmla="*/ 354 h 1806"/>
                    <a:gd name="T16" fmla="*/ 1176 w 1230"/>
                    <a:gd name="T17" fmla="*/ 438 h 1806"/>
                    <a:gd name="T18" fmla="*/ 1212 w 1230"/>
                    <a:gd name="T19" fmla="*/ 504 h 1806"/>
                    <a:gd name="T20" fmla="*/ 1206 w 1230"/>
                    <a:gd name="T21" fmla="*/ 552 h 1806"/>
                    <a:gd name="T22" fmla="*/ 1158 w 1230"/>
                    <a:gd name="T23" fmla="*/ 618 h 1806"/>
                    <a:gd name="T24" fmla="*/ 1080 w 1230"/>
                    <a:gd name="T25" fmla="*/ 672 h 1806"/>
                    <a:gd name="T26" fmla="*/ 984 w 1230"/>
                    <a:gd name="T27" fmla="*/ 732 h 1806"/>
                    <a:gd name="T28" fmla="*/ 894 w 1230"/>
                    <a:gd name="T29" fmla="*/ 762 h 1806"/>
                    <a:gd name="T30" fmla="*/ 828 w 1230"/>
                    <a:gd name="T31" fmla="*/ 786 h 1806"/>
                    <a:gd name="T32" fmla="*/ 780 w 1230"/>
                    <a:gd name="T33" fmla="*/ 846 h 1806"/>
                    <a:gd name="T34" fmla="*/ 708 w 1230"/>
                    <a:gd name="T35" fmla="*/ 918 h 1806"/>
                    <a:gd name="T36" fmla="*/ 648 w 1230"/>
                    <a:gd name="T37" fmla="*/ 936 h 1806"/>
                    <a:gd name="T38" fmla="*/ 642 w 1230"/>
                    <a:gd name="T39" fmla="*/ 948 h 1806"/>
                    <a:gd name="T40" fmla="*/ 642 w 1230"/>
                    <a:gd name="T41" fmla="*/ 960 h 1806"/>
                    <a:gd name="T42" fmla="*/ 636 w 1230"/>
                    <a:gd name="T43" fmla="*/ 984 h 1806"/>
                    <a:gd name="T44" fmla="*/ 570 w 1230"/>
                    <a:gd name="T45" fmla="*/ 1074 h 1806"/>
                    <a:gd name="T46" fmla="*/ 504 w 1230"/>
                    <a:gd name="T47" fmla="*/ 1134 h 1806"/>
                    <a:gd name="T48" fmla="*/ 522 w 1230"/>
                    <a:gd name="T49" fmla="*/ 1218 h 1806"/>
                    <a:gd name="T50" fmla="*/ 564 w 1230"/>
                    <a:gd name="T51" fmla="*/ 1386 h 1806"/>
                    <a:gd name="T52" fmla="*/ 540 w 1230"/>
                    <a:gd name="T53" fmla="*/ 1596 h 1806"/>
                    <a:gd name="T54" fmla="*/ 462 w 1230"/>
                    <a:gd name="T55" fmla="*/ 1680 h 1806"/>
                    <a:gd name="T56" fmla="*/ 348 w 1230"/>
                    <a:gd name="T57" fmla="*/ 1740 h 1806"/>
                    <a:gd name="T58" fmla="*/ 258 w 1230"/>
                    <a:gd name="T59" fmla="*/ 1770 h 1806"/>
                    <a:gd name="T60" fmla="*/ 228 w 1230"/>
                    <a:gd name="T61" fmla="*/ 1782 h 1806"/>
                    <a:gd name="T62" fmla="*/ 216 w 1230"/>
                    <a:gd name="T63" fmla="*/ 1806 h 1806"/>
                    <a:gd name="T64" fmla="*/ 174 w 1230"/>
                    <a:gd name="T65" fmla="*/ 1692 h 1806"/>
                    <a:gd name="T66" fmla="*/ 174 w 1230"/>
                    <a:gd name="T67" fmla="*/ 1512 h 1806"/>
                    <a:gd name="T68" fmla="*/ 198 w 1230"/>
                    <a:gd name="T69" fmla="*/ 1284 h 1806"/>
                    <a:gd name="T70" fmla="*/ 330 w 1230"/>
                    <a:gd name="T71" fmla="*/ 1110 h 1806"/>
                    <a:gd name="T72" fmla="*/ 330 w 1230"/>
                    <a:gd name="T73" fmla="*/ 1008 h 1806"/>
                    <a:gd name="T74" fmla="*/ 342 w 1230"/>
                    <a:gd name="T75" fmla="*/ 846 h 1806"/>
                    <a:gd name="T76" fmla="*/ 300 w 1230"/>
                    <a:gd name="T77" fmla="*/ 690 h 1806"/>
                    <a:gd name="T78" fmla="*/ 162 w 1230"/>
                    <a:gd name="T79" fmla="*/ 618 h 1806"/>
                    <a:gd name="T80" fmla="*/ 0 w 1230"/>
                    <a:gd name="T81" fmla="*/ 552 h 1806"/>
                    <a:gd name="T82" fmla="*/ 66 w 1230"/>
                    <a:gd name="T83" fmla="*/ 492 h 1806"/>
                    <a:gd name="T84" fmla="*/ 234 w 1230"/>
                    <a:gd name="T85" fmla="*/ 426 h 1806"/>
                    <a:gd name="T86" fmla="*/ 432 w 1230"/>
                    <a:gd name="T87" fmla="*/ 396 h 1806"/>
                    <a:gd name="T88" fmla="*/ 510 w 1230"/>
                    <a:gd name="T89" fmla="*/ 480 h 1806"/>
                    <a:gd name="T90" fmla="*/ 486 w 1230"/>
                    <a:gd name="T91" fmla="*/ 618 h 1806"/>
                    <a:gd name="T92" fmla="*/ 552 w 1230"/>
                    <a:gd name="T93" fmla="*/ 708 h 1806"/>
                    <a:gd name="T94" fmla="*/ 636 w 1230"/>
                    <a:gd name="T95" fmla="*/ 636 h 1806"/>
                    <a:gd name="T96" fmla="*/ 690 w 1230"/>
                    <a:gd name="T97" fmla="*/ 516 h 1806"/>
                    <a:gd name="T98" fmla="*/ 594 w 1230"/>
                    <a:gd name="T99" fmla="*/ 396 h 1806"/>
                    <a:gd name="T100" fmla="*/ 534 w 1230"/>
                    <a:gd name="T101" fmla="*/ 270 h 1806"/>
                    <a:gd name="T102" fmla="*/ 540 w 1230"/>
                    <a:gd name="T103" fmla="*/ 72 h 1806"/>
                    <a:gd name="T104" fmla="*/ 678 w 1230"/>
                    <a:gd name="T105" fmla="*/ 78 h 1806"/>
                    <a:gd name="T106" fmla="*/ 888 w 1230"/>
                    <a:gd name="T107" fmla="*/ 108 h 1806"/>
                    <a:gd name="T108" fmla="*/ 1218 w 1230"/>
                    <a:gd name="T109" fmla="*/ 0 h 18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230" h="1806">
                      <a:moveTo>
                        <a:pt x="216" y="1806"/>
                      </a:moveTo>
                      <a:lnTo>
                        <a:pt x="216" y="1806"/>
                      </a:lnTo>
                      <a:lnTo>
                        <a:pt x="216" y="1806"/>
                      </a:lnTo>
                      <a:lnTo>
                        <a:pt x="216" y="1806"/>
                      </a:lnTo>
                      <a:close/>
                      <a:moveTo>
                        <a:pt x="1218" y="0"/>
                      </a:moveTo>
                      <a:lnTo>
                        <a:pt x="1224" y="12"/>
                      </a:lnTo>
                      <a:lnTo>
                        <a:pt x="1224" y="18"/>
                      </a:lnTo>
                      <a:lnTo>
                        <a:pt x="1230" y="66"/>
                      </a:lnTo>
                      <a:lnTo>
                        <a:pt x="1218" y="114"/>
                      </a:lnTo>
                      <a:lnTo>
                        <a:pt x="1206" y="168"/>
                      </a:lnTo>
                      <a:lnTo>
                        <a:pt x="1206" y="210"/>
                      </a:lnTo>
                      <a:lnTo>
                        <a:pt x="1218" y="240"/>
                      </a:lnTo>
                      <a:lnTo>
                        <a:pt x="1212" y="258"/>
                      </a:lnTo>
                      <a:lnTo>
                        <a:pt x="1212" y="276"/>
                      </a:lnTo>
                      <a:lnTo>
                        <a:pt x="1206" y="306"/>
                      </a:lnTo>
                      <a:lnTo>
                        <a:pt x="1206" y="354"/>
                      </a:lnTo>
                      <a:lnTo>
                        <a:pt x="1188" y="402"/>
                      </a:lnTo>
                      <a:lnTo>
                        <a:pt x="1176" y="438"/>
                      </a:lnTo>
                      <a:lnTo>
                        <a:pt x="1182" y="468"/>
                      </a:lnTo>
                      <a:lnTo>
                        <a:pt x="1212" y="504"/>
                      </a:lnTo>
                      <a:lnTo>
                        <a:pt x="1218" y="522"/>
                      </a:lnTo>
                      <a:lnTo>
                        <a:pt x="1206" y="552"/>
                      </a:lnTo>
                      <a:lnTo>
                        <a:pt x="1188" y="588"/>
                      </a:lnTo>
                      <a:lnTo>
                        <a:pt x="1158" y="618"/>
                      </a:lnTo>
                      <a:lnTo>
                        <a:pt x="1122" y="642"/>
                      </a:lnTo>
                      <a:lnTo>
                        <a:pt x="1080" y="672"/>
                      </a:lnTo>
                      <a:lnTo>
                        <a:pt x="1032" y="702"/>
                      </a:lnTo>
                      <a:lnTo>
                        <a:pt x="984" y="732"/>
                      </a:lnTo>
                      <a:lnTo>
                        <a:pt x="930" y="756"/>
                      </a:lnTo>
                      <a:lnTo>
                        <a:pt x="894" y="762"/>
                      </a:lnTo>
                      <a:lnTo>
                        <a:pt x="858" y="768"/>
                      </a:lnTo>
                      <a:lnTo>
                        <a:pt x="828" y="786"/>
                      </a:lnTo>
                      <a:lnTo>
                        <a:pt x="804" y="816"/>
                      </a:lnTo>
                      <a:lnTo>
                        <a:pt x="780" y="846"/>
                      </a:lnTo>
                      <a:lnTo>
                        <a:pt x="750" y="882"/>
                      </a:lnTo>
                      <a:lnTo>
                        <a:pt x="708" y="918"/>
                      </a:lnTo>
                      <a:lnTo>
                        <a:pt x="666" y="936"/>
                      </a:lnTo>
                      <a:lnTo>
                        <a:pt x="648" y="936"/>
                      </a:lnTo>
                      <a:lnTo>
                        <a:pt x="642" y="942"/>
                      </a:lnTo>
                      <a:lnTo>
                        <a:pt x="642" y="948"/>
                      </a:lnTo>
                      <a:lnTo>
                        <a:pt x="642" y="954"/>
                      </a:lnTo>
                      <a:lnTo>
                        <a:pt x="642" y="960"/>
                      </a:lnTo>
                      <a:lnTo>
                        <a:pt x="642" y="972"/>
                      </a:lnTo>
                      <a:lnTo>
                        <a:pt x="636" y="984"/>
                      </a:lnTo>
                      <a:lnTo>
                        <a:pt x="612" y="1026"/>
                      </a:lnTo>
                      <a:lnTo>
                        <a:pt x="570" y="1074"/>
                      </a:lnTo>
                      <a:lnTo>
                        <a:pt x="528" y="1110"/>
                      </a:lnTo>
                      <a:lnTo>
                        <a:pt x="504" y="1134"/>
                      </a:lnTo>
                      <a:lnTo>
                        <a:pt x="510" y="1170"/>
                      </a:lnTo>
                      <a:lnTo>
                        <a:pt x="522" y="1218"/>
                      </a:lnTo>
                      <a:lnTo>
                        <a:pt x="546" y="1284"/>
                      </a:lnTo>
                      <a:lnTo>
                        <a:pt x="564" y="1386"/>
                      </a:lnTo>
                      <a:lnTo>
                        <a:pt x="558" y="1488"/>
                      </a:lnTo>
                      <a:lnTo>
                        <a:pt x="540" y="1596"/>
                      </a:lnTo>
                      <a:lnTo>
                        <a:pt x="510" y="1644"/>
                      </a:lnTo>
                      <a:lnTo>
                        <a:pt x="462" y="1680"/>
                      </a:lnTo>
                      <a:lnTo>
                        <a:pt x="408" y="1716"/>
                      </a:lnTo>
                      <a:lnTo>
                        <a:pt x="348" y="1740"/>
                      </a:lnTo>
                      <a:lnTo>
                        <a:pt x="294" y="1758"/>
                      </a:lnTo>
                      <a:lnTo>
                        <a:pt x="258" y="1770"/>
                      </a:lnTo>
                      <a:lnTo>
                        <a:pt x="240" y="1776"/>
                      </a:lnTo>
                      <a:lnTo>
                        <a:pt x="228" y="1782"/>
                      </a:lnTo>
                      <a:lnTo>
                        <a:pt x="216" y="1794"/>
                      </a:lnTo>
                      <a:lnTo>
                        <a:pt x="216" y="1806"/>
                      </a:lnTo>
                      <a:lnTo>
                        <a:pt x="138" y="1764"/>
                      </a:lnTo>
                      <a:lnTo>
                        <a:pt x="174" y="1692"/>
                      </a:lnTo>
                      <a:lnTo>
                        <a:pt x="192" y="1566"/>
                      </a:lnTo>
                      <a:lnTo>
                        <a:pt x="174" y="1512"/>
                      </a:lnTo>
                      <a:lnTo>
                        <a:pt x="126" y="1392"/>
                      </a:lnTo>
                      <a:lnTo>
                        <a:pt x="198" y="1284"/>
                      </a:lnTo>
                      <a:lnTo>
                        <a:pt x="252" y="1152"/>
                      </a:lnTo>
                      <a:lnTo>
                        <a:pt x="330" y="1110"/>
                      </a:lnTo>
                      <a:lnTo>
                        <a:pt x="354" y="1050"/>
                      </a:lnTo>
                      <a:lnTo>
                        <a:pt x="330" y="1008"/>
                      </a:lnTo>
                      <a:lnTo>
                        <a:pt x="324" y="912"/>
                      </a:lnTo>
                      <a:lnTo>
                        <a:pt x="342" y="846"/>
                      </a:lnTo>
                      <a:lnTo>
                        <a:pt x="342" y="738"/>
                      </a:lnTo>
                      <a:lnTo>
                        <a:pt x="300" y="690"/>
                      </a:lnTo>
                      <a:lnTo>
                        <a:pt x="240" y="672"/>
                      </a:lnTo>
                      <a:lnTo>
                        <a:pt x="162" y="618"/>
                      </a:lnTo>
                      <a:lnTo>
                        <a:pt x="42" y="606"/>
                      </a:lnTo>
                      <a:lnTo>
                        <a:pt x="0" y="552"/>
                      </a:lnTo>
                      <a:lnTo>
                        <a:pt x="0" y="552"/>
                      </a:lnTo>
                      <a:lnTo>
                        <a:pt x="66" y="492"/>
                      </a:lnTo>
                      <a:lnTo>
                        <a:pt x="144" y="450"/>
                      </a:lnTo>
                      <a:lnTo>
                        <a:pt x="234" y="426"/>
                      </a:lnTo>
                      <a:lnTo>
                        <a:pt x="360" y="372"/>
                      </a:lnTo>
                      <a:lnTo>
                        <a:pt x="432" y="396"/>
                      </a:lnTo>
                      <a:lnTo>
                        <a:pt x="480" y="420"/>
                      </a:lnTo>
                      <a:lnTo>
                        <a:pt x="510" y="480"/>
                      </a:lnTo>
                      <a:lnTo>
                        <a:pt x="516" y="552"/>
                      </a:lnTo>
                      <a:lnTo>
                        <a:pt x="486" y="618"/>
                      </a:lnTo>
                      <a:lnTo>
                        <a:pt x="510" y="684"/>
                      </a:lnTo>
                      <a:lnTo>
                        <a:pt x="552" y="708"/>
                      </a:lnTo>
                      <a:lnTo>
                        <a:pt x="594" y="684"/>
                      </a:lnTo>
                      <a:lnTo>
                        <a:pt x="636" y="636"/>
                      </a:lnTo>
                      <a:lnTo>
                        <a:pt x="678" y="576"/>
                      </a:lnTo>
                      <a:lnTo>
                        <a:pt x="690" y="516"/>
                      </a:lnTo>
                      <a:lnTo>
                        <a:pt x="636" y="444"/>
                      </a:lnTo>
                      <a:lnTo>
                        <a:pt x="594" y="396"/>
                      </a:lnTo>
                      <a:lnTo>
                        <a:pt x="564" y="324"/>
                      </a:lnTo>
                      <a:lnTo>
                        <a:pt x="534" y="270"/>
                      </a:lnTo>
                      <a:lnTo>
                        <a:pt x="522" y="198"/>
                      </a:lnTo>
                      <a:lnTo>
                        <a:pt x="540" y="72"/>
                      </a:lnTo>
                      <a:lnTo>
                        <a:pt x="612" y="96"/>
                      </a:lnTo>
                      <a:lnTo>
                        <a:pt x="678" y="78"/>
                      </a:lnTo>
                      <a:lnTo>
                        <a:pt x="756" y="108"/>
                      </a:lnTo>
                      <a:lnTo>
                        <a:pt x="888" y="108"/>
                      </a:lnTo>
                      <a:lnTo>
                        <a:pt x="1062" y="54"/>
                      </a:lnTo>
                      <a:lnTo>
                        <a:pt x="1218" y="0"/>
                      </a:lnTo>
                      <a:lnTo>
                        <a:pt x="121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3" name="Freeform 231">
                  <a:extLst>
                    <a:ext uri="{FF2B5EF4-FFF2-40B4-BE49-F238E27FC236}">
                      <a16:creationId xmlns:a16="http://schemas.microsoft.com/office/drawing/2014/main" id="{431F9C67-CDA7-40F7-89E7-674207F364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5" y="5472"/>
                  <a:ext cx="1464" cy="1416"/>
                </a:xfrm>
                <a:custGeom>
                  <a:avLst/>
                  <a:gdLst>
                    <a:gd name="T0" fmla="*/ 216 w 1464"/>
                    <a:gd name="T1" fmla="*/ 42 h 1416"/>
                    <a:gd name="T2" fmla="*/ 462 w 1464"/>
                    <a:gd name="T3" fmla="*/ 42 h 1416"/>
                    <a:gd name="T4" fmla="*/ 720 w 1464"/>
                    <a:gd name="T5" fmla="*/ 48 h 1416"/>
                    <a:gd name="T6" fmla="*/ 954 w 1464"/>
                    <a:gd name="T7" fmla="*/ 114 h 1416"/>
                    <a:gd name="T8" fmla="*/ 1146 w 1464"/>
                    <a:gd name="T9" fmla="*/ 114 h 1416"/>
                    <a:gd name="T10" fmla="*/ 1332 w 1464"/>
                    <a:gd name="T11" fmla="*/ 66 h 1416"/>
                    <a:gd name="T12" fmla="*/ 1464 w 1464"/>
                    <a:gd name="T13" fmla="*/ 78 h 1416"/>
                    <a:gd name="T14" fmla="*/ 1374 w 1464"/>
                    <a:gd name="T15" fmla="*/ 126 h 1416"/>
                    <a:gd name="T16" fmla="*/ 1284 w 1464"/>
                    <a:gd name="T17" fmla="*/ 174 h 1416"/>
                    <a:gd name="T18" fmla="*/ 1116 w 1464"/>
                    <a:gd name="T19" fmla="*/ 156 h 1416"/>
                    <a:gd name="T20" fmla="*/ 996 w 1464"/>
                    <a:gd name="T21" fmla="*/ 222 h 1416"/>
                    <a:gd name="T22" fmla="*/ 984 w 1464"/>
                    <a:gd name="T23" fmla="*/ 396 h 1416"/>
                    <a:gd name="T24" fmla="*/ 972 w 1464"/>
                    <a:gd name="T25" fmla="*/ 552 h 1416"/>
                    <a:gd name="T26" fmla="*/ 858 w 1464"/>
                    <a:gd name="T27" fmla="*/ 558 h 1416"/>
                    <a:gd name="T28" fmla="*/ 816 w 1464"/>
                    <a:gd name="T29" fmla="*/ 1404 h 1416"/>
                    <a:gd name="T30" fmla="*/ 756 w 1464"/>
                    <a:gd name="T31" fmla="*/ 1410 h 1416"/>
                    <a:gd name="T32" fmla="*/ 660 w 1464"/>
                    <a:gd name="T33" fmla="*/ 1416 h 1416"/>
                    <a:gd name="T34" fmla="*/ 576 w 1464"/>
                    <a:gd name="T35" fmla="*/ 1386 h 1416"/>
                    <a:gd name="T36" fmla="*/ 522 w 1464"/>
                    <a:gd name="T37" fmla="*/ 1332 h 1416"/>
                    <a:gd name="T38" fmla="*/ 486 w 1464"/>
                    <a:gd name="T39" fmla="*/ 1332 h 1416"/>
                    <a:gd name="T40" fmla="*/ 462 w 1464"/>
                    <a:gd name="T41" fmla="*/ 1350 h 1416"/>
                    <a:gd name="T42" fmla="*/ 444 w 1464"/>
                    <a:gd name="T43" fmla="*/ 1386 h 1416"/>
                    <a:gd name="T44" fmla="*/ 432 w 1464"/>
                    <a:gd name="T45" fmla="*/ 1368 h 1416"/>
                    <a:gd name="T46" fmla="*/ 390 w 1464"/>
                    <a:gd name="T47" fmla="*/ 1344 h 1416"/>
                    <a:gd name="T48" fmla="*/ 348 w 1464"/>
                    <a:gd name="T49" fmla="*/ 1266 h 1416"/>
                    <a:gd name="T50" fmla="*/ 342 w 1464"/>
                    <a:gd name="T51" fmla="*/ 1170 h 1416"/>
                    <a:gd name="T52" fmla="*/ 336 w 1464"/>
                    <a:gd name="T53" fmla="*/ 1074 h 1416"/>
                    <a:gd name="T54" fmla="*/ 300 w 1464"/>
                    <a:gd name="T55" fmla="*/ 930 h 1416"/>
                    <a:gd name="T56" fmla="*/ 258 w 1464"/>
                    <a:gd name="T57" fmla="*/ 792 h 1416"/>
                    <a:gd name="T58" fmla="*/ 258 w 1464"/>
                    <a:gd name="T59" fmla="*/ 666 h 1416"/>
                    <a:gd name="T60" fmla="*/ 234 w 1464"/>
                    <a:gd name="T61" fmla="*/ 546 h 1416"/>
                    <a:gd name="T62" fmla="*/ 156 w 1464"/>
                    <a:gd name="T63" fmla="*/ 456 h 1416"/>
                    <a:gd name="T64" fmla="*/ 126 w 1464"/>
                    <a:gd name="T65" fmla="*/ 348 h 1416"/>
                    <a:gd name="T66" fmla="*/ 36 w 1464"/>
                    <a:gd name="T67" fmla="*/ 216 h 1416"/>
                    <a:gd name="T68" fmla="*/ 0 w 1464"/>
                    <a:gd name="T69" fmla="*/ 144 h 1416"/>
                    <a:gd name="T70" fmla="*/ 18 w 1464"/>
                    <a:gd name="T71" fmla="*/ 96 h 1416"/>
                    <a:gd name="T72" fmla="*/ 42 w 1464"/>
                    <a:gd name="T73" fmla="*/ 66 h 1416"/>
                    <a:gd name="T74" fmla="*/ 54 w 1464"/>
                    <a:gd name="T75" fmla="*/ 42 h 1416"/>
                    <a:gd name="T76" fmla="*/ 108 w 1464"/>
                    <a:gd name="T77" fmla="*/ 6 h 1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464" h="1416">
                      <a:moveTo>
                        <a:pt x="156" y="0"/>
                      </a:moveTo>
                      <a:lnTo>
                        <a:pt x="216" y="42"/>
                      </a:lnTo>
                      <a:lnTo>
                        <a:pt x="306" y="54"/>
                      </a:lnTo>
                      <a:lnTo>
                        <a:pt x="462" y="42"/>
                      </a:lnTo>
                      <a:lnTo>
                        <a:pt x="600" y="36"/>
                      </a:lnTo>
                      <a:lnTo>
                        <a:pt x="720" y="48"/>
                      </a:lnTo>
                      <a:lnTo>
                        <a:pt x="822" y="90"/>
                      </a:lnTo>
                      <a:lnTo>
                        <a:pt x="954" y="114"/>
                      </a:lnTo>
                      <a:lnTo>
                        <a:pt x="1050" y="120"/>
                      </a:lnTo>
                      <a:lnTo>
                        <a:pt x="1146" y="114"/>
                      </a:lnTo>
                      <a:lnTo>
                        <a:pt x="1272" y="90"/>
                      </a:lnTo>
                      <a:lnTo>
                        <a:pt x="1332" y="66"/>
                      </a:lnTo>
                      <a:lnTo>
                        <a:pt x="1392" y="66"/>
                      </a:lnTo>
                      <a:lnTo>
                        <a:pt x="1464" y="78"/>
                      </a:lnTo>
                      <a:lnTo>
                        <a:pt x="1428" y="126"/>
                      </a:lnTo>
                      <a:lnTo>
                        <a:pt x="1374" y="126"/>
                      </a:lnTo>
                      <a:lnTo>
                        <a:pt x="1338" y="162"/>
                      </a:lnTo>
                      <a:lnTo>
                        <a:pt x="1284" y="174"/>
                      </a:lnTo>
                      <a:lnTo>
                        <a:pt x="1254" y="144"/>
                      </a:lnTo>
                      <a:lnTo>
                        <a:pt x="1116" y="156"/>
                      </a:lnTo>
                      <a:lnTo>
                        <a:pt x="1026" y="168"/>
                      </a:lnTo>
                      <a:lnTo>
                        <a:pt x="996" y="222"/>
                      </a:lnTo>
                      <a:lnTo>
                        <a:pt x="990" y="294"/>
                      </a:lnTo>
                      <a:lnTo>
                        <a:pt x="984" y="396"/>
                      </a:lnTo>
                      <a:lnTo>
                        <a:pt x="972" y="492"/>
                      </a:lnTo>
                      <a:lnTo>
                        <a:pt x="972" y="552"/>
                      </a:lnTo>
                      <a:lnTo>
                        <a:pt x="936" y="570"/>
                      </a:lnTo>
                      <a:lnTo>
                        <a:pt x="858" y="558"/>
                      </a:lnTo>
                      <a:lnTo>
                        <a:pt x="840" y="894"/>
                      </a:lnTo>
                      <a:lnTo>
                        <a:pt x="816" y="1404"/>
                      </a:lnTo>
                      <a:lnTo>
                        <a:pt x="798" y="1404"/>
                      </a:lnTo>
                      <a:lnTo>
                        <a:pt x="756" y="1410"/>
                      </a:lnTo>
                      <a:lnTo>
                        <a:pt x="708" y="1416"/>
                      </a:lnTo>
                      <a:lnTo>
                        <a:pt x="660" y="1416"/>
                      </a:lnTo>
                      <a:lnTo>
                        <a:pt x="612" y="1410"/>
                      </a:lnTo>
                      <a:lnTo>
                        <a:pt x="576" y="1386"/>
                      </a:lnTo>
                      <a:lnTo>
                        <a:pt x="540" y="1344"/>
                      </a:lnTo>
                      <a:lnTo>
                        <a:pt x="522" y="1332"/>
                      </a:lnTo>
                      <a:lnTo>
                        <a:pt x="504" y="1326"/>
                      </a:lnTo>
                      <a:lnTo>
                        <a:pt x="486" y="1332"/>
                      </a:lnTo>
                      <a:lnTo>
                        <a:pt x="474" y="1338"/>
                      </a:lnTo>
                      <a:lnTo>
                        <a:pt x="462" y="1350"/>
                      </a:lnTo>
                      <a:lnTo>
                        <a:pt x="450" y="1368"/>
                      </a:lnTo>
                      <a:lnTo>
                        <a:pt x="444" y="1386"/>
                      </a:lnTo>
                      <a:lnTo>
                        <a:pt x="444" y="1380"/>
                      </a:lnTo>
                      <a:lnTo>
                        <a:pt x="432" y="1368"/>
                      </a:lnTo>
                      <a:lnTo>
                        <a:pt x="414" y="1356"/>
                      </a:lnTo>
                      <a:lnTo>
                        <a:pt x="390" y="1344"/>
                      </a:lnTo>
                      <a:lnTo>
                        <a:pt x="360" y="1308"/>
                      </a:lnTo>
                      <a:lnTo>
                        <a:pt x="348" y="1266"/>
                      </a:lnTo>
                      <a:lnTo>
                        <a:pt x="342" y="1218"/>
                      </a:lnTo>
                      <a:lnTo>
                        <a:pt x="342" y="1170"/>
                      </a:lnTo>
                      <a:lnTo>
                        <a:pt x="342" y="1134"/>
                      </a:lnTo>
                      <a:lnTo>
                        <a:pt x="336" y="1074"/>
                      </a:lnTo>
                      <a:lnTo>
                        <a:pt x="324" y="1008"/>
                      </a:lnTo>
                      <a:lnTo>
                        <a:pt x="300" y="930"/>
                      </a:lnTo>
                      <a:lnTo>
                        <a:pt x="270" y="864"/>
                      </a:lnTo>
                      <a:lnTo>
                        <a:pt x="258" y="792"/>
                      </a:lnTo>
                      <a:lnTo>
                        <a:pt x="258" y="726"/>
                      </a:lnTo>
                      <a:lnTo>
                        <a:pt x="258" y="666"/>
                      </a:lnTo>
                      <a:lnTo>
                        <a:pt x="252" y="606"/>
                      </a:lnTo>
                      <a:lnTo>
                        <a:pt x="234" y="546"/>
                      </a:lnTo>
                      <a:lnTo>
                        <a:pt x="192" y="498"/>
                      </a:lnTo>
                      <a:lnTo>
                        <a:pt x="156" y="456"/>
                      </a:lnTo>
                      <a:lnTo>
                        <a:pt x="138" y="402"/>
                      </a:lnTo>
                      <a:lnTo>
                        <a:pt x="126" y="348"/>
                      </a:lnTo>
                      <a:lnTo>
                        <a:pt x="96" y="276"/>
                      </a:lnTo>
                      <a:lnTo>
                        <a:pt x="36" y="216"/>
                      </a:lnTo>
                      <a:lnTo>
                        <a:pt x="0" y="180"/>
                      </a:lnTo>
                      <a:lnTo>
                        <a:pt x="0" y="144"/>
                      </a:lnTo>
                      <a:lnTo>
                        <a:pt x="12" y="114"/>
                      </a:lnTo>
                      <a:lnTo>
                        <a:pt x="18" y="96"/>
                      </a:lnTo>
                      <a:lnTo>
                        <a:pt x="30" y="84"/>
                      </a:lnTo>
                      <a:lnTo>
                        <a:pt x="42" y="66"/>
                      </a:lnTo>
                      <a:lnTo>
                        <a:pt x="48" y="54"/>
                      </a:lnTo>
                      <a:lnTo>
                        <a:pt x="54" y="42"/>
                      </a:lnTo>
                      <a:lnTo>
                        <a:pt x="54" y="42"/>
                      </a:lnTo>
                      <a:lnTo>
                        <a:pt x="108" y="6"/>
                      </a:lnTo>
                      <a:lnTo>
                        <a:pt x="15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4" name="Freeform 232">
                  <a:extLst>
                    <a:ext uri="{FF2B5EF4-FFF2-40B4-BE49-F238E27FC236}">
                      <a16:creationId xmlns:a16="http://schemas.microsoft.com/office/drawing/2014/main" id="{CD0E59EE-F22D-465A-BB26-04690389B7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9" y="5550"/>
                  <a:ext cx="1074" cy="1128"/>
                </a:xfrm>
                <a:custGeom>
                  <a:avLst/>
                  <a:gdLst>
                    <a:gd name="T0" fmla="*/ 630 w 1074"/>
                    <a:gd name="T1" fmla="*/ 0 h 1128"/>
                    <a:gd name="T2" fmla="*/ 690 w 1074"/>
                    <a:gd name="T3" fmla="*/ 72 h 1128"/>
                    <a:gd name="T4" fmla="*/ 738 w 1074"/>
                    <a:gd name="T5" fmla="*/ 180 h 1128"/>
                    <a:gd name="T6" fmla="*/ 834 w 1074"/>
                    <a:gd name="T7" fmla="*/ 270 h 1128"/>
                    <a:gd name="T8" fmla="*/ 888 w 1074"/>
                    <a:gd name="T9" fmla="*/ 354 h 1128"/>
                    <a:gd name="T10" fmla="*/ 930 w 1074"/>
                    <a:gd name="T11" fmla="*/ 414 h 1128"/>
                    <a:gd name="T12" fmla="*/ 930 w 1074"/>
                    <a:gd name="T13" fmla="*/ 468 h 1128"/>
                    <a:gd name="T14" fmla="*/ 1026 w 1074"/>
                    <a:gd name="T15" fmla="*/ 480 h 1128"/>
                    <a:gd name="T16" fmla="*/ 1074 w 1074"/>
                    <a:gd name="T17" fmla="*/ 522 h 1128"/>
                    <a:gd name="T18" fmla="*/ 1038 w 1074"/>
                    <a:gd name="T19" fmla="*/ 588 h 1128"/>
                    <a:gd name="T20" fmla="*/ 990 w 1074"/>
                    <a:gd name="T21" fmla="*/ 588 h 1128"/>
                    <a:gd name="T22" fmla="*/ 924 w 1074"/>
                    <a:gd name="T23" fmla="*/ 642 h 1128"/>
                    <a:gd name="T24" fmla="*/ 870 w 1074"/>
                    <a:gd name="T25" fmla="*/ 702 h 1128"/>
                    <a:gd name="T26" fmla="*/ 798 w 1074"/>
                    <a:gd name="T27" fmla="*/ 774 h 1128"/>
                    <a:gd name="T28" fmla="*/ 750 w 1074"/>
                    <a:gd name="T29" fmla="*/ 834 h 1128"/>
                    <a:gd name="T30" fmla="*/ 720 w 1074"/>
                    <a:gd name="T31" fmla="*/ 816 h 1128"/>
                    <a:gd name="T32" fmla="*/ 672 w 1074"/>
                    <a:gd name="T33" fmla="*/ 876 h 1128"/>
                    <a:gd name="T34" fmla="*/ 684 w 1074"/>
                    <a:gd name="T35" fmla="*/ 936 h 1128"/>
                    <a:gd name="T36" fmla="*/ 642 w 1074"/>
                    <a:gd name="T37" fmla="*/ 978 h 1128"/>
                    <a:gd name="T38" fmla="*/ 570 w 1074"/>
                    <a:gd name="T39" fmla="*/ 972 h 1128"/>
                    <a:gd name="T40" fmla="*/ 456 w 1074"/>
                    <a:gd name="T41" fmla="*/ 978 h 1128"/>
                    <a:gd name="T42" fmla="*/ 414 w 1074"/>
                    <a:gd name="T43" fmla="*/ 918 h 1128"/>
                    <a:gd name="T44" fmla="*/ 348 w 1074"/>
                    <a:gd name="T45" fmla="*/ 990 h 1128"/>
                    <a:gd name="T46" fmla="*/ 294 w 1074"/>
                    <a:gd name="T47" fmla="*/ 1050 h 1128"/>
                    <a:gd name="T48" fmla="*/ 240 w 1074"/>
                    <a:gd name="T49" fmla="*/ 1128 h 1128"/>
                    <a:gd name="T50" fmla="*/ 162 w 1074"/>
                    <a:gd name="T51" fmla="*/ 1128 h 1128"/>
                    <a:gd name="T52" fmla="*/ 114 w 1074"/>
                    <a:gd name="T53" fmla="*/ 1098 h 1128"/>
                    <a:gd name="T54" fmla="*/ 120 w 1074"/>
                    <a:gd name="T55" fmla="*/ 978 h 1128"/>
                    <a:gd name="T56" fmla="*/ 108 w 1074"/>
                    <a:gd name="T57" fmla="*/ 888 h 1128"/>
                    <a:gd name="T58" fmla="*/ 0 w 1074"/>
                    <a:gd name="T59" fmla="*/ 822 h 1128"/>
                    <a:gd name="T60" fmla="*/ 6 w 1074"/>
                    <a:gd name="T61" fmla="*/ 816 h 1128"/>
                    <a:gd name="T62" fmla="*/ 24 w 1074"/>
                    <a:gd name="T63" fmla="*/ 480 h 1128"/>
                    <a:gd name="T64" fmla="*/ 102 w 1074"/>
                    <a:gd name="T65" fmla="*/ 492 h 1128"/>
                    <a:gd name="T66" fmla="*/ 138 w 1074"/>
                    <a:gd name="T67" fmla="*/ 474 h 1128"/>
                    <a:gd name="T68" fmla="*/ 138 w 1074"/>
                    <a:gd name="T69" fmla="*/ 414 h 1128"/>
                    <a:gd name="T70" fmla="*/ 150 w 1074"/>
                    <a:gd name="T71" fmla="*/ 318 h 1128"/>
                    <a:gd name="T72" fmla="*/ 156 w 1074"/>
                    <a:gd name="T73" fmla="*/ 216 h 1128"/>
                    <a:gd name="T74" fmla="*/ 162 w 1074"/>
                    <a:gd name="T75" fmla="*/ 144 h 1128"/>
                    <a:gd name="T76" fmla="*/ 192 w 1074"/>
                    <a:gd name="T77" fmla="*/ 90 h 1128"/>
                    <a:gd name="T78" fmla="*/ 282 w 1074"/>
                    <a:gd name="T79" fmla="*/ 78 h 1128"/>
                    <a:gd name="T80" fmla="*/ 420 w 1074"/>
                    <a:gd name="T81" fmla="*/ 66 h 1128"/>
                    <a:gd name="T82" fmla="*/ 450 w 1074"/>
                    <a:gd name="T83" fmla="*/ 96 h 1128"/>
                    <a:gd name="T84" fmla="*/ 504 w 1074"/>
                    <a:gd name="T85" fmla="*/ 84 h 1128"/>
                    <a:gd name="T86" fmla="*/ 540 w 1074"/>
                    <a:gd name="T87" fmla="*/ 48 h 1128"/>
                    <a:gd name="T88" fmla="*/ 594 w 1074"/>
                    <a:gd name="T89" fmla="*/ 48 h 1128"/>
                    <a:gd name="T90" fmla="*/ 630 w 1074"/>
                    <a:gd name="T91" fmla="*/ 0 h 1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74" h="1128">
                      <a:moveTo>
                        <a:pt x="630" y="0"/>
                      </a:moveTo>
                      <a:lnTo>
                        <a:pt x="690" y="72"/>
                      </a:lnTo>
                      <a:lnTo>
                        <a:pt x="738" y="180"/>
                      </a:lnTo>
                      <a:lnTo>
                        <a:pt x="834" y="270"/>
                      </a:lnTo>
                      <a:lnTo>
                        <a:pt x="888" y="354"/>
                      </a:lnTo>
                      <a:lnTo>
                        <a:pt x="930" y="414"/>
                      </a:lnTo>
                      <a:lnTo>
                        <a:pt x="930" y="468"/>
                      </a:lnTo>
                      <a:lnTo>
                        <a:pt x="1026" y="480"/>
                      </a:lnTo>
                      <a:lnTo>
                        <a:pt x="1074" y="522"/>
                      </a:lnTo>
                      <a:lnTo>
                        <a:pt x="1038" y="588"/>
                      </a:lnTo>
                      <a:lnTo>
                        <a:pt x="990" y="588"/>
                      </a:lnTo>
                      <a:lnTo>
                        <a:pt x="924" y="642"/>
                      </a:lnTo>
                      <a:lnTo>
                        <a:pt x="870" y="702"/>
                      </a:lnTo>
                      <a:lnTo>
                        <a:pt x="798" y="774"/>
                      </a:lnTo>
                      <a:lnTo>
                        <a:pt x="750" y="834"/>
                      </a:lnTo>
                      <a:lnTo>
                        <a:pt x="720" y="816"/>
                      </a:lnTo>
                      <a:lnTo>
                        <a:pt x="672" y="876"/>
                      </a:lnTo>
                      <a:lnTo>
                        <a:pt x="684" y="936"/>
                      </a:lnTo>
                      <a:lnTo>
                        <a:pt x="642" y="978"/>
                      </a:lnTo>
                      <a:lnTo>
                        <a:pt x="570" y="972"/>
                      </a:lnTo>
                      <a:lnTo>
                        <a:pt x="456" y="978"/>
                      </a:lnTo>
                      <a:lnTo>
                        <a:pt x="414" y="918"/>
                      </a:lnTo>
                      <a:lnTo>
                        <a:pt x="348" y="990"/>
                      </a:lnTo>
                      <a:lnTo>
                        <a:pt x="294" y="1050"/>
                      </a:lnTo>
                      <a:lnTo>
                        <a:pt x="240" y="1128"/>
                      </a:lnTo>
                      <a:lnTo>
                        <a:pt x="162" y="1128"/>
                      </a:lnTo>
                      <a:lnTo>
                        <a:pt x="114" y="1098"/>
                      </a:lnTo>
                      <a:lnTo>
                        <a:pt x="120" y="978"/>
                      </a:lnTo>
                      <a:lnTo>
                        <a:pt x="108" y="888"/>
                      </a:lnTo>
                      <a:lnTo>
                        <a:pt x="0" y="822"/>
                      </a:lnTo>
                      <a:lnTo>
                        <a:pt x="6" y="816"/>
                      </a:lnTo>
                      <a:lnTo>
                        <a:pt x="24" y="480"/>
                      </a:lnTo>
                      <a:lnTo>
                        <a:pt x="102" y="492"/>
                      </a:lnTo>
                      <a:lnTo>
                        <a:pt x="138" y="474"/>
                      </a:lnTo>
                      <a:lnTo>
                        <a:pt x="138" y="414"/>
                      </a:lnTo>
                      <a:lnTo>
                        <a:pt x="150" y="318"/>
                      </a:lnTo>
                      <a:lnTo>
                        <a:pt x="156" y="216"/>
                      </a:lnTo>
                      <a:lnTo>
                        <a:pt x="162" y="144"/>
                      </a:lnTo>
                      <a:lnTo>
                        <a:pt x="192" y="90"/>
                      </a:lnTo>
                      <a:lnTo>
                        <a:pt x="282" y="78"/>
                      </a:lnTo>
                      <a:lnTo>
                        <a:pt x="420" y="66"/>
                      </a:lnTo>
                      <a:lnTo>
                        <a:pt x="450" y="96"/>
                      </a:lnTo>
                      <a:lnTo>
                        <a:pt x="504" y="84"/>
                      </a:lnTo>
                      <a:lnTo>
                        <a:pt x="540" y="48"/>
                      </a:lnTo>
                      <a:lnTo>
                        <a:pt x="594" y="4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5" name="Freeform 233">
                  <a:extLst>
                    <a:ext uri="{FF2B5EF4-FFF2-40B4-BE49-F238E27FC236}">
                      <a16:creationId xmlns:a16="http://schemas.microsoft.com/office/drawing/2014/main" id="{6285009B-CACF-46E7-BFC0-27807D5B33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5" y="6858"/>
                  <a:ext cx="240" cy="252"/>
                </a:xfrm>
                <a:custGeom>
                  <a:avLst/>
                  <a:gdLst>
                    <a:gd name="T0" fmla="*/ 162 w 240"/>
                    <a:gd name="T1" fmla="*/ 0 h 252"/>
                    <a:gd name="T2" fmla="*/ 210 w 240"/>
                    <a:gd name="T3" fmla="*/ 36 h 252"/>
                    <a:gd name="T4" fmla="*/ 240 w 240"/>
                    <a:gd name="T5" fmla="*/ 78 h 252"/>
                    <a:gd name="T6" fmla="*/ 234 w 240"/>
                    <a:gd name="T7" fmla="*/ 126 h 252"/>
                    <a:gd name="T8" fmla="*/ 216 w 240"/>
                    <a:gd name="T9" fmla="*/ 180 h 252"/>
                    <a:gd name="T10" fmla="*/ 168 w 240"/>
                    <a:gd name="T11" fmla="*/ 210 h 252"/>
                    <a:gd name="T12" fmla="*/ 126 w 240"/>
                    <a:gd name="T13" fmla="*/ 240 h 252"/>
                    <a:gd name="T14" fmla="*/ 90 w 240"/>
                    <a:gd name="T15" fmla="*/ 252 h 252"/>
                    <a:gd name="T16" fmla="*/ 48 w 240"/>
                    <a:gd name="T17" fmla="*/ 234 h 252"/>
                    <a:gd name="T18" fmla="*/ 12 w 240"/>
                    <a:gd name="T19" fmla="*/ 186 h 252"/>
                    <a:gd name="T20" fmla="*/ 0 w 240"/>
                    <a:gd name="T21" fmla="*/ 156 h 252"/>
                    <a:gd name="T22" fmla="*/ 12 w 240"/>
                    <a:gd name="T23" fmla="*/ 114 h 252"/>
                    <a:gd name="T24" fmla="*/ 48 w 240"/>
                    <a:gd name="T25" fmla="*/ 72 h 252"/>
                    <a:gd name="T26" fmla="*/ 120 w 240"/>
                    <a:gd name="T27" fmla="*/ 18 h 252"/>
                    <a:gd name="T28" fmla="*/ 162 w 240"/>
                    <a:gd name="T29" fmla="*/ 0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0" h="252">
                      <a:moveTo>
                        <a:pt x="162" y="0"/>
                      </a:moveTo>
                      <a:lnTo>
                        <a:pt x="210" y="36"/>
                      </a:lnTo>
                      <a:lnTo>
                        <a:pt x="240" y="78"/>
                      </a:lnTo>
                      <a:lnTo>
                        <a:pt x="234" y="126"/>
                      </a:lnTo>
                      <a:lnTo>
                        <a:pt x="216" y="180"/>
                      </a:lnTo>
                      <a:lnTo>
                        <a:pt x="168" y="210"/>
                      </a:lnTo>
                      <a:lnTo>
                        <a:pt x="126" y="240"/>
                      </a:lnTo>
                      <a:lnTo>
                        <a:pt x="90" y="252"/>
                      </a:lnTo>
                      <a:lnTo>
                        <a:pt x="48" y="234"/>
                      </a:lnTo>
                      <a:lnTo>
                        <a:pt x="12" y="186"/>
                      </a:lnTo>
                      <a:lnTo>
                        <a:pt x="0" y="156"/>
                      </a:lnTo>
                      <a:lnTo>
                        <a:pt x="12" y="114"/>
                      </a:lnTo>
                      <a:lnTo>
                        <a:pt x="48" y="72"/>
                      </a:lnTo>
                      <a:lnTo>
                        <a:pt x="120" y="18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6" name="Freeform 235">
                  <a:extLst>
                    <a:ext uri="{FF2B5EF4-FFF2-40B4-BE49-F238E27FC236}">
                      <a16:creationId xmlns:a16="http://schemas.microsoft.com/office/drawing/2014/main" id="{A4C82FF0-FB0C-4206-ACFE-45BE9E909D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7" y="4902"/>
                  <a:ext cx="888" cy="1626"/>
                </a:xfrm>
                <a:custGeom>
                  <a:avLst/>
                  <a:gdLst>
                    <a:gd name="T0" fmla="*/ 774 w 888"/>
                    <a:gd name="T1" fmla="*/ 6 h 1626"/>
                    <a:gd name="T2" fmla="*/ 774 w 888"/>
                    <a:gd name="T3" fmla="*/ 36 h 1626"/>
                    <a:gd name="T4" fmla="*/ 792 w 888"/>
                    <a:gd name="T5" fmla="*/ 102 h 1626"/>
                    <a:gd name="T6" fmla="*/ 822 w 888"/>
                    <a:gd name="T7" fmla="*/ 180 h 1626"/>
                    <a:gd name="T8" fmla="*/ 864 w 888"/>
                    <a:gd name="T9" fmla="*/ 258 h 1626"/>
                    <a:gd name="T10" fmla="*/ 876 w 888"/>
                    <a:gd name="T11" fmla="*/ 396 h 1626"/>
                    <a:gd name="T12" fmla="*/ 882 w 888"/>
                    <a:gd name="T13" fmla="*/ 444 h 1626"/>
                    <a:gd name="T14" fmla="*/ 876 w 888"/>
                    <a:gd name="T15" fmla="*/ 474 h 1626"/>
                    <a:gd name="T16" fmla="*/ 840 w 888"/>
                    <a:gd name="T17" fmla="*/ 474 h 1626"/>
                    <a:gd name="T18" fmla="*/ 798 w 888"/>
                    <a:gd name="T19" fmla="*/ 504 h 1626"/>
                    <a:gd name="T20" fmla="*/ 738 w 888"/>
                    <a:gd name="T21" fmla="*/ 642 h 1626"/>
                    <a:gd name="T22" fmla="*/ 714 w 888"/>
                    <a:gd name="T23" fmla="*/ 804 h 1626"/>
                    <a:gd name="T24" fmla="*/ 648 w 888"/>
                    <a:gd name="T25" fmla="*/ 972 h 1626"/>
                    <a:gd name="T26" fmla="*/ 564 w 888"/>
                    <a:gd name="T27" fmla="*/ 1134 h 1626"/>
                    <a:gd name="T28" fmla="*/ 486 w 888"/>
                    <a:gd name="T29" fmla="*/ 1296 h 1626"/>
                    <a:gd name="T30" fmla="*/ 444 w 888"/>
                    <a:gd name="T31" fmla="*/ 1434 h 1626"/>
                    <a:gd name="T32" fmla="*/ 366 w 888"/>
                    <a:gd name="T33" fmla="*/ 1572 h 1626"/>
                    <a:gd name="T34" fmla="*/ 312 w 888"/>
                    <a:gd name="T35" fmla="*/ 1614 h 1626"/>
                    <a:gd name="T36" fmla="*/ 276 w 888"/>
                    <a:gd name="T37" fmla="*/ 1608 h 1626"/>
                    <a:gd name="T38" fmla="*/ 222 w 888"/>
                    <a:gd name="T39" fmla="*/ 1620 h 1626"/>
                    <a:gd name="T40" fmla="*/ 102 w 888"/>
                    <a:gd name="T41" fmla="*/ 1608 h 1626"/>
                    <a:gd name="T42" fmla="*/ 66 w 888"/>
                    <a:gd name="T43" fmla="*/ 1500 h 1626"/>
                    <a:gd name="T44" fmla="*/ 60 w 888"/>
                    <a:gd name="T45" fmla="*/ 1464 h 1626"/>
                    <a:gd name="T46" fmla="*/ 30 w 888"/>
                    <a:gd name="T47" fmla="*/ 1404 h 1626"/>
                    <a:gd name="T48" fmla="*/ 0 w 888"/>
                    <a:gd name="T49" fmla="*/ 1212 h 1626"/>
                    <a:gd name="T50" fmla="*/ 66 w 888"/>
                    <a:gd name="T51" fmla="*/ 1074 h 1626"/>
                    <a:gd name="T52" fmla="*/ 150 w 888"/>
                    <a:gd name="T53" fmla="*/ 972 h 1626"/>
                    <a:gd name="T54" fmla="*/ 144 w 888"/>
                    <a:gd name="T55" fmla="*/ 906 h 1626"/>
                    <a:gd name="T56" fmla="*/ 120 w 888"/>
                    <a:gd name="T57" fmla="*/ 726 h 1626"/>
                    <a:gd name="T58" fmla="*/ 150 w 888"/>
                    <a:gd name="T59" fmla="*/ 594 h 1626"/>
                    <a:gd name="T60" fmla="*/ 180 w 888"/>
                    <a:gd name="T61" fmla="*/ 558 h 1626"/>
                    <a:gd name="T62" fmla="*/ 186 w 888"/>
                    <a:gd name="T63" fmla="*/ 522 h 1626"/>
                    <a:gd name="T64" fmla="*/ 210 w 888"/>
                    <a:gd name="T65" fmla="*/ 492 h 1626"/>
                    <a:gd name="T66" fmla="*/ 246 w 888"/>
                    <a:gd name="T67" fmla="*/ 474 h 1626"/>
                    <a:gd name="T68" fmla="*/ 282 w 888"/>
                    <a:gd name="T69" fmla="*/ 486 h 1626"/>
                    <a:gd name="T70" fmla="*/ 318 w 888"/>
                    <a:gd name="T71" fmla="*/ 456 h 1626"/>
                    <a:gd name="T72" fmla="*/ 348 w 888"/>
                    <a:gd name="T73" fmla="*/ 444 h 1626"/>
                    <a:gd name="T74" fmla="*/ 384 w 888"/>
                    <a:gd name="T75" fmla="*/ 450 h 1626"/>
                    <a:gd name="T76" fmla="*/ 408 w 888"/>
                    <a:gd name="T77" fmla="*/ 438 h 1626"/>
                    <a:gd name="T78" fmla="*/ 444 w 888"/>
                    <a:gd name="T79" fmla="*/ 420 h 1626"/>
                    <a:gd name="T80" fmla="*/ 468 w 888"/>
                    <a:gd name="T81" fmla="*/ 384 h 1626"/>
                    <a:gd name="T82" fmla="*/ 492 w 888"/>
                    <a:gd name="T83" fmla="*/ 396 h 1626"/>
                    <a:gd name="T84" fmla="*/ 504 w 888"/>
                    <a:gd name="T85" fmla="*/ 390 h 1626"/>
                    <a:gd name="T86" fmla="*/ 516 w 888"/>
                    <a:gd name="T87" fmla="*/ 354 h 1626"/>
                    <a:gd name="T88" fmla="*/ 528 w 888"/>
                    <a:gd name="T89" fmla="*/ 318 h 1626"/>
                    <a:gd name="T90" fmla="*/ 552 w 888"/>
                    <a:gd name="T91" fmla="*/ 312 h 1626"/>
                    <a:gd name="T92" fmla="*/ 576 w 888"/>
                    <a:gd name="T93" fmla="*/ 312 h 1626"/>
                    <a:gd name="T94" fmla="*/ 582 w 888"/>
                    <a:gd name="T95" fmla="*/ 258 h 1626"/>
                    <a:gd name="T96" fmla="*/ 594 w 888"/>
                    <a:gd name="T97" fmla="*/ 204 h 1626"/>
                    <a:gd name="T98" fmla="*/ 618 w 888"/>
                    <a:gd name="T99" fmla="*/ 186 h 1626"/>
                    <a:gd name="T100" fmla="*/ 642 w 888"/>
                    <a:gd name="T101" fmla="*/ 186 h 1626"/>
                    <a:gd name="T102" fmla="*/ 660 w 888"/>
                    <a:gd name="T103" fmla="*/ 162 h 1626"/>
                    <a:gd name="T104" fmla="*/ 684 w 888"/>
                    <a:gd name="T105" fmla="*/ 138 h 1626"/>
                    <a:gd name="T106" fmla="*/ 690 w 888"/>
                    <a:gd name="T107" fmla="*/ 108 h 1626"/>
                    <a:gd name="T108" fmla="*/ 696 w 888"/>
                    <a:gd name="T109" fmla="*/ 60 h 1626"/>
                    <a:gd name="T110" fmla="*/ 738 w 888"/>
                    <a:gd name="T111" fmla="*/ 12 h 16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888" h="1626">
                      <a:moveTo>
                        <a:pt x="762" y="0"/>
                      </a:moveTo>
                      <a:lnTo>
                        <a:pt x="768" y="0"/>
                      </a:lnTo>
                      <a:lnTo>
                        <a:pt x="774" y="6"/>
                      </a:lnTo>
                      <a:lnTo>
                        <a:pt x="780" y="12"/>
                      </a:lnTo>
                      <a:lnTo>
                        <a:pt x="774" y="24"/>
                      </a:lnTo>
                      <a:lnTo>
                        <a:pt x="774" y="36"/>
                      </a:lnTo>
                      <a:lnTo>
                        <a:pt x="774" y="54"/>
                      </a:lnTo>
                      <a:lnTo>
                        <a:pt x="774" y="78"/>
                      </a:lnTo>
                      <a:lnTo>
                        <a:pt x="792" y="102"/>
                      </a:lnTo>
                      <a:lnTo>
                        <a:pt x="810" y="126"/>
                      </a:lnTo>
                      <a:lnTo>
                        <a:pt x="816" y="150"/>
                      </a:lnTo>
                      <a:lnTo>
                        <a:pt x="822" y="180"/>
                      </a:lnTo>
                      <a:lnTo>
                        <a:pt x="840" y="204"/>
                      </a:lnTo>
                      <a:lnTo>
                        <a:pt x="852" y="228"/>
                      </a:lnTo>
                      <a:lnTo>
                        <a:pt x="864" y="258"/>
                      </a:lnTo>
                      <a:lnTo>
                        <a:pt x="864" y="324"/>
                      </a:lnTo>
                      <a:lnTo>
                        <a:pt x="870" y="384"/>
                      </a:lnTo>
                      <a:lnTo>
                        <a:pt x="876" y="396"/>
                      </a:lnTo>
                      <a:lnTo>
                        <a:pt x="876" y="414"/>
                      </a:lnTo>
                      <a:lnTo>
                        <a:pt x="882" y="426"/>
                      </a:lnTo>
                      <a:lnTo>
                        <a:pt x="882" y="444"/>
                      </a:lnTo>
                      <a:lnTo>
                        <a:pt x="888" y="456"/>
                      </a:lnTo>
                      <a:lnTo>
                        <a:pt x="882" y="468"/>
                      </a:lnTo>
                      <a:lnTo>
                        <a:pt x="876" y="474"/>
                      </a:lnTo>
                      <a:lnTo>
                        <a:pt x="870" y="474"/>
                      </a:lnTo>
                      <a:lnTo>
                        <a:pt x="852" y="468"/>
                      </a:lnTo>
                      <a:lnTo>
                        <a:pt x="840" y="474"/>
                      </a:lnTo>
                      <a:lnTo>
                        <a:pt x="828" y="480"/>
                      </a:lnTo>
                      <a:lnTo>
                        <a:pt x="816" y="492"/>
                      </a:lnTo>
                      <a:lnTo>
                        <a:pt x="798" y="504"/>
                      </a:lnTo>
                      <a:lnTo>
                        <a:pt x="768" y="540"/>
                      </a:lnTo>
                      <a:lnTo>
                        <a:pt x="744" y="588"/>
                      </a:lnTo>
                      <a:lnTo>
                        <a:pt x="738" y="642"/>
                      </a:lnTo>
                      <a:lnTo>
                        <a:pt x="738" y="690"/>
                      </a:lnTo>
                      <a:lnTo>
                        <a:pt x="726" y="750"/>
                      </a:lnTo>
                      <a:lnTo>
                        <a:pt x="714" y="804"/>
                      </a:lnTo>
                      <a:lnTo>
                        <a:pt x="696" y="852"/>
                      </a:lnTo>
                      <a:lnTo>
                        <a:pt x="672" y="912"/>
                      </a:lnTo>
                      <a:lnTo>
                        <a:pt x="648" y="972"/>
                      </a:lnTo>
                      <a:lnTo>
                        <a:pt x="618" y="1038"/>
                      </a:lnTo>
                      <a:lnTo>
                        <a:pt x="594" y="1086"/>
                      </a:lnTo>
                      <a:lnTo>
                        <a:pt x="564" y="1134"/>
                      </a:lnTo>
                      <a:lnTo>
                        <a:pt x="540" y="1200"/>
                      </a:lnTo>
                      <a:lnTo>
                        <a:pt x="510" y="1260"/>
                      </a:lnTo>
                      <a:lnTo>
                        <a:pt x="486" y="1296"/>
                      </a:lnTo>
                      <a:lnTo>
                        <a:pt x="462" y="1326"/>
                      </a:lnTo>
                      <a:lnTo>
                        <a:pt x="456" y="1374"/>
                      </a:lnTo>
                      <a:lnTo>
                        <a:pt x="444" y="1434"/>
                      </a:lnTo>
                      <a:lnTo>
                        <a:pt x="432" y="1482"/>
                      </a:lnTo>
                      <a:lnTo>
                        <a:pt x="396" y="1530"/>
                      </a:lnTo>
                      <a:lnTo>
                        <a:pt x="366" y="1572"/>
                      </a:lnTo>
                      <a:lnTo>
                        <a:pt x="336" y="1602"/>
                      </a:lnTo>
                      <a:lnTo>
                        <a:pt x="324" y="1608"/>
                      </a:lnTo>
                      <a:lnTo>
                        <a:pt x="312" y="1614"/>
                      </a:lnTo>
                      <a:lnTo>
                        <a:pt x="300" y="1614"/>
                      </a:lnTo>
                      <a:lnTo>
                        <a:pt x="288" y="1608"/>
                      </a:lnTo>
                      <a:lnTo>
                        <a:pt x="276" y="1608"/>
                      </a:lnTo>
                      <a:lnTo>
                        <a:pt x="264" y="1608"/>
                      </a:lnTo>
                      <a:lnTo>
                        <a:pt x="252" y="1608"/>
                      </a:lnTo>
                      <a:lnTo>
                        <a:pt x="222" y="1620"/>
                      </a:lnTo>
                      <a:lnTo>
                        <a:pt x="186" y="1626"/>
                      </a:lnTo>
                      <a:lnTo>
                        <a:pt x="138" y="1626"/>
                      </a:lnTo>
                      <a:lnTo>
                        <a:pt x="102" y="1608"/>
                      </a:lnTo>
                      <a:lnTo>
                        <a:pt x="66" y="1572"/>
                      </a:lnTo>
                      <a:lnTo>
                        <a:pt x="54" y="1536"/>
                      </a:lnTo>
                      <a:lnTo>
                        <a:pt x="66" y="1500"/>
                      </a:lnTo>
                      <a:lnTo>
                        <a:pt x="66" y="1488"/>
                      </a:lnTo>
                      <a:lnTo>
                        <a:pt x="66" y="1476"/>
                      </a:lnTo>
                      <a:lnTo>
                        <a:pt x="60" y="1464"/>
                      </a:lnTo>
                      <a:lnTo>
                        <a:pt x="54" y="1446"/>
                      </a:lnTo>
                      <a:lnTo>
                        <a:pt x="42" y="1428"/>
                      </a:lnTo>
                      <a:lnTo>
                        <a:pt x="30" y="1404"/>
                      </a:lnTo>
                      <a:lnTo>
                        <a:pt x="6" y="1350"/>
                      </a:lnTo>
                      <a:lnTo>
                        <a:pt x="6" y="1290"/>
                      </a:lnTo>
                      <a:lnTo>
                        <a:pt x="0" y="1212"/>
                      </a:lnTo>
                      <a:lnTo>
                        <a:pt x="6" y="1152"/>
                      </a:lnTo>
                      <a:lnTo>
                        <a:pt x="30" y="1104"/>
                      </a:lnTo>
                      <a:lnTo>
                        <a:pt x="66" y="1074"/>
                      </a:lnTo>
                      <a:lnTo>
                        <a:pt x="102" y="1038"/>
                      </a:lnTo>
                      <a:lnTo>
                        <a:pt x="138" y="1002"/>
                      </a:lnTo>
                      <a:lnTo>
                        <a:pt x="150" y="972"/>
                      </a:lnTo>
                      <a:lnTo>
                        <a:pt x="156" y="948"/>
                      </a:lnTo>
                      <a:lnTo>
                        <a:pt x="150" y="924"/>
                      </a:lnTo>
                      <a:lnTo>
                        <a:pt x="144" y="906"/>
                      </a:lnTo>
                      <a:lnTo>
                        <a:pt x="138" y="858"/>
                      </a:lnTo>
                      <a:lnTo>
                        <a:pt x="132" y="792"/>
                      </a:lnTo>
                      <a:lnTo>
                        <a:pt x="120" y="726"/>
                      </a:lnTo>
                      <a:lnTo>
                        <a:pt x="120" y="672"/>
                      </a:lnTo>
                      <a:lnTo>
                        <a:pt x="132" y="630"/>
                      </a:lnTo>
                      <a:lnTo>
                        <a:pt x="150" y="594"/>
                      </a:lnTo>
                      <a:lnTo>
                        <a:pt x="156" y="582"/>
                      </a:lnTo>
                      <a:lnTo>
                        <a:pt x="168" y="570"/>
                      </a:lnTo>
                      <a:lnTo>
                        <a:pt x="180" y="558"/>
                      </a:lnTo>
                      <a:lnTo>
                        <a:pt x="186" y="546"/>
                      </a:lnTo>
                      <a:lnTo>
                        <a:pt x="186" y="534"/>
                      </a:lnTo>
                      <a:lnTo>
                        <a:pt x="186" y="522"/>
                      </a:lnTo>
                      <a:lnTo>
                        <a:pt x="192" y="510"/>
                      </a:lnTo>
                      <a:lnTo>
                        <a:pt x="198" y="498"/>
                      </a:lnTo>
                      <a:lnTo>
                        <a:pt x="210" y="492"/>
                      </a:lnTo>
                      <a:lnTo>
                        <a:pt x="222" y="486"/>
                      </a:lnTo>
                      <a:lnTo>
                        <a:pt x="234" y="480"/>
                      </a:lnTo>
                      <a:lnTo>
                        <a:pt x="246" y="474"/>
                      </a:lnTo>
                      <a:lnTo>
                        <a:pt x="258" y="474"/>
                      </a:lnTo>
                      <a:lnTo>
                        <a:pt x="270" y="480"/>
                      </a:lnTo>
                      <a:lnTo>
                        <a:pt x="282" y="486"/>
                      </a:lnTo>
                      <a:lnTo>
                        <a:pt x="294" y="480"/>
                      </a:lnTo>
                      <a:lnTo>
                        <a:pt x="306" y="468"/>
                      </a:lnTo>
                      <a:lnTo>
                        <a:pt x="318" y="456"/>
                      </a:lnTo>
                      <a:lnTo>
                        <a:pt x="324" y="450"/>
                      </a:lnTo>
                      <a:lnTo>
                        <a:pt x="336" y="444"/>
                      </a:lnTo>
                      <a:lnTo>
                        <a:pt x="348" y="444"/>
                      </a:lnTo>
                      <a:lnTo>
                        <a:pt x="360" y="450"/>
                      </a:lnTo>
                      <a:lnTo>
                        <a:pt x="372" y="450"/>
                      </a:lnTo>
                      <a:lnTo>
                        <a:pt x="384" y="450"/>
                      </a:lnTo>
                      <a:lnTo>
                        <a:pt x="390" y="450"/>
                      </a:lnTo>
                      <a:lnTo>
                        <a:pt x="402" y="444"/>
                      </a:lnTo>
                      <a:lnTo>
                        <a:pt x="408" y="438"/>
                      </a:lnTo>
                      <a:lnTo>
                        <a:pt x="426" y="438"/>
                      </a:lnTo>
                      <a:lnTo>
                        <a:pt x="438" y="432"/>
                      </a:lnTo>
                      <a:lnTo>
                        <a:pt x="444" y="420"/>
                      </a:lnTo>
                      <a:lnTo>
                        <a:pt x="456" y="408"/>
                      </a:lnTo>
                      <a:lnTo>
                        <a:pt x="462" y="390"/>
                      </a:lnTo>
                      <a:lnTo>
                        <a:pt x="468" y="384"/>
                      </a:lnTo>
                      <a:lnTo>
                        <a:pt x="480" y="384"/>
                      </a:lnTo>
                      <a:lnTo>
                        <a:pt x="486" y="390"/>
                      </a:lnTo>
                      <a:lnTo>
                        <a:pt x="492" y="396"/>
                      </a:lnTo>
                      <a:lnTo>
                        <a:pt x="498" y="402"/>
                      </a:lnTo>
                      <a:lnTo>
                        <a:pt x="498" y="396"/>
                      </a:lnTo>
                      <a:lnTo>
                        <a:pt x="504" y="390"/>
                      </a:lnTo>
                      <a:lnTo>
                        <a:pt x="510" y="378"/>
                      </a:lnTo>
                      <a:lnTo>
                        <a:pt x="516" y="366"/>
                      </a:lnTo>
                      <a:lnTo>
                        <a:pt x="516" y="354"/>
                      </a:lnTo>
                      <a:lnTo>
                        <a:pt x="516" y="342"/>
                      </a:lnTo>
                      <a:lnTo>
                        <a:pt x="522" y="330"/>
                      </a:lnTo>
                      <a:lnTo>
                        <a:pt x="528" y="318"/>
                      </a:lnTo>
                      <a:lnTo>
                        <a:pt x="534" y="306"/>
                      </a:lnTo>
                      <a:lnTo>
                        <a:pt x="540" y="306"/>
                      </a:lnTo>
                      <a:lnTo>
                        <a:pt x="552" y="312"/>
                      </a:lnTo>
                      <a:lnTo>
                        <a:pt x="558" y="318"/>
                      </a:lnTo>
                      <a:lnTo>
                        <a:pt x="570" y="318"/>
                      </a:lnTo>
                      <a:lnTo>
                        <a:pt x="576" y="312"/>
                      </a:lnTo>
                      <a:lnTo>
                        <a:pt x="582" y="300"/>
                      </a:lnTo>
                      <a:lnTo>
                        <a:pt x="582" y="276"/>
                      </a:lnTo>
                      <a:lnTo>
                        <a:pt x="582" y="258"/>
                      </a:lnTo>
                      <a:lnTo>
                        <a:pt x="582" y="240"/>
                      </a:lnTo>
                      <a:lnTo>
                        <a:pt x="588" y="222"/>
                      </a:lnTo>
                      <a:lnTo>
                        <a:pt x="594" y="204"/>
                      </a:lnTo>
                      <a:lnTo>
                        <a:pt x="600" y="192"/>
                      </a:lnTo>
                      <a:lnTo>
                        <a:pt x="606" y="186"/>
                      </a:lnTo>
                      <a:lnTo>
                        <a:pt x="618" y="186"/>
                      </a:lnTo>
                      <a:lnTo>
                        <a:pt x="630" y="192"/>
                      </a:lnTo>
                      <a:lnTo>
                        <a:pt x="642" y="192"/>
                      </a:lnTo>
                      <a:lnTo>
                        <a:pt x="642" y="186"/>
                      </a:lnTo>
                      <a:lnTo>
                        <a:pt x="648" y="180"/>
                      </a:lnTo>
                      <a:lnTo>
                        <a:pt x="654" y="174"/>
                      </a:lnTo>
                      <a:lnTo>
                        <a:pt x="660" y="162"/>
                      </a:lnTo>
                      <a:lnTo>
                        <a:pt x="672" y="156"/>
                      </a:lnTo>
                      <a:lnTo>
                        <a:pt x="678" y="144"/>
                      </a:lnTo>
                      <a:lnTo>
                        <a:pt x="684" y="138"/>
                      </a:lnTo>
                      <a:lnTo>
                        <a:pt x="690" y="132"/>
                      </a:lnTo>
                      <a:lnTo>
                        <a:pt x="690" y="120"/>
                      </a:lnTo>
                      <a:lnTo>
                        <a:pt x="690" y="108"/>
                      </a:lnTo>
                      <a:lnTo>
                        <a:pt x="684" y="90"/>
                      </a:lnTo>
                      <a:lnTo>
                        <a:pt x="690" y="78"/>
                      </a:lnTo>
                      <a:lnTo>
                        <a:pt x="696" y="60"/>
                      </a:lnTo>
                      <a:lnTo>
                        <a:pt x="702" y="48"/>
                      </a:lnTo>
                      <a:lnTo>
                        <a:pt x="720" y="36"/>
                      </a:lnTo>
                      <a:lnTo>
                        <a:pt x="738" y="12"/>
                      </a:lnTo>
                      <a:lnTo>
                        <a:pt x="750" y="6"/>
                      </a:lnTo>
                      <a:lnTo>
                        <a:pt x="76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7" name="Freeform 236">
                  <a:extLst>
                    <a:ext uri="{FF2B5EF4-FFF2-40B4-BE49-F238E27FC236}">
                      <a16:creationId xmlns:a16="http://schemas.microsoft.com/office/drawing/2014/main" id="{DB58F3E1-6FB9-4A1C-B237-CD3DDBF188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57" y="6060"/>
                  <a:ext cx="78" cy="84"/>
                </a:xfrm>
                <a:custGeom>
                  <a:avLst/>
                  <a:gdLst>
                    <a:gd name="T0" fmla="*/ 24 w 78"/>
                    <a:gd name="T1" fmla="*/ 0 h 84"/>
                    <a:gd name="T2" fmla="*/ 36 w 78"/>
                    <a:gd name="T3" fmla="*/ 6 h 84"/>
                    <a:gd name="T4" fmla="*/ 54 w 78"/>
                    <a:gd name="T5" fmla="*/ 12 h 84"/>
                    <a:gd name="T6" fmla="*/ 72 w 78"/>
                    <a:gd name="T7" fmla="*/ 30 h 84"/>
                    <a:gd name="T8" fmla="*/ 78 w 78"/>
                    <a:gd name="T9" fmla="*/ 42 h 84"/>
                    <a:gd name="T10" fmla="*/ 78 w 78"/>
                    <a:gd name="T11" fmla="*/ 54 h 84"/>
                    <a:gd name="T12" fmla="*/ 66 w 78"/>
                    <a:gd name="T13" fmla="*/ 66 h 84"/>
                    <a:gd name="T14" fmla="*/ 48 w 78"/>
                    <a:gd name="T15" fmla="*/ 78 h 84"/>
                    <a:gd name="T16" fmla="*/ 30 w 78"/>
                    <a:gd name="T17" fmla="*/ 84 h 84"/>
                    <a:gd name="T18" fmla="*/ 18 w 78"/>
                    <a:gd name="T19" fmla="*/ 78 h 84"/>
                    <a:gd name="T20" fmla="*/ 12 w 78"/>
                    <a:gd name="T21" fmla="*/ 72 h 84"/>
                    <a:gd name="T22" fmla="*/ 6 w 78"/>
                    <a:gd name="T23" fmla="*/ 66 h 84"/>
                    <a:gd name="T24" fmla="*/ 0 w 78"/>
                    <a:gd name="T25" fmla="*/ 54 h 84"/>
                    <a:gd name="T26" fmla="*/ 0 w 78"/>
                    <a:gd name="T27" fmla="*/ 36 h 84"/>
                    <a:gd name="T28" fmla="*/ 0 w 78"/>
                    <a:gd name="T29" fmla="*/ 24 h 84"/>
                    <a:gd name="T30" fmla="*/ 0 w 78"/>
                    <a:gd name="T31" fmla="*/ 12 h 84"/>
                    <a:gd name="T32" fmla="*/ 12 w 78"/>
                    <a:gd name="T33" fmla="*/ 6 h 84"/>
                    <a:gd name="T34" fmla="*/ 24 w 78"/>
                    <a:gd name="T3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8" h="84">
                      <a:moveTo>
                        <a:pt x="24" y="0"/>
                      </a:moveTo>
                      <a:lnTo>
                        <a:pt x="36" y="6"/>
                      </a:lnTo>
                      <a:lnTo>
                        <a:pt x="54" y="12"/>
                      </a:lnTo>
                      <a:lnTo>
                        <a:pt x="72" y="30"/>
                      </a:lnTo>
                      <a:lnTo>
                        <a:pt x="78" y="42"/>
                      </a:lnTo>
                      <a:lnTo>
                        <a:pt x="78" y="54"/>
                      </a:lnTo>
                      <a:lnTo>
                        <a:pt x="66" y="66"/>
                      </a:lnTo>
                      <a:lnTo>
                        <a:pt x="48" y="78"/>
                      </a:lnTo>
                      <a:lnTo>
                        <a:pt x="30" y="84"/>
                      </a:lnTo>
                      <a:lnTo>
                        <a:pt x="18" y="78"/>
                      </a:lnTo>
                      <a:lnTo>
                        <a:pt x="12" y="72"/>
                      </a:lnTo>
                      <a:lnTo>
                        <a:pt x="6" y="66"/>
                      </a:lnTo>
                      <a:lnTo>
                        <a:pt x="0" y="54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12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8" name="Freeform 237">
                  <a:extLst>
                    <a:ext uri="{FF2B5EF4-FFF2-40B4-BE49-F238E27FC236}">
                      <a16:creationId xmlns:a16="http://schemas.microsoft.com/office/drawing/2014/main" id="{9574052F-AB1A-4ACA-AE78-A045FE1AC2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91" y="5970"/>
                  <a:ext cx="84" cy="78"/>
                </a:xfrm>
                <a:custGeom>
                  <a:avLst/>
                  <a:gdLst>
                    <a:gd name="T0" fmla="*/ 66 w 84"/>
                    <a:gd name="T1" fmla="*/ 0 h 78"/>
                    <a:gd name="T2" fmla="*/ 78 w 84"/>
                    <a:gd name="T3" fmla="*/ 0 h 78"/>
                    <a:gd name="T4" fmla="*/ 84 w 84"/>
                    <a:gd name="T5" fmla="*/ 6 h 78"/>
                    <a:gd name="T6" fmla="*/ 84 w 84"/>
                    <a:gd name="T7" fmla="*/ 12 h 78"/>
                    <a:gd name="T8" fmla="*/ 84 w 84"/>
                    <a:gd name="T9" fmla="*/ 24 h 78"/>
                    <a:gd name="T10" fmla="*/ 84 w 84"/>
                    <a:gd name="T11" fmla="*/ 30 h 78"/>
                    <a:gd name="T12" fmla="*/ 78 w 84"/>
                    <a:gd name="T13" fmla="*/ 42 h 78"/>
                    <a:gd name="T14" fmla="*/ 66 w 84"/>
                    <a:gd name="T15" fmla="*/ 54 h 78"/>
                    <a:gd name="T16" fmla="*/ 54 w 84"/>
                    <a:gd name="T17" fmla="*/ 60 h 78"/>
                    <a:gd name="T18" fmla="*/ 42 w 84"/>
                    <a:gd name="T19" fmla="*/ 72 h 78"/>
                    <a:gd name="T20" fmla="*/ 24 w 84"/>
                    <a:gd name="T21" fmla="*/ 78 h 78"/>
                    <a:gd name="T22" fmla="*/ 18 w 84"/>
                    <a:gd name="T23" fmla="*/ 78 h 78"/>
                    <a:gd name="T24" fmla="*/ 6 w 84"/>
                    <a:gd name="T25" fmla="*/ 72 h 78"/>
                    <a:gd name="T26" fmla="*/ 6 w 84"/>
                    <a:gd name="T27" fmla="*/ 60 h 78"/>
                    <a:gd name="T28" fmla="*/ 0 w 84"/>
                    <a:gd name="T29" fmla="*/ 54 h 78"/>
                    <a:gd name="T30" fmla="*/ 6 w 84"/>
                    <a:gd name="T31" fmla="*/ 42 h 78"/>
                    <a:gd name="T32" fmla="*/ 12 w 84"/>
                    <a:gd name="T33" fmla="*/ 30 h 78"/>
                    <a:gd name="T34" fmla="*/ 18 w 84"/>
                    <a:gd name="T35" fmla="*/ 18 h 78"/>
                    <a:gd name="T36" fmla="*/ 30 w 84"/>
                    <a:gd name="T37" fmla="*/ 12 h 78"/>
                    <a:gd name="T38" fmla="*/ 48 w 84"/>
                    <a:gd name="T39" fmla="*/ 6 h 78"/>
                    <a:gd name="T40" fmla="*/ 66 w 84"/>
                    <a:gd name="T41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84" h="78">
                      <a:moveTo>
                        <a:pt x="66" y="0"/>
                      </a:moveTo>
                      <a:lnTo>
                        <a:pt x="78" y="0"/>
                      </a:lnTo>
                      <a:lnTo>
                        <a:pt x="84" y="6"/>
                      </a:lnTo>
                      <a:lnTo>
                        <a:pt x="84" y="12"/>
                      </a:lnTo>
                      <a:lnTo>
                        <a:pt x="84" y="24"/>
                      </a:lnTo>
                      <a:lnTo>
                        <a:pt x="84" y="30"/>
                      </a:lnTo>
                      <a:lnTo>
                        <a:pt x="78" y="42"/>
                      </a:lnTo>
                      <a:lnTo>
                        <a:pt x="66" y="54"/>
                      </a:lnTo>
                      <a:lnTo>
                        <a:pt x="54" y="60"/>
                      </a:lnTo>
                      <a:lnTo>
                        <a:pt x="42" y="72"/>
                      </a:lnTo>
                      <a:lnTo>
                        <a:pt x="24" y="78"/>
                      </a:lnTo>
                      <a:lnTo>
                        <a:pt x="18" y="78"/>
                      </a:lnTo>
                      <a:lnTo>
                        <a:pt x="6" y="72"/>
                      </a:lnTo>
                      <a:lnTo>
                        <a:pt x="6" y="60"/>
                      </a:lnTo>
                      <a:lnTo>
                        <a:pt x="0" y="54"/>
                      </a:lnTo>
                      <a:lnTo>
                        <a:pt x="6" y="42"/>
                      </a:lnTo>
                      <a:lnTo>
                        <a:pt x="12" y="30"/>
                      </a:lnTo>
                      <a:lnTo>
                        <a:pt x="18" y="18"/>
                      </a:lnTo>
                      <a:lnTo>
                        <a:pt x="30" y="12"/>
                      </a:lnTo>
                      <a:lnTo>
                        <a:pt x="48" y="6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19" name="Freeform 238">
                  <a:extLst>
                    <a:ext uri="{FF2B5EF4-FFF2-40B4-BE49-F238E27FC236}">
                      <a16:creationId xmlns:a16="http://schemas.microsoft.com/office/drawing/2014/main" id="{91DD8048-D8D3-48C5-A93B-E3DA577964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43" y="4032"/>
                  <a:ext cx="72" cy="84"/>
                </a:xfrm>
                <a:custGeom>
                  <a:avLst/>
                  <a:gdLst>
                    <a:gd name="T0" fmla="*/ 24 w 72"/>
                    <a:gd name="T1" fmla="*/ 0 h 84"/>
                    <a:gd name="T2" fmla="*/ 30 w 72"/>
                    <a:gd name="T3" fmla="*/ 0 h 84"/>
                    <a:gd name="T4" fmla="*/ 42 w 72"/>
                    <a:gd name="T5" fmla="*/ 6 h 84"/>
                    <a:gd name="T6" fmla="*/ 48 w 72"/>
                    <a:gd name="T7" fmla="*/ 12 h 84"/>
                    <a:gd name="T8" fmla="*/ 54 w 72"/>
                    <a:gd name="T9" fmla="*/ 18 h 84"/>
                    <a:gd name="T10" fmla="*/ 60 w 72"/>
                    <a:gd name="T11" fmla="*/ 30 h 84"/>
                    <a:gd name="T12" fmla="*/ 66 w 72"/>
                    <a:gd name="T13" fmla="*/ 42 h 84"/>
                    <a:gd name="T14" fmla="*/ 72 w 72"/>
                    <a:gd name="T15" fmla="*/ 54 h 84"/>
                    <a:gd name="T16" fmla="*/ 66 w 72"/>
                    <a:gd name="T17" fmla="*/ 66 h 84"/>
                    <a:gd name="T18" fmla="*/ 54 w 72"/>
                    <a:gd name="T19" fmla="*/ 78 h 84"/>
                    <a:gd name="T20" fmla="*/ 42 w 72"/>
                    <a:gd name="T21" fmla="*/ 84 h 84"/>
                    <a:gd name="T22" fmla="*/ 30 w 72"/>
                    <a:gd name="T23" fmla="*/ 84 h 84"/>
                    <a:gd name="T24" fmla="*/ 24 w 72"/>
                    <a:gd name="T25" fmla="*/ 78 h 84"/>
                    <a:gd name="T26" fmla="*/ 18 w 72"/>
                    <a:gd name="T27" fmla="*/ 66 h 84"/>
                    <a:gd name="T28" fmla="*/ 6 w 72"/>
                    <a:gd name="T29" fmla="*/ 54 h 84"/>
                    <a:gd name="T30" fmla="*/ 6 w 72"/>
                    <a:gd name="T31" fmla="*/ 36 h 84"/>
                    <a:gd name="T32" fmla="*/ 0 w 72"/>
                    <a:gd name="T33" fmla="*/ 18 h 84"/>
                    <a:gd name="T34" fmla="*/ 0 w 72"/>
                    <a:gd name="T35" fmla="*/ 12 h 84"/>
                    <a:gd name="T36" fmla="*/ 6 w 72"/>
                    <a:gd name="T37" fmla="*/ 6 h 84"/>
                    <a:gd name="T38" fmla="*/ 12 w 72"/>
                    <a:gd name="T39" fmla="*/ 0 h 84"/>
                    <a:gd name="T40" fmla="*/ 24 w 72"/>
                    <a:gd name="T41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2" h="84">
                      <a:moveTo>
                        <a:pt x="24" y="0"/>
                      </a:moveTo>
                      <a:lnTo>
                        <a:pt x="30" y="0"/>
                      </a:lnTo>
                      <a:lnTo>
                        <a:pt x="42" y="6"/>
                      </a:lnTo>
                      <a:lnTo>
                        <a:pt x="48" y="12"/>
                      </a:lnTo>
                      <a:lnTo>
                        <a:pt x="54" y="18"/>
                      </a:lnTo>
                      <a:lnTo>
                        <a:pt x="60" y="30"/>
                      </a:lnTo>
                      <a:lnTo>
                        <a:pt x="66" y="42"/>
                      </a:lnTo>
                      <a:lnTo>
                        <a:pt x="72" y="54"/>
                      </a:lnTo>
                      <a:lnTo>
                        <a:pt x="66" y="66"/>
                      </a:lnTo>
                      <a:lnTo>
                        <a:pt x="54" y="78"/>
                      </a:lnTo>
                      <a:lnTo>
                        <a:pt x="42" y="84"/>
                      </a:lnTo>
                      <a:lnTo>
                        <a:pt x="30" y="84"/>
                      </a:lnTo>
                      <a:lnTo>
                        <a:pt x="24" y="78"/>
                      </a:lnTo>
                      <a:lnTo>
                        <a:pt x="18" y="66"/>
                      </a:lnTo>
                      <a:lnTo>
                        <a:pt x="6" y="54"/>
                      </a:lnTo>
                      <a:lnTo>
                        <a:pt x="6" y="36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2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0" name="Freeform 239">
                  <a:extLst>
                    <a:ext uri="{FF2B5EF4-FFF2-40B4-BE49-F238E27FC236}">
                      <a16:creationId xmlns:a16="http://schemas.microsoft.com/office/drawing/2014/main" id="{C827ADC2-450A-4DD3-A9D8-0D14DC960B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9" y="6366"/>
                  <a:ext cx="6" cy="6"/>
                </a:xfrm>
                <a:custGeom>
                  <a:avLst/>
                  <a:gdLst>
                    <a:gd name="T0" fmla="*/ 6 w 6"/>
                    <a:gd name="T1" fmla="*/ 0 h 6"/>
                    <a:gd name="T2" fmla="*/ 6 w 6"/>
                    <a:gd name="T3" fmla="*/ 6 h 6"/>
                    <a:gd name="T4" fmla="*/ 0 w 6"/>
                    <a:gd name="T5" fmla="*/ 6 h 6"/>
                    <a:gd name="T6" fmla="*/ 6 w 6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6">
                      <a:moveTo>
                        <a:pt x="6" y="0"/>
                      </a:move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1" name="Freeform 240">
                  <a:extLst>
                    <a:ext uri="{FF2B5EF4-FFF2-40B4-BE49-F238E27FC236}">
                      <a16:creationId xmlns:a16="http://schemas.microsoft.com/office/drawing/2014/main" id="{80F59D5D-2BCF-426A-BCED-64F5E4137DC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979" y="6072"/>
                  <a:ext cx="1842" cy="1632"/>
                </a:xfrm>
                <a:custGeom>
                  <a:avLst/>
                  <a:gdLst>
                    <a:gd name="T0" fmla="*/ 1224 w 1842"/>
                    <a:gd name="T1" fmla="*/ 858 h 1632"/>
                    <a:gd name="T2" fmla="*/ 1188 w 1842"/>
                    <a:gd name="T3" fmla="*/ 972 h 1632"/>
                    <a:gd name="T4" fmla="*/ 1302 w 1842"/>
                    <a:gd name="T5" fmla="*/ 1026 h 1632"/>
                    <a:gd name="T6" fmla="*/ 1410 w 1842"/>
                    <a:gd name="T7" fmla="*/ 912 h 1632"/>
                    <a:gd name="T8" fmla="*/ 1338 w 1842"/>
                    <a:gd name="T9" fmla="*/ 786 h 1632"/>
                    <a:gd name="T10" fmla="*/ 0 w 1842"/>
                    <a:gd name="T11" fmla="*/ 786 h 1632"/>
                    <a:gd name="T12" fmla="*/ 1584 w 1842"/>
                    <a:gd name="T13" fmla="*/ 30 h 1632"/>
                    <a:gd name="T14" fmla="*/ 1758 w 1842"/>
                    <a:gd name="T15" fmla="*/ 204 h 1632"/>
                    <a:gd name="T16" fmla="*/ 1722 w 1842"/>
                    <a:gd name="T17" fmla="*/ 456 h 1632"/>
                    <a:gd name="T18" fmla="*/ 1626 w 1842"/>
                    <a:gd name="T19" fmla="*/ 594 h 1632"/>
                    <a:gd name="T20" fmla="*/ 1746 w 1842"/>
                    <a:gd name="T21" fmla="*/ 630 h 1632"/>
                    <a:gd name="T22" fmla="*/ 1800 w 1842"/>
                    <a:gd name="T23" fmla="*/ 522 h 1632"/>
                    <a:gd name="T24" fmla="*/ 1824 w 1842"/>
                    <a:gd name="T25" fmla="*/ 528 h 1632"/>
                    <a:gd name="T26" fmla="*/ 1842 w 1842"/>
                    <a:gd name="T27" fmla="*/ 546 h 1632"/>
                    <a:gd name="T28" fmla="*/ 1836 w 1842"/>
                    <a:gd name="T29" fmla="*/ 618 h 1632"/>
                    <a:gd name="T30" fmla="*/ 1776 w 1842"/>
                    <a:gd name="T31" fmla="*/ 780 h 1632"/>
                    <a:gd name="T32" fmla="*/ 1644 w 1842"/>
                    <a:gd name="T33" fmla="*/ 918 h 1632"/>
                    <a:gd name="T34" fmla="*/ 1542 w 1842"/>
                    <a:gd name="T35" fmla="*/ 1080 h 1632"/>
                    <a:gd name="T36" fmla="*/ 1446 w 1842"/>
                    <a:gd name="T37" fmla="*/ 1152 h 1632"/>
                    <a:gd name="T38" fmla="*/ 1296 w 1842"/>
                    <a:gd name="T39" fmla="*/ 1290 h 1632"/>
                    <a:gd name="T40" fmla="*/ 1194 w 1842"/>
                    <a:gd name="T41" fmla="*/ 1404 h 1632"/>
                    <a:gd name="T42" fmla="*/ 1092 w 1842"/>
                    <a:gd name="T43" fmla="*/ 1482 h 1632"/>
                    <a:gd name="T44" fmla="*/ 1008 w 1842"/>
                    <a:gd name="T45" fmla="*/ 1476 h 1632"/>
                    <a:gd name="T46" fmla="*/ 888 w 1842"/>
                    <a:gd name="T47" fmla="*/ 1506 h 1632"/>
                    <a:gd name="T48" fmla="*/ 810 w 1842"/>
                    <a:gd name="T49" fmla="*/ 1524 h 1632"/>
                    <a:gd name="T50" fmla="*/ 714 w 1842"/>
                    <a:gd name="T51" fmla="*/ 1512 h 1632"/>
                    <a:gd name="T52" fmla="*/ 678 w 1842"/>
                    <a:gd name="T53" fmla="*/ 1524 h 1632"/>
                    <a:gd name="T54" fmla="*/ 660 w 1842"/>
                    <a:gd name="T55" fmla="*/ 1530 h 1632"/>
                    <a:gd name="T56" fmla="*/ 588 w 1842"/>
                    <a:gd name="T57" fmla="*/ 1518 h 1632"/>
                    <a:gd name="T58" fmla="*/ 528 w 1842"/>
                    <a:gd name="T59" fmla="*/ 1554 h 1632"/>
                    <a:gd name="T60" fmla="*/ 492 w 1842"/>
                    <a:gd name="T61" fmla="*/ 1578 h 1632"/>
                    <a:gd name="T62" fmla="*/ 456 w 1842"/>
                    <a:gd name="T63" fmla="*/ 1578 h 1632"/>
                    <a:gd name="T64" fmla="*/ 432 w 1842"/>
                    <a:gd name="T65" fmla="*/ 1614 h 1632"/>
                    <a:gd name="T66" fmla="*/ 366 w 1842"/>
                    <a:gd name="T67" fmla="*/ 1626 h 1632"/>
                    <a:gd name="T68" fmla="*/ 282 w 1842"/>
                    <a:gd name="T69" fmla="*/ 1566 h 1632"/>
                    <a:gd name="T70" fmla="*/ 270 w 1842"/>
                    <a:gd name="T71" fmla="*/ 1536 h 1632"/>
                    <a:gd name="T72" fmla="*/ 240 w 1842"/>
                    <a:gd name="T73" fmla="*/ 1530 h 1632"/>
                    <a:gd name="T74" fmla="*/ 204 w 1842"/>
                    <a:gd name="T75" fmla="*/ 1518 h 1632"/>
                    <a:gd name="T76" fmla="*/ 204 w 1842"/>
                    <a:gd name="T77" fmla="*/ 1482 h 1632"/>
                    <a:gd name="T78" fmla="*/ 216 w 1842"/>
                    <a:gd name="T79" fmla="*/ 1440 h 1632"/>
                    <a:gd name="T80" fmla="*/ 174 w 1842"/>
                    <a:gd name="T81" fmla="*/ 1398 h 1632"/>
                    <a:gd name="T82" fmla="*/ 156 w 1842"/>
                    <a:gd name="T83" fmla="*/ 1302 h 1632"/>
                    <a:gd name="T84" fmla="*/ 180 w 1842"/>
                    <a:gd name="T85" fmla="*/ 1158 h 1632"/>
                    <a:gd name="T86" fmla="*/ 84 w 1842"/>
                    <a:gd name="T87" fmla="*/ 1038 h 1632"/>
                    <a:gd name="T88" fmla="*/ 54 w 1842"/>
                    <a:gd name="T89" fmla="*/ 936 h 1632"/>
                    <a:gd name="T90" fmla="*/ 30 w 1842"/>
                    <a:gd name="T91" fmla="*/ 816 h 1632"/>
                    <a:gd name="T92" fmla="*/ 18 w 1842"/>
                    <a:gd name="T93" fmla="*/ 786 h 1632"/>
                    <a:gd name="T94" fmla="*/ 18 w 1842"/>
                    <a:gd name="T95" fmla="*/ 750 h 1632"/>
                    <a:gd name="T96" fmla="*/ 60 w 1842"/>
                    <a:gd name="T97" fmla="*/ 726 h 1632"/>
                    <a:gd name="T98" fmla="*/ 132 w 1842"/>
                    <a:gd name="T99" fmla="*/ 786 h 1632"/>
                    <a:gd name="T100" fmla="*/ 264 w 1842"/>
                    <a:gd name="T101" fmla="*/ 816 h 1632"/>
                    <a:gd name="T102" fmla="*/ 372 w 1842"/>
                    <a:gd name="T103" fmla="*/ 804 h 1632"/>
                    <a:gd name="T104" fmla="*/ 510 w 1842"/>
                    <a:gd name="T105" fmla="*/ 456 h 1632"/>
                    <a:gd name="T106" fmla="*/ 630 w 1842"/>
                    <a:gd name="T107" fmla="*/ 606 h 1632"/>
                    <a:gd name="T108" fmla="*/ 804 w 1842"/>
                    <a:gd name="T109" fmla="*/ 396 h 1632"/>
                    <a:gd name="T110" fmla="*/ 1032 w 1842"/>
                    <a:gd name="T111" fmla="*/ 456 h 1632"/>
                    <a:gd name="T112" fmla="*/ 1110 w 1842"/>
                    <a:gd name="T113" fmla="*/ 294 h 1632"/>
                    <a:gd name="T114" fmla="*/ 1260 w 1842"/>
                    <a:gd name="T115" fmla="*/ 180 h 1632"/>
                    <a:gd name="T116" fmla="*/ 1428 w 1842"/>
                    <a:gd name="T117" fmla="*/ 66 h 16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842" h="1632">
                      <a:moveTo>
                        <a:pt x="1338" y="786"/>
                      </a:moveTo>
                      <a:lnTo>
                        <a:pt x="1296" y="804"/>
                      </a:lnTo>
                      <a:lnTo>
                        <a:pt x="1224" y="858"/>
                      </a:lnTo>
                      <a:lnTo>
                        <a:pt x="1188" y="900"/>
                      </a:lnTo>
                      <a:lnTo>
                        <a:pt x="1176" y="942"/>
                      </a:lnTo>
                      <a:lnTo>
                        <a:pt x="1188" y="972"/>
                      </a:lnTo>
                      <a:lnTo>
                        <a:pt x="1224" y="1020"/>
                      </a:lnTo>
                      <a:lnTo>
                        <a:pt x="1266" y="1038"/>
                      </a:lnTo>
                      <a:lnTo>
                        <a:pt x="1302" y="1026"/>
                      </a:lnTo>
                      <a:lnTo>
                        <a:pt x="1344" y="996"/>
                      </a:lnTo>
                      <a:lnTo>
                        <a:pt x="1392" y="966"/>
                      </a:lnTo>
                      <a:lnTo>
                        <a:pt x="1410" y="912"/>
                      </a:lnTo>
                      <a:lnTo>
                        <a:pt x="1416" y="864"/>
                      </a:lnTo>
                      <a:lnTo>
                        <a:pt x="1386" y="822"/>
                      </a:lnTo>
                      <a:lnTo>
                        <a:pt x="1338" y="786"/>
                      </a:lnTo>
                      <a:close/>
                      <a:moveTo>
                        <a:pt x="0" y="780"/>
                      </a:moveTo>
                      <a:lnTo>
                        <a:pt x="0" y="780"/>
                      </a:lnTo>
                      <a:lnTo>
                        <a:pt x="0" y="786"/>
                      </a:lnTo>
                      <a:lnTo>
                        <a:pt x="0" y="780"/>
                      </a:lnTo>
                      <a:close/>
                      <a:moveTo>
                        <a:pt x="1464" y="0"/>
                      </a:moveTo>
                      <a:lnTo>
                        <a:pt x="1584" y="30"/>
                      </a:lnTo>
                      <a:lnTo>
                        <a:pt x="1644" y="66"/>
                      </a:lnTo>
                      <a:lnTo>
                        <a:pt x="1710" y="84"/>
                      </a:lnTo>
                      <a:lnTo>
                        <a:pt x="1758" y="204"/>
                      </a:lnTo>
                      <a:lnTo>
                        <a:pt x="1776" y="258"/>
                      </a:lnTo>
                      <a:lnTo>
                        <a:pt x="1758" y="384"/>
                      </a:lnTo>
                      <a:lnTo>
                        <a:pt x="1722" y="456"/>
                      </a:lnTo>
                      <a:lnTo>
                        <a:pt x="1662" y="462"/>
                      </a:lnTo>
                      <a:lnTo>
                        <a:pt x="1614" y="516"/>
                      </a:lnTo>
                      <a:lnTo>
                        <a:pt x="1626" y="594"/>
                      </a:lnTo>
                      <a:lnTo>
                        <a:pt x="1656" y="648"/>
                      </a:lnTo>
                      <a:lnTo>
                        <a:pt x="1704" y="654"/>
                      </a:lnTo>
                      <a:lnTo>
                        <a:pt x="1746" y="630"/>
                      </a:lnTo>
                      <a:lnTo>
                        <a:pt x="1770" y="594"/>
                      </a:lnTo>
                      <a:lnTo>
                        <a:pt x="1788" y="564"/>
                      </a:lnTo>
                      <a:lnTo>
                        <a:pt x="1800" y="522"/>
                      </a:lnTo>
                      <a:lnTo>
                        <a:pt x="1806" y="528"/>
                      </a:lnTo>
                      <a:lnTo>
                        <a:pt x="1812" y="528"/>
                      </a:lnTo>
                      <a:lnTo>
                        <a:pt x="1824" y="528"/>
                      </a:lnTo>
                      <a:lnTo>
                        <a:pt x="1836" y="528"/>
                      </a:lnTo>
                      <a:lnTo>
                        <a:pt x="1836" y="534"/>
                      </a:lnTo>
                      <a:lnTo>
                        <a:pt x="1842" y="546"/>
                      </a:lnTo>
                      <a:lnTo>
                        <a:pt x="1842" y="564"/>
                      </a:lnTo>
                      <a:lnTo>
                        <a:pt x="1842" y="582"/>
                      </a:lnTo>
                      <a:lnTo>
                        <a:pt x="1836" y="618"/>
                      </a:lnTo>
                      <a:lnTo>
                        <a:pt x="1824" y="672"/>
                      </a:lnTo>
                      <a:lnTo>
                        <a:pt x="1806" y="726"/>
                      </a:lnTo>
                      <a:lnTo>
                        <a:pt x="1776" y="780"/>
                      </a:lnTo>
                      <a:lnTo>
                        <a:pt x="1740" y="816"/>
                      </a:lnTo>
                      <a:lnTo>
                        <a:pt x="1692" y="858"/>
                      </a:lnTo>
                      <a:lnTo>
                        <a:pt x="1644" y="918"/>
                      </a:lnTo>
                      <a:lnTo>
                        <a:pt x="1602" y="978"/>
                      </a:lnTo>
                      <a:lnTo>
                        <a:pt x="1572" y="1038"/>
                      </a:lnTo>
                      <a:lnTo>
                        <a:pt x="1542" y="1080"/>
                      </a:lnTo>
                      <a:lnTo>
                        <a:pt x="1518" y="1104"/>
                      </a:lnTo>
                      <a:lnTo>
                        <a:pt x="1488" y="1128"/>
                      </a:lnTo>
                      <a:lnTo>
                        <a:pt x="1446" y="1152"/>
                      </a:lnTo>
                      <a:lnTo>
                        <a:pt x="1398" y="1188"/>
                      </a:lnTo>
                      <a:lnTo>
                        <a:pt x="1344" y="1242"/>
                      </a:lnTo>
                      <a:lnTo>
                        <a:pt x="1296" y="1290"/>
                      </a:lnTo>
                      <a:lnTo>
                        <a:pt x="1254" y="1338"/>
                      </a:lnTo>
                      <a:lnTo>
                        <a:pt x="1230" y="1368"/>
                      </a:lnTo>
                      <a:lnTo>
                        <a:pt x="1194" y="1404"/>
                      </a:lnTo>
                      <a:lnTo>
                        <a:pt x="1158" y="1440"/>
                      </a:lnTo>
                      <a:lnTo>
                        <a:pt x="1122" y="1464"/>
                      </a:lnTo>
                      <a:lnTo>
                        <a:pt x="1092" y="1482"/>
                      </a:lnTo>
                      <a:lnTo>
                        <a:pt x="1068" y="1488"/>
                      </a:lnTo>
                      <a:lnTo>
                        <a:pt x="1038" y="1476"/>
                      </a:lnTo>
                      <a:lnTo>
                        <a:pt x="1008" y="1476"/>
                      </a:lnTo>
                      <a:lnTo>
                        <a:pt x="972" y="1488"/>
                      </a:lnTo>
                      <a:lnTo>
                        <a:pt x="930" y="1500"/>
                      </a:lnTo>
                      <a:lnTo>
                        <a:pt x="888" y="1506"/>
                      </a:lnTo>
                      <a:lnTo>
                        <a:pt x="846" y="1518"/>
                      </a:lnTo>
                      <a:lnTo>
                        <a:pt x="828" y="1524"/>
                      </a:lnTo>
                      <a:lnTo>
                        <a:pt x="810" y="1524"/>
                      </a:lnTo>
                      <a:lnTo>
                        <a:pt x="786" y="1518"/>
                      </a:lnTo>
                      <a:lnTo>
                        <a:pt x="738" y="1512"/>
                      </a:lnTo>
                      <a:lnTo>
                        <a:pt x="714" y="1512"/>
                      </a:lnTo>
                      <a:lnTo>
                        <a:pt x="696" y="1518"/>
                      </a:lnTo>
                      <a:lnTo>
                        <a:pt x="684" y="1518"/>
                      </a:lnTo>
                      <a:lnTo>
                        <a:pt x="678" y="1524"/>
                      </a:lnTo>
                      <a:lnTo>
                        <a:pt x="672" y="1524"/>
                      </a:lnTo>
                      <a:lnTo>
                        <a:pt x="666" y="1530"/>
                      </a:lnTo>
                      <a:lnTo>
                        <a:pt x="660" y="1530"/>
                      </a:lnTo>
                      <a:lnTo>
                        <a:pt x="648" y="1524"/>
                      </a:lnTo>
                      <a:lnTo>
                        <a:pt x="618" y="1518"/>
                      </a:lnTo>
                      <a:lnTo>
                        <a:pt x="588" y="1518"/>
                      </a:lnTo>
                      <a:lnTo>
                        <a:pt x="552" y="1530"/>
                      </a:lnTo>
                      <a:lnTo>
                        <a:pt x="540" y="1542"/>
                      </a:lnTo>
                      <a:lnTo>
                        <a:pt x="528" y="1554"/>
                      </a:lnTo>
                      <a:lnTo>
                        <a:pt x="516" y="1566"/>
                      </a:lnTo>
                      <a:lnTo>
                        <a:pt x="504" y="1572"/>
                      </a:lnTo>
                      <a:lnTo>
                        <a:pt x="492" y="1578"/>
                      </a:lnTo>
                      <a:lnTo>
                        <a:pt x="480" y="1572"/>
                      </a:lnTo>
                      <a:lnTo>
                        <a:pt x="468" y="1572"/>
                      </a:lnTo>
                      <a:lnTo>
                        <a:pt x="456" y="1578"/>
                      </a:lnTo>
                      <a:lnTo>
                        <a:pt x="444" y="1584"/>
                      </a:lnTo>
                      <a:lnTo>
                        <a:pt x="438" y="1602"/>
                      </a:lnTo>
                      <a:lnTo>
                        <a:pt x="432" y="1614"/>
                      </a:lnTo>
                      <a:lnTo>
                        <a:pt x="426" y="1626"/>
                      </a:lnTo>
                      <a:lnTo>
                        <a:pt x="402" y="1632"/>
                      </a:lnTo>
                      <a:lnTo>
                        <a:pt x="366" y="1626"/>
                      </a:lnTo>
                      <a:lnTo>
                        <a:pt x="324" y="1614"/>
                      </a:lnTo>
                      <a:lnTo>
                        <a:pt x="294" y="1590"/>
                      </a:lnTo>
                      <a:lnTo>
                        <a:pt x="282" y="1566"/>
                      </a:lnTo>
                      <a:lnTo>
                        <a:pt x="282" y="1548"/>
                      </a:lnTo>
                      <a:lnTo>
                        <a:pt x="276" y="1542"/>
                      </a:lnTo>
                      <a:lnTo>
                        <a:pt x="270" y="1536"/>
                      </a:lnTo>
                      <a:lnTo>
                        <a:pt x="264" y="1536"/>
                      </a:lnTo>
                      <a:lnTo>
                        <a:pt x="252" y="1530"/>
                      </a:lnTo>
                      <a:lnTo>
                        <a:pt x="240" y="1530"/>
                      </a:lnTo>
                      <a:lnTo>
                        <a:pt x="234" y="1530"/>
                      </a:lnTo>
                      <a:lnTo>
                        <a:pt x="222" y="1524"/>
                      </a:lnTo>
                      <a:lnTo>
                        <a:pt x="204" y="1518"/>
                      </a:lnTo>
                      <a:lnTo>
                        <a:pt x="198" y="1506"/>
                      </a:lnTo>
                      <a:lnTo>
                        <a:pt x="204" y="1494"/>
                      </a:lnTo>
                      <a:lnTo>
                        <a:pt x="204" y="1482"/>
                      </a:lnTo>
                      <a:lnTo>
                        <a:pt x="216" y="1470"/>
                      </a:lnTo>
                      <a:lnTo>
                        <a:pt x="222" y="1458"/>
                      </a:lnTo>
                      <a:lnTo>
                        <a:pt x="216" y="1440"/>
                      </a:lnTo>
                      <a:lnTo>
                        <a:pt x="204" y="1428"/>
                      </a:lnTo>
                      <a:lnTo>
                        <a:pt x="186" y="1416"/>
                      </a:lnTo>
                      <a:lnTo>
                        <a:pt x="174" y="1398"/>
                      </a:lnTo>
                      <a:lnTo>
                        <a:pt x="156" y="1380"/>
                      </a:lnTo>
                      <a:lnTo>
                        <a:pt x="138" y="1344"/>
                      </a:lnTo>
                      <a:lnTo>
                        <a:pt x="156" y="1302"/>
                      </a:lnTo>
                      <a:lnTo>
                        <a:pt x="186" y="1248"/>
                      </a:lnTo>
                      <a:lnTo>
                        <a:pt x="198" y="1200"/>
                      </a:lnTo>
                      <a:lnTo>
                        <a:pt x="180" y="1158"/>
                      </a:lnTo>
                      <a:lnTo>
                        <a:pt x="150" y="1110"/>
                      </a:lnTo>
                      <a:lnTo>
                        <a:pt x="108" y="1068"/>
                      </a:lnTo>
                      <a:lnTo>
                        <a:pt x="84" y="1038"/>
                      </a:lnTo>
                      <a:lnTo>
                        <a:pt x="66" y="1014"/>
                      </a:lnTo>
                      <a:lnTo>
                        <a:pt x="60" y="978"/>
                      </a:lnTo>
                      <a:lnTo>
                        <a:pt x="54" y="936"/>
                      </a:lnTo>
                      <a:lnTo>
                        <a:pt x="42" y="894"/>
                      </a:lnTo>
                      <a:lnTo>
                        <a:pt x="36" y="852"/>
                      </a:lnTo>
                      <a:lnTo>
                        <a:pt x="30" y="816"/>
                      </a:lnTo>
                      <a:lnTo>
                        <a:pt x="30" y="804"/>
                      </a:lnTo>
                      <a:lnTo>
                        <a:pt x="24" y="792"/>
                      </a:lnTo>
                      <a:lnTo>
                        <a:pt x="18" y="786"/>
                      </a:lnTo>
                      <a:lnTo>
                        <a:pt x="0" y="780"/>
                      </a:lnTo>
                      <a:lnTo>
                        <a:pt x="6" y="768"/>
                      </a:lnTo>
                      <a:lnTo>
                        <a:pt x="18" y="750"/>
                      </a:lnTo>
                      <a:lnTo>
                        <a:pt x="30" y="738"/>
                      </a:lnTo>
                      <a:lnTo>
                        <a:pt x="42" y="732"/>
                      </a:lnTo>
                      <a:lnTo>
                        <a:pt x="60" y="726"/>
                      </a:lnTo>
                      <a:lnTo>
                        <a:pt x="78" y="732"/>
                      </a:lnTo>
                      <a:lnTo>
                        <a:pt x="96" y="744"/>
                      </a:lnTo>
                      <a:lnTo>
                        <a:pt x="132" y="786"/>
                      </a:lnTo>
                      <a:lnTo>
                        <a:pt x="168" y="810"/>
                      </a:lnTo>
                      <a:lnTo>
                        <a:pt x="216" y="816"/>
                      </a:lnTo>
                      <a:lnTo>
                        <a:pt x="264" y="816"/>
                      </a:lnTo>
                      <a:lnTo>
                        <a:pt x="312" y="810"/>
                      </a:lnTo>
                      <a:lnTo>
                        <a:pt x="354" y="804"/>
                      </a:lnTo>
                      <a:lnTo>
                        <a:pt x="372" y="804"/>
                      </a:lnTo>
                      <a:lnTo>
                        <a:pt x="396" y="300"/>
                      </a:lnTo>
                      <a:lnTo>
                        <a:pt x="498" y="366"/>
                      </a:lnTo>
                      <a:lnTo>
                        <a:pt x="510" y="456"/>
                      </a:lnTo>
                      <a:lnTo>
                        <a:pt x="504" y="576"/>
                      </a:lnTo>
                      <a:lnTo>
                        <a:pt x="552" y="606"/>
                      </a:lnTo>
                      <a:lnTo>
                        <a:pt x="630" y="606"/>
                      </a:lnTo>
                      <a:lnTo>
                        <a:pt x="684" y="528"/>
                      </a:lnTo>
                      <a:lnTo>
                        <a:pt x="738" y="468"/>
                      </a:lnTo>
                      <a:lnTo>
                        <a:pt x="804" y="396"/>
                      </a:lnTo>
                      <a:lnTo>
                        <a:pt x="846" y="456"/>
                      </a:lnTo>
                      <a:lnTo>
                        <a:pt x="960" y="450"/>
                      </a:lnTo>
                      <a:lnTo>
                        <a:pt x="1032" y="456"/>
                      </a:lnTo>
                      <a:lnTo>
                        <a:pt x="1074" y="414"/>
                      </a:lnTo>
                      <a:lnTo>
                        <a:pt x="1062" y="354"/>
                      </a:lnTo>
                      <a:lnTo>
                        <a:pt x="1110" y="294"/>
                      </a:lnTo>
                      <a:lnTo>
                        <a:pt x="1140" y="312"/>
                      </a:lnTo>
                      <a:lnTo>
                        <a:pt x="1188" y="252"/>
                      </a:lnTo>
                      <a:lnTo>
                        <a:pt x="1260" y="180"/>
                      </a:lnTo>
                      <a:lnTo>
                        <a:pt x="1314" y="120"/>
                      </a:lnTo>
                      <a:lnTo>
                        <a:pt x="1380" y="66"/>
                      </a:lnTo>
                      <a:lnTo>
                        <a:pt x="1428" y="66"/>
                      </a:lnTo>
                      <a:lnTo>
                        <a:pt x="146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2" name="Freeform 241">
                  <a:extLst>
                    <a:ext uri="{FF2B5EF4-FFF2-40B4-BE49-F238E27FC236}">
                      <a16:creationId xmlns:a16="http://schemas.microsoft.com/office/drawing/2014/main" id="{FF9A7018-D596-46AC-B734-62296AC239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5" y="6858"/>
                  <a:ext cx="240" cy="252"/>
                </a:xfrm>
                <a:custGeom>
                  <a:avLst/>
                  <a:gdLst>
                    <a:gd name="T0" fmla="*/ 162 w 240"/>
                    <a:gd name="T1" fmla="*/ 0 h 252"/>
                    <a:gd name="T2" fmla="*/ 210 w 240"/>
                    <a:gd name="T3" fmla="*/ 36 h 252"/>
                    <a:gd name="T4" fmla="*/ 240 w 240"/>
                    <a:gd name="T5" fmla="*/ 78 h 252"/>
                    <a:gd name="T6" fmla="*/ 234 w 240"/>
                    <a:gd name="T7" fmla="*/ 126 h 252"/>
                    <a:gd name="T8" fmla="*/ 216 w 240"/>
                    <a:gd name="T9" fmla="*/ 180 h 252"/>
                    <a:gd name="T10" fmla="*/ 168 w 240"/>
                    <a:gd name="T11" fmla="*/ 210 h 252"/>
                    <a:gd name="T12" fmla="*/ 126 w 240"/>
                    <a:gd name="T13" fmla="*/ 240 h 252"/>
                    <a:gd name="T14" fmla="*/ 90 w 240"/>
                    <a:gd name="T15" fmla="*/ 252 h 252"/>
                    <a:gd name="T16" fmla="*/ 48 w 240"/>
                    <a:gd name="T17" fmla="*/ 234 h 252"/>
                    <a:gd name="T18" fmla="*/ 12 w 240"/>
                    <a:gd name="T19" fmla="*/ 186 h 252"/>
                    <a:gd name="T20" fmla="*/ 0 w 240"/>
                    <a:gd name="T21" fmla="*/ 156 h 252"/>
                    <a:gd name="T22" fmla="*/ 12 w 240"/>
                    <a:gd name="T23" fmla="*/ 114 h 252"/>
                    <a:gd name="T24" fmla="*/ 48 w 240"/>
                    <a:gd name="T25" fmla="*/ 72 h 252"/>
                    <a:gd name="T26" fmla="*/ 120 w 240"/>
                    <a:gd name="T27" fmla="*/ 18 h 252"/>
                    <a:gd name="T28" fmla="*/ 162 w 240"/>
                    <a:gd name="T29" fmla="*/ 0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0" h="252">
                      <a:moveTo>
                        <a:pt x="162" y="0"/>
                      </a:moveTo>
                      <a:lnTo>
                        <a:pt x="210" y="36"/>
                      </a:lnTo>
                      <a:lnTo>
                        <a:pt x="240" y="78"/>
                      </a:lnTo>
                      <a:lnTo>
                        <a:pt x="234" y="126"/>
                      </a:lnTo>
                      <a:lnTo>
                        <a:pt x="216" y="180"/>
                      </a:lnTo>
                      <a:lnTo>
                        <a:pt x="168" y="210"/>
                      </a:lnTo>
                      <a:lnTo>
                        <a:pt x="126" y="240"/>
                      </a:lnTo>
                      <a:lnTo>
                        <a:pt x="90" y="252"/>
                      </a:lnTo>
                      <a:lnTo>
                        <a:pt x="48" y="234"/>
                      </a:lnTo>
                      <a:lnTo>
                        <a:pt x="12" y="186"/>
                      </a:lnTo>
                      <a:lnTo>
                        <a:pt x="0" y="156"/>
                      </a:lnTo>
                      <a:lnTo>
                        <a:pt x="12" y="114"/>
                      </a:lnTo>
                      <a:lnTo>
                        <a:pt x="48" y="72"/>
                      </a:lnTo>
                      <a:lnTo>
                        <a:pt x="120" y="18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3" name="Freeform 244">
                  <a:extLst>
                    <a:ext uri="{FF2B5EF4-FFF2-40B4-BE49-F238E27FC236}">
                      <a16:creationId xmlns:a16="http://schemas.microsoft.com/office/drawing/2014/main" id="{3307B7DE-D805-4B43-A736-8FB6701D43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611" y="2028"/>
                  <a:ext cx="1266" cy="2052"/>
                </a:xfrm>
                <a:custGeom>
                  <a:avLst/>
                  <a:gdLst>
                    <a:gd name="T0" fmla="*/ 924 w 1266"/>
                    <a:gd name="T1" fmla="*/ 6 h 2052"/>
                    <a:gd name="T2" fmla="*/ 930 w 1266"/>
                    <a:gd name="T3" fmla="*/ 42 h 2052"/>
                    <a:gd name="T4" fmla="*/ 906 w 1266"/>
                    <a:gd name="T5" fmla="*/ 78 h 2052"/>
                    <a:gd name="T6" fmla="*/ 864 w 1266"/>
                    <a:gd name="T7" fmla="*/ 78 h 2052"/>
                    <a:gd name="T8" fmla="*/ 840 w 1266"/>
                    <a:gd name="T9" fmla="*/ 108 h 2052"/>
                    <a:gd name="T10" fmla="*/ 798 w 1266"/>
                    <a:gd name="T11" fmla="*/ 156 h 2052"/>
                    <a:gd name="T12" fmla="*/ 690 w 1266"/>
                    <a:gd name="T13" fmla="*/ 324 h 2052"/>
                    <a:gd name="T14" fmla="*/ 756 w 1266"/>
                    <a:gd name="T15" fmla="*/ 570 h 2052"/>
                    <a:gd name="T16" fmla="*/ 924 w 1266"/>
                    <a:gd name="T17" fmla="*/ 708 h 2052"/>
                    <a:gd name="T18" fmla="*/ 1152 w 1266"/>
                    <a:gd name="T19" fmla="*/ 780 h 2052"/>
                    <a:gd name="T20" fmla="*/ 1230 w 1266"/>
                    <a:gd name="T21" fmla="*/ 852 h 2052"/>
                    <a:gd name="T22" fmla="*/ 1194 w 1266"/>
                    <a:gd name="T23" fmla="*/ 978 h 2052"/>
                    <a:gd name="T24" fmla="*/ 1218 w 1266"/>
                    <a:gd name="T25" fmla="*/ 1050 h 2052"/>
                    <a:gd name="T26" fmla="*/ 1254 w 1266"/>
                    <a:gd name="T27" fmla="*/ 1086 h 2052"/>
                    <a:gd name="T28" fmla="*/ 1266 w 1266"/>
                    <a:gd name="T29" fmla="*/ 1140 h 2052"/>
                    <a:gd name="T30" fmla="*/ 1266 w 1266"/>
                    <a:gd name="T31" fmla="*/ 1278 h 2052"/>
                    <a:gd name="T32" fmla="*/ 1080 w 1266"/>
                    <a:gd name="T33" fmla="*/ 1320 h 2052"/>
                    <a:gd name="T34" fmla="*/ 1068 w 1266"/>
                    <a:gd name="T35" fmla="*/ 1482 h 2052"/>
                    <a:gd name="T36" fmla="*/ 1074 w 1266"/>
                    <a:gd name="T37" fmla="*/ 1620 h 2052"/>
                    <a:gd name="T38" fmla="*/ 1044 w 1266"/>
                    <a:gd name="T39" fmla="*/ 1824 h 2052"/>
                    <a:gd name="T40" fmla="*/ 1014 w 1266"/>
                    <a:gd name="T41" fmla="*/ 2052 h 2052"/>
                    <a:gd name="T42" fmla="*/ 936 w 1266"/>
                    <a:gd name="T43" fmla="*/ 1842 h 2052"/>
                    <a:gd name="T44" fmla="*/ 738 w 1266"/>
                    <a:gd name="T45" fmla="*/ 1836 h 2052"/>
                    <a:gd name="T46" fmla="*/ 588 w 1266"/>
                    <a:gd name="T47" fmla="*/ 1752 h 2052"/>
                    <a:gd name="T48" fmla="*/ 480 w 1266"/>
                    <a:gd name="T49" fmla="*/ 1584 h 2052"/>
                    <a:gd name="T50" fmla="*/ 360 w 1266"/>
                    <a:gd name="T51" fmla="*/ 1566 h 2052"/>
                    <a:gd name="T52" fmla="*/ 102 w 1266"/>
                    <a:gd name="T53" fmla="*/ 1458 h 2052"/>
                    <a:gd name="T54" fmla="*/ 6 w 1266"/>
                    <a:gd name="T55" fmla="*/ 1368 h 2052"/>
                    <a:gd name="T56" fmla="*/ 18 w 1266"/>
                    <a:gd name="T57" fmla="*/ 1314 h 2052"/>
                    <a:gd name="T58" fmla="*/ 30 w 1266"/>
                    <a:gd name="T59" fmla="*/ 1266 h 2052"/>
                    <a:gd name="T60" fmla="*/ 72 w 1266"/>
                    <a:gd name="T61" fmla="*/ 1230 h 2052"/>
                    <a:gd name="T62" fmla="*/ 126 w 1266"/>
                    <a:gd name="T63" fmla="*/ 1188 h 2052"/>
                    <a:gd name="T64" fmla="*/ 174 w 1266"/>
                    <a:gd name="T65" fmla="*/ 1122 h 2052"/>
                    <a:gd name="T66" fmla="*/ 168 w 1266"/>
                    <a:gd name="T67" fmla="*/ 1050 h 2052"/>
                    <a:gd name="T68" fmla="*/ 156 w 1266"/>
                    <a:gd name="T69" fmla="*/ 1002 h 2052"/>
                    <a:gd name="T70" fmla="*/ 168 w 1266"/>
                    <a:gd name="T71" fmla="*/ 954 h 2052"/>
                    <a:gd name="T72" fmla="*/ 162 w 1266"/>
                    <a:gd name="T73" fmla="*/ 822 h 2052"/>
                    <a:gd name="T74" fmla="*/ 180 w 1266"/>
                    <a:gd name="T75" fmla="*/ 732 h 2052"/>
                    <a:gd name="T76" fmla="*/ 198 w 1266"/>
                    <a:gd name="T77" fmla="*/ 696 h 2052"/>
                    <a:gd name="T78" fmla="*/ 168 w 1266"/>
                    <a:gd name="T79" fmla="*/ 654 h 2052"/>
                    <a:gd name="T80" fmla="*/ 150 w 1266"/>
                    <a:gd name="T81" fmla="*/ 612 h 2052"/>
                    <a:gd name="T82" fmla="*/ 282 w 1266"/>
                    <a:gd name="T83" fmla="*/ 516 h 2052"/>
                    <a:gd name="T84" fmla="*/ 294 w 1266"/>
                    <a:gd name="T85" fmla="*/ 516 h 2052"/>
                    <a:gd name="T86" fmla="*/ 294 w 1266"/>
                    <a:gd name="T87" fmla="*/ 486 h 2052"/>
                    <a:gd name="T88" fmla="*/ 294 w 1266"/>
                    <a:gd name="T89" fmla="*/ 456 h 2052"/>
                    <a:gd name="T90" fmla="*/ 318 w 1266"/>
                    <a:gd name="T91" fmla="*/ 426 h 2052"/>
                    <a:gd name="T92" fmla="*/ 366 w 1266"/>
                    <a:gd name="T93" fmla="*/ 378 h 2052"/>
                    <a:gd name="T94" fmla="*/ 402 w 1266"/>
                    <a:gd name="T95" fmla="*/ 348 h 2052"/>
                    <a:gd name="T96" fmla="*/ 402 w 1266"/>
                    <a:gd name="T97" fmla="*/ 306 h 2052"/>
                    <a:gd name="T98" fmla="*/ 432 w 1266"/>
                    <a:gd name="T99" fmla="*/ 258 h 2052"/>
                    <a:gd name="T100" fmla="*/ 486 w 1266"/>
                    <a:gd name="T101" fmla="*/ 198 h 2052"/>
                    <a:gd name="T102" fmla="*/ 504 w 1266"/>
                    <a:gd name="T103" fmla="*/ 168 h 2052"/>
                    <a:gd name="T104" fmla="*/ 570 w 1266"/>
                    <a:gd name="T105" fmla="*/ 132 h 2052"/>
                    <a:gd name="T106" fmla="*/ 660 w 1266"/>
                    <a:gd name="T107" fmla="*/ 126 h 2052"/>
                    <a:gd name="T108" fmla="*/ 702 w 1266"/>
                    <a:gd name="T109" fmla="*/ 120 h 2052"/>
                    <a:gd name="T110" fmla="*/ 756 w 1266"/>
                    <a:gd name="T111" fmla="*/ 78 h 2052"/>
                    <a:gd name="T112" fmla="*/ 792 w 1266"/>
                    <a:gd name="T113" fmla="*/ 54 h 2052"/>
                    <a:gd name="T114" fmla="*/ 810 w 1266"/>
                    <a:gd name="T115" fmla="*/ 24 h 2052"/>
                    <a:gd name="T116" fmla="*/ 864 w 1266"/>
                    <a:gd name="T117" fmla="*/ 6 h 20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266" h="2052">
                      <a:moveTo>
                        <a:pt x="894" y="0"/>
                      </a:moveTo>
                      <a:lnTo>
                        <a:pt x="912" y="0"/>
                      </a:lnTo>
                      <a:lnTo>
                        <a:pt x="924" y="6"/>
                      </a:lnTo>
                      <a:lnTo>
                        <a:pt x="930" y="18"/>
                      </a:lnTo>
                      <a:lnTo>
                        <a:pt x="930" y="30"/>
                      </a:lnTo>
                      <a:lnTo>
                        <a:pt x="930" y="42"/>
                      </a:lnTo>
                      <a:lnTo>
                        <a:pt x="924" y="54"/>
                      </a:lnTo>
                      <a:lnTo>
                        <a:pt x="912" y="72"/>
                      </a:lnTo>
                      <a:lnTo>
                        <a:pt x="906" y="78"/>
                      </a:lnTo>
                      <a:lnTo>
                        <a:pt x="894" y="78"/>
                      </a:lnTo>
                      <a:lnTo>
                        <a:pt x="876" y="78"/>
                      </a:lnTo>
                      <a:lnTo>
                        <a:pt x="864" y="78"/>
                      </a:lnTo>
                      <a:lnTo>
                        <a:pt x="852" y="84"/>
                      </a:lnTo>
                      <a:lnTo>
                        <a:pt x="840" y="90"/>
                      </a:lnTo>
                      <a:lnTo>
                        <a:pt x="840" y="108"/>
                      </a:lnTo>
                      <a:lnTo>
                        <a:pt x="834" y="126"/>
                      </a:lnTo>
                      <a:lnTo>
                        <a:pt x="834" y="126"/>
                      </a:lnTo>
                      <a:lnTo>
                        <a:pt x="798" y="156"/>
                      </a:lnTo>
                      <a:lnTo>
                        <a:pt x="756" y="204"/>
                      </a:lnTo>
                      <a:lnTo>
                        <a:pt x="702" y="258"/>
                      </a:lnTo>
                      <a:lnTo>
                        <a:pt x="690" y="324"/>
                      </a:lnTo>
                      <a:lnTo>
                        <a:pt x="690" y="414"/>
                      </a:lnTo>
                      <a:lnTo>
                        <a:pt x="732" y="498"/>
                      </a:lnTo>
                      <a:lnTo>
                        <a:pt x="756" y="570"/>
                      </a:lnTo>
                      <a:lnTo>
                        <a:pt x="774" y="642"/>
                      </a:lnTo>
                      <a:lnTo>
                        <a:pt x="846" y="684"/>
                      </a:lnTo>
                      <a:lnTo>
                        <a:pt x="924" y="708"/>
                      </a:lnTo>
                      <a:lnTo>
                        <a:pt x="1002" y="720"/>
                      </a:lnTo>
                      <a:lnTo>
                        <a:pt x="1056" y="780"/>
                      </a:lnTo>
                      <a:lnTo>
                        <a:pt x="1152" y="780"/>
                      </a:lnTo>
                      <a:lnTo>
                        <a:pt x="1248" y="786"/>
                      </a:lnTo>
                      <a:lnTo>
                        <a:pt x="1242" y="822"/>
                      </a:lnTo>
                      <a:lnTo>
                        <a:pt x="1230" y="852"/>
                      </a:lnTo>
                      <a:lnTo>
                        <a:pt x="1212" y="888"/>
                      </a:lnTo>
                      <a:lnTo>
                        <a:pt x="1200" y="930"/>
                      </a:lnTo>
                      <a:lnTo>
                        <a:pt x="1194" y="978"/>
                      </a:lnTo>
                      <a:lnTo>
                        <a:pt x="1194" y="1020"/>
                      </a:lnTo>
                      <a:lnTo>
                        <a:pt x="1206" y="1032"/>
                      </a:lnTo>
                      <a:lnTo>
                        <a:pt x="1218" y="1050"/>
                      </a:lnTo>
                      <a:lnTo>
                        <a:pt x="1230" y="1062"/>
                      </a:lnTo>
                      <a:lnTo>
                        <a:pt x="1242" y="1074"/>
                      </a:lnTo>
                      <a:lnTo>
                        <a:pt x="1254" y="1086"/>
                      </a:lnTo>
                      <a:lnTo>
                        <a:pt x="1260" y="1092"/>
                      </a:lnTo>
                      <a:lnTo>
                        <a:pt x="1266" y="1092"/>
                      </a:lnTo>
                      <a:lnTo>
                        <a:pt x="1266" y="1140"/>
                      </a:lnTo>
                      <a:lnTo>
                        <a:pt x="1242" y="1206"/>
                      </a:lnTo>
                      <a:lnTo>
                        <a:pt x="1266" y="1248"/>
                      </a:lnTo>
                      <a:lnTo>
                        <a:pt x="1266" y="1278"/>
                      </a:lnTo>
                      <a:lnTo>
                        <a:pt x="1212" y="1302"/>
                      </a:lnTo>
                      <a:lnTo>
                        <a:pt x="1158" y="1332"/>
                      </a:lnTo>
                      <a:lnTo>
                        <a:pt x="1080" y="1320"/>
                      </a:lnTo>
                      <a:lnTo>
                        <a:pt x="1020" y="1344"/>
                      </a:lnTo>
                      <a:lnTo>
                        <a:pt x="1062" y="1404"/>
                      </a:lnTo>
                      <a:lnTo>
                        <a:pt x="1068" y="1482"/>
                      </a:lnTo>
                      <a:lnTo>
                        <a:pt x="1008" y="1494"/>
                      </a:lnTo>
                      <a:lnTo>
                        <a:pt x="1032" y="1578"/>
                      </a:lnTo>
                      <a:lnTo>
                        <a:pt x="1074" y="1620"/>
                      </a:lnTo>
                      <a:lnTo>
                        <a:pt x="1074" y="1680"/>
                      </a:lnTo>
                      <a:lnTo>
                        <a:pt x="1086" y="1722"/>
                      </a:lnTo>
                      <a:lnTo>
                        <a:pt x="1044" y="1824"/>
                      </a:lnTo>
                      <a:lnTo>
                        <a:pt x="1056" y="1932"/>
                      </a:lnTo>
                      <a:lnTo>
                        <a:pt x="1056" y="2022"/>
                      </a:lnTo>
                      <a:lnTo>
                        <a:pt x="1014" y="2052"/>
                      </a:lnTo>
                      <a:lnTo>
                        <a:pt x="954" y="2022"/>
                      </a:lnTo>
                      <a:lnTo>
                        <a:pt x="972" y="1902"/>
                      </a:lnTo>
                      <a:lnTo>
                        <a:pt x="936" y="1842"/>
                      </a:lnTo>
                      <a:lnTo>
                        <a:pt x="876" y="1824"/>
                      </a:lnTo>
                      <a:lnTo>
                        <a:pt x="804" y="1842"/>
                      </a:lnTo>
                      <a:lnTo>
                        <a:pt x="738" y="1836"/>
                      </a:lnTo>
                      <a:lnTo>
                        <a:pt x="666" y="1842"/>
                      </a:lnTo>
                      <a:lnTo>
                        <a:pt x="612" y="1794"/>
                      </a:lnTo>
                      <a:lnTo>
                        <a:pt x="588" y="1752"/>
                      </a:lnTo>
                      <a:lnTo>
                        <a:pt x="552" y="1722"/>
                      </a:lnTo>
                      <a:lnTo>
                        <a:pt x="510" y="1650"/>
                      </a:lnTo>
                      <a:lnTo>
                        <a:pt x="480" y="1584"/>
                      </a:lnTo>
                      <a:lnTo>
                        <a:pt x="438" y="1572"/>
                      </a:lnTo>
                      <a:lnTo>
                        <a:pt x="396" y="1584"/>
                      </a:lnTo>
                      <a:lnTo>
                        <a:pt x="360" y="1566"/>
                      </a:lnTo>
                      <a:lnTo>
                        <a:pt x="300" y="1536"/>
                      </a:lnTo>
                      <a:lnTo>
                        <a:pt x="186" y="1524"/>
                      </a:lnTo>
                      <a:lnTo>
                        <a:pt x="102" y="1458"/>
                      </a:lnTo>
                      <a:lnTo>
                        <a:pt x="0" y="1386"/>
                      </a:lnTo>
                      <a:lnTo>
                        <a:pt x="0" y="1386"/>
                      </a:lnTo>
                      <a:lnTo>
                        <a:pt x="6" y="1368"/>
                      </a:lnTo>
                      <a:lnTo>
                        <a:pt x="12" y="1350"/>
                      </a:lnTo>
                      <a:lnTo>
                        <a:pt x="18" y="1332"/>
                      </a:lnTo>
                      <a:lnTo>
                        <a:pt x="18" y="1314"/>
                      </a:lnTo>
                      <a:lnTo>
                        <a:pt x="18" y="1296"/>
                      </a:lnTo>
                      <a:lnTo>
                        <a:pt x="24" y="1278"/>
                      </a:lnTo>
                      <a:lnTo>
                        <a:pt x="30" y="1266"/>
                      </a:lnTo>
                      <a:lnTo>
                        <a:pt x="36" y="1248"/>
                      </a:lnTo>
                      <a:lnTo>
                        <a:pt x="54" y="1236"/>
                      </a:lnTo>
                      <a:lnTo>
                        <a:pt x="72" y="1230"/>
                      </a:lnTo>
                      <a:lnTo>
                        <a:pt x="90" y="1218"/>
                      </a:lnTo>
                      <a:lnTo>
                        <a:pt x="108" y="1206"/>
                      </a:lnTo>
                      <a:lnTo>
                        <a:pt x="126" y="1188"/>
                      </a:lnTo>
                      <a:lnTo>
                        <a:pt x="138" y="1170"/>
                      </a:lnTo>
                      <a:lnTo>
                        <a:pt x="156" y="1146"/>
                      </a:lnTo>
                      <a:lnTo>
                        <a:pt x="174" y="1122"/>
                      </a:lnTo>
                      <a:lnTo>
                        <a:pt x="180" y="1098"/>
                      </a:lnTo>
                      <a:lnTo>
                        <a:pt x="174" y="1074"/>
                      </a:lnTo>
                      <a:lnTo>
                        <a:pt x="168" y="1050"/>
                      </a:lnTo>
                      <a:lnTo>
                        <a:pt x="162" y="1032"/>
                      </a:lnTo>
                      <a:lnTo>
                        <a:pt x="156" y="1014"/>
                      </a:lnTo>
                      <a:lnTo>
                        <a:pt x="156" y="1002"/>
                      </a:lnTo>
                      <a:lnTo>
                        <a:pt x="156" y="996"/>
                      </a:lnTo>
                      <a:lnTo>
                        <a:pt x="162" y="984"/>
                      </a:lnTo>
                      <a:lnTo>
                        <a:pt x="168" y="954"/>
                      </a:lnTo>
                      <a:lnTo>
                        <a:pt x="168" y="912"/>
                      </a:lnTo>
                      <a:lnTo>
                        <a:pt x="162" y="858"/>
                      </a:lnTo>
                      <a:lnTo>
                        <a:pt x="162" y="822"/>
                      </a:lnTo>
                      <a:lnTo>
                        <a:pt x="162" y="786"/>
                      </a:lnTo>
                      <a:lnTo>
                        <a:pt x="168" y="750"/>
                      </a:lnTo>
                      <a:lnTo>
                        <a:pt x="180" y="732"/>
                      </a:lnTo>
                      <a:lnTo>
                        <a:pt x="192" y="720"/>
                      </a:lnTo>
                      <a:lnTo>
                        <a:pt x="198" y="708"/>
                      </a:lnTo>
                      <a:lnTo>
                        <a:pt x="198" y="696"/>
                      </a:lnTo>
                      <a:lnTo>
                        <a:pt x="192" y="678"/>
                      </a:lnTo>
                      <a:lnTo>
                        <a:pt x="180" y="666"/>
                      </a:lnTo>
                      <a:lnTo>
                        <a:pt x="168" y="654"/>
                      </a:lnTo>
                      <a:lnTo>
                        <a:pt x="162" y="642"/>
                      </a:lnTo>
                      <a:lnTo>
                        <a:pt x="156" y="624"/>
                      </a:lnTo>
                      <a:lnTo>
                        <a:pt x="150" y="612"/>
                      </a:lnTo>
                      <a:lnTo>
                        <a:pt x="222" y="594"/>
                      </a:lnTo>
                      <a:lnTo>
                        <a:pt x="252" y="546"/>
                      </a:lnTo>
                      <a:lnTo>
                        <a:pt x="282" y="516"/>
                      </a:lnTo>
                      <a:lnTo>
                        <a:pt x="282" y="516"/>
                      </a:lnTo>
                      <a:lnTo>
                        <a:pt x="288" y="516"/>
                      </a:lnTo>
                      <a:lnTo>
                        <a:pt x="294" y="516"/>
                      </a:lnTo>
                      <a:lnTo>
                        <a:pt x="294" y="510"/>
                      </a:lnTo>
                      <a:lnTo>
                        <a:pt x="294" y="498"/>
                      </a:lnTo>
                      <a:lnTo>
                        <a:pt x="294" y="486"/>
                      </a:lnTo>
                      <a:lnTo>
                        <a:pt x="294" y="474"/>
                      </a:lnTo>
                      <a:lnTo>
                        <a:pt x="294" y="462"/>
                      </a:lnTo>
                      <a:lnTo>
                        <a:pt x="294" y="456"/>
                      </a:lnTo>
                      <a:lnTo>
                        <a:pt x="300" y="444"/>
                      </a:lnTo>
                      <a:lnTo>
                        <a:pt x="306" y="438"/>
                      </a:lnTo>
                      <a:lnTo>
                        <a:pt x="318" y="426"/>
                      </a:lnTo>
                      <a:lnTo>
                        <a:pt x="336" y="414"/>
                      </a:lnTo>
                      <a:lnTo>
                        <a:pt x="348" y="396"/>
                      </a:lnTo>
                      <a:lnTo>
                        <a:pt x="366" y="378"/>
                      </a:lnTo>
                      <a:lnTo>
                        <a:pt x="390" y="366"/>
                      </a:lnTo>
                      <a:lnTo>
                        <a:pt x="396" y="354"/>
                      </a:lnTo>
                      <a:lnTo>
                        <a:pt x="402" y="348"/>
                      </a:lnTo>
                      <a:lnTo>
                        <a:pt x="402" y="336"/>
                      </a:lnTo>
                      <a:lnTo>
                        <a:pt x="402" y="318"/>
                      </a:lnTo>
                      <a:lnTo>
                        <a:pt x="402" y="306"/>
                      </a:lnTo>
                      <a:lnTo>
                        <a:pt x="402" y="294"/>
                      </a:lnTo>
                      <a:lnTo>
                        <a:pt x="408" y="282"/>
                      </a:lnTo>
                      <a:lnTo>
                        <a:pt x="432" y="258"/>
                      </a:lnTo>
                      <a:lnTo>
                        <a:pt x="456" y="234"/>
                      </a:lnTo>
                      <a:lnTo>
                        <a:pt x="474" y="210"/>
                      </a:lnTo>
                      <a:lnTo>
                        <a:pt x="486" y="198"/>
                      </a:lnTo>
                      <a:lnTo>
                        <a:pt x="492" y="186"/>
                      </a:lnTo>
                      <a:lnTo>
                        <a:pt x="498" y="180"/>
                      </a:lnTo>
                      <a:lnTo>
                        <a:pt x="504" y="168"/>
                      </a:lnTo>
                      <a:lnTo>
                        <a:pt x="516" y="162"/>
                      </a:lnTo>
                      <a:lnTo>
                        <a:pt x="534" y="150"/>
                      </a:lnTo>
                      <a:lnTo>
                        <a:pt x="570" y="132"/>
                      </a:lnTo>
                      <a:lnTo>
                        <a:pt x="606" y="132"/>
                      </a:lnTo>
                      <a:lnTo>
                        <a:pt x="642" y="126"/>
                      </a:lnTo>
                      <a:lnTo>
                        <a:pt x="660" y="126"/>
                      </a:lnTo>
                      <a:lnTo>
                        <a:pt x="672" y="126"/>
                      </a:lnTo>
                      <a:lnTo>
                        <a:pt x="690" y="126"/>
                      </a:lnTo>
                      <a:lnTo>
                        <a:pt x="702" y="120"/>
                      </a:lnTo>
                      <a:lnTo>
                        <a:pt x="720" y="108"/>
                      </a:lnTo>
                      <a:lnTo>
                        <a:pt x="738" y="90"/>
                      </a:lnTo>
                      <a:lnTo>
                        <a:pt x="756" y="78"/>
                      </a:lnTo>
                      <a:lnTo>
                        <a:pt x="774" y="72"/>
                      </a:lnTo>
                      <a:lnTo>
                        <a:pt x="786" y="60"/>
                      </a:lnTo>
                      <a:lnTo>
                        <a:pt x="792" y="54"/>
                      </a:lnTo>
                      <a:lnTo>
                        <a:pt x="798" y="42"/>
                      </a:lnTo>
                      <a:lnTo>
                        <a:pt x="804" y="36"/>
                      </a:lnTo>
                      <a:lnTo>
                        <a:pt x="810" y="24"/>
                      </a:lnTo>
                      <a:lnTo>
                        <a:pt x="822" y="18"/>
                      </a:lnTo>
                      <a:lnTo>
                        <a:pt x="846" y="12"/>
                      </a:lnTo>
                      <a:lnTo>
                        <a:pt x="864" y="6"/>
                      </a:lnTo>
                      <a:lnTo>
                        <a:pt x="882" y="0"/>
                      </a:lnTo>
                      <a:lnTo>
                        <a:pt x="894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4" name="Freeform 245">
                  <a:extLst>
                    <a:ext uri="{FF2B5EF4-FFF2-40B4-BE49-F238E27FC236}">
                      <a16:creationId xmlns:a16="http://schemas.microsoft.com/office/drawing/2014/main" id="{BD3D5C85-0E55-4C6A-AEC7-95B5DC4106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7921" y="2070"/>
                  <a:ext cx="1464" cy="1434"/>
                </a:xfrm>
                <a:custGeom>
                  <a:avLst/>
                  <a:gdLst>
                    <a:gd name="T0" fmla="*/ 1464 w 1464"/>
                    <a:gd name="T1" fmla="*/ 504 h 1434"/>
                    <a:gd name="T2" fmla="*/ 144 w 1464"/>
                    <a:gd name="T3" fmla="*/ 84 h 1434"/>
                    <a:gd name="T4" fmla="*/ 414 w 1464"/>
                    <a:gd name="T5" fmla="*/ 18 h 1434"/>
                    <a:gd name="T6" fmla="*/ 414 w 1464"/>
                    <a:gd name="T7" fmla="*/ 66 h 1434"/>
                    <a:gd name="T8" fmla="*/ 444 w 1464"/>
                    <a:gd name="T9" fmla="*/ 84 h 1434"/>
                    <a:gd name="T10" fmla="*/ 516 w 1464"/>
                    <a:gd name="T11" fmla="*/ 114 h 1434"/>
                    <a:gd name="T12" fmla="*/ 546 w 1464"/>
                    <a:gd name="T13" fmla="*/ 174 h 1434"/>
                    <a:gd name="T14" fmla="*/ 690 w 1464"/>
                    <a:gd name="T15" fmla="*/ 198 h 1434"/>
                    <a:gd name="T16" fmla="*/ 840 w 1464"/>
                    <a:gd name="T17" fmla="*/ 228 h 1434"/>
                    <a:gd name="T18" fmla="*/ 948 w 1464"/>
                    <a:gd name="T19" fmla="*/ 282 h 1434"/>
                    <a:gd name="T20" fmla="*/ 996 w 1464"/>
                    <a:gd name="T21" fmla="*/ 252 h 1434"/>
                    <a:gd name="T22" fmla="*/ 990 w 1464"/>
                    <a:gd name="T23" fmla="*/ 222 h 1434"/>
                    <a:gd name="T24" fmla="*/ 1020 w 1464"/>
                    <a:gd name="T25" fmla="*/ 216 h 1434"/>
                    <a:gd name="T26" fmla="*/ 1164 w 1464"/>
                    <a:gd name="T27" fmla="*/ 192 h 1434"/>
                    <a:gd name="T28" fmla="*/ 1230 w 1464"/>
                    <a:gd name="T29" fmla="*/ 198 h 1434"/>
                    <a:gd name="T30" fmla="*/ 1224 w 1464"/>
                    <a:gd name="T31" fmla="*/ 234 h 1434"/>
                    <a:gd name="T32" fmla="*/ 1170 w 1464"/>
                    <a:gd name="T33" fmla="*/ 282 h 1434"/>
                    <a:gd name="T34" fmla="*/ 1152 w 1464"/>
                    <a:gd name="T35" fmla="*/ 342 h 1434"/>
                    <a:gd name="T36" fmla="*/ 1182 w 1464"/>
                    <a:gd name="T37" fmla="*/ 336 h 1434"/>
                    <a:gd name="T38" fmla="*/ 1224 w 1464"/>
                    <a:gd name="T39" fmla="*/ 318 h 1434"/>
                    <a:gd name="T40" fmla="*/ 1296 w 1464"/>
                    <a:gd name="T41" fmla="*/ 306 h 1434"/>
                    <a:gd name="T42" fmla="*/ 1356 w 1464"/>
                    <a:gd name="T43" fmla="*/ 354 h 1434"/>
                    <a:gd name="T44" fmla="*/ 1338 w 1464"/>
                    <a:gd name="T45" fmla="*/ 396 h 1434"/>
                    <a:gd name="T46" fmla="*/ 1380 w 1464"/>
                    <a:gd name="T47" fmla="*/ 444 h 1434"/>
                    <a:gd name="T48" fmla="*/ 1440 w 1464"/>
                    <a:gd name="T49" fmla="*/ 492 h 1434"/>
                    <a:gd name="T50" fmla="*/ 1392 w 1464"/>
                    <a:gd name="T51" fmla="*/ 570 h 1434"/>
                    <a:gd name="T52" fmla="*/ 1320 w 1464"/>
                    <a:gd name="T53" fmla="*/ 804 h 1434"/>
                    <a:gd name="T54" fmla="*/ 1392 w 1464"/>
                    <a:gd name="T55" fmla="*/ 906 h 1434"/>
                    <a:gd name="T56" fmla="*/ 1194 w 1464"/>
                    <a:gd name="T57" fmla="*/ 1050 h 1434"/>
                    <a:gd name="T58" fmla="*/ 1014 w 1464"/>
                    <a:gd name="T59" fmla="*/ 990 h 1434"/>
                    <a:gd name="T60" fmla="*/ 996 w 1464"/>
                    <a:gd name="T61" fmla="*/ 1074 h 1434"/>
                    <a:gd name="T62" fmla="*/ 1080 w 1464"/>
                    <a:gd name="T63" fmla="*/ 1218 h 1434"/>
                    <a:gd name="T64" fmla="*/ 906 w 1464"/>
                    <a:gd name="T65" fmla="*/ 1362 h 1434"/>
                    <a:gd name="T66" fmla="*/ 714 w 1464"/>
                    <a:gd name="T67" fmla="*/ 1362 h 1434"/>
                    <a:gd name="T68" fmla="*/ 576 w 1464"/>
                    <a:gd name="T69" fmla="*/ 1206 h 1434"/>
                    <a:gd name="T70" fmla="*/ 570 w 1464"/>
                    <a:gd name="T71" fmla="*/ 1050 h 1434"/>
                    <a:gd name="T72" fmla="*/ 528 w 1464"/>
                    <a:gd name="T73" fmla="*/ 1008 h 1434"/>
                    <a:gd name="T74" fmla="*/ 510 w 1464"/>
                    <a:gd name="T75" fmla="*/ 888 h 1434"/>
                    <a:gd name="T76" fmla="*/ 558 w 1464"/>
                    <a:gd name="T77" fmla="*/ 744 h 1434"/>
                    <a:gd name="T78" fmla="*/ 234 w 1464"/>
                    <a:gd name="T79" fmla="*/ 666 h 1434"/>
                    <a:gd name="T80" fmla="*/ 42 w 1464"/>
                    <a:gd name="T81" fmla="*/ 456 h 1434"/>
                    <a:gd name="T82" fmla="*/ 66 w 1464"/>
                    <a:gd name="T83" fmla="*/ 162 h 1434"/>
                    <a:gd name="T84" fmla="*/ 156 w 1464"/>
                    <a:gd name="T85" fmla="*/ 120 h 1434"/>
                    <a:gd name="T86" fmla="*/ 150 w 1464"/>
                    <a:gd name="T87" fmla="*/ 234 h 1434"/>
                    <a:gd name="T88" fmla="*/ 120 w 1464"/>
                    <a:gd name="T89" fmla="*/ 300 h 1434"/>
                    <a:gd name="T90" fmla="*/ 138 w 1464"/>
                    <a:gd name="T91" fmla="*/ 324 h 1434"/>
                    <a:gd name="T92" fmla="*/ 168 w 1464"/>
                    <a:gd name="T93" fmla="*/ 324 h 1434"/>
                    <a:gd name="T94" fmla="*/ 210 w 1464"/>
                    <a:gd name="T95" fmla="*/ 360 h 1434"/>
                    <a:gd name="T96" fmla="*/ 228 w 1464"/>
                    <a:gd name="T97" fmla="*/ 348 h 1434"/>
                    <a:gd name="T98" fmla="*/ 246 w 1464"/>
                    <a:gd name="T99" fmla="*/ 282 h 1434"/>
                    <a:gd name="T100" fmla="*/ 222 w 1464"/>
                    <a:gd name="T101" fmla="*/ 198 h 1434"/>
                    <a:gd name="T102" fmla="*/ 234 w 1464"/>
                    <a:gd name="T103" fmla="*/ 126 h 1434"/>
                    <a:gd name="T104" fmla="*/ 312 w 1464"/>
                    <a:gd name="T105" fmla="*/ 108 h 1434"/>
                    <a:gd name="T106" fmla="*/ 354 w 1464"/>
                    <a:gd name="T107" fmla="*/ 78 h 1434"/>
                    <a:gd name="T108" fmla="*/ 336 w 1464"/>
                    <a:gd name="T109" fmla="*/ 48 h 1434"/>
                    <a:gd name="T110" fmla="*/ 372 w 1464"/>
                    <a:gd name="T111" fmla="*/ 6 h 14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464" h="1434">
                      <a:moveTo>
                        <a:pt x="1464" y="504"/>
                      </a:moveTo>
                      <a:lnTo>
                        <a:pt x="1464" y="504"/>
                      </a:lnTo>
                      <a:lnTo>
                        <a:pt x="1464" y="504"/>
                      </a:lnTo>
                      <a:lnTo>
                        <a:pt x="1464" y="504"/>
                      </a:lnTo>
                      <a:close/>
                      <a:moveTo>
                        <a:pt x="144" y="84"/>
                      </a:moveTo>
                      <a:lnTo>
                        <a:pt x="144" y="84"/>
                      </a:lnTo>
                      <a:lnTo>
                        <a:pt x="144" y="84"/>
                      </a:lnTo>
                      <a:lnTo>
                        <a:pt x="144" y="84"/>
                      </a:lnTo>
                      <a:close/>
                      <a:moveTo>
                        <a:pt x="402" y="0"/>
                      </a:moveTo>
                      <a:lnTo>
                        <a:pt x="408" y="6"/>
                      </a:lnTo>
                      <a:lnTo>
                        <a:pt x="414" y="12"/>
                      </a:lnTo>
                      <a:lnTo>
                        <a:pt x="414" y="18"/>
                      </a:lnTo>
                      <a:lnTo>
                        <a:pt x="414" y="24"/>
                      </a:lnTo>
                      <a:lnTo>
                        <a:pt x="414" y="36"/>
                      </a:lnTo>
                      <a:lnTo>
                        <a:pt x="414" y="48"/>
                      </a:lnTo>
                      <a:lnTo>
                        <a:pt x="414" y="66"/>
                      </a:lnTo>
                      <a:lnTo>
                        <a:pt x="414" y="72"/>
                      </a:lnTo>
                      <a:lnTo>
                        <a:pt x="420" y="78"/>
                      </a:lnTo>
                      <a:lnTo>
                        <a:pt x="426" y="78"/>
                      </a:lnTo>
                      <a:lnTo>
                        <a:pt x="444" y="84"/>
                      </a:lnTo>
                      <a:lnTo>
                        <a:pt x="456" y="90"/>
                      </a:lnTo>
                      <a:lnTo>
                        <a:pt x="480" y="96"/>
                      </a:lnTo>
                      <a:lnTo>
                        <a:pt x="504" y="108"/>
                      </a:lnTo>
                      <a:lnTo>
                        <a:pt x="516" y="114"/>
                      </a:lnTo>
                      <a:lnTo>
                        <a:pt x="528" y="126"/>
                      </a:lnTo>
                      <a:lnTo>
                        <a:pt x="534" y="138"/>
                      </a:lnTo>
                      <a:lnTo>
                        <a:pt x="534" y="156"/>
                      </a:lnTo>
                      <a:lnTo>
                        <a:pt x="546" y="174"/>
                      </a:lnTo>
                      <a:lnTo>
                        <a:pt x="564" y="198"/>
                      </a:lnTo>
                      <a:lnTo>
                        <a:pt x="594" y="204"/>
                      </a:lnTo>
                      <a:lnTo>
                        <a:pt x="642" y="204"/>
                      </a:lnTo>
                      <a:lnTo>
                        <a:pt x="690" y="198"/>
                      </a:lnTo>
                      <a:lnTo>
                        <a:pt x="738" y="192"/>
                      </a:lnTo>
                      <a:lnTo>
                        <a:pt x="780" y="198"/>
                      </a:lnTo>
                      <a:lnTo>
                        <a:pt x="816" y="204"/>
                      </a:lnTo>
                      <a:lnTo>
                        <a:pt x="840" y="228"/>
                      </a:lnTo>
                      <a:lnTo>
                        <a:pt x="858" y="264"/>
                      </a:lnTo>
                      <a:lnTo>
                        <a:pt x="888" y="288"/>
                      </a:lnTo>
                      <a:lnTo>
                        <a:pt x="918" y="288"/>
                      </a:lnTo>
                      <a:lnTo>
                        <a:pt x="948" y="282"/>
                      </a:lnTo>
                      <a:lnTo>
                        <a:pt x="972" y="264"/>
                      </a:lnTo>
                      <a:lnTo>
                        <a:pt x="984" y="264"/>
                      </a:lnTo>
                      <a:lnTo>
                        <a:pt x="990" y="258"/>
                      </a:lnTo>
                      <a:lnTo>
                        <a:pt x="996" y="252"/>
                      </a:lnTo>
                      <a:lnTo>
                        <a:pt x="1002" y="246"/>
                      </a:lnTo>
                      <a:lnTo>
                        <a:pt x="1002" y="240"/>
                      </a:lnTo>
                      <a:lnTo>
                        <a:pt x="996" y="228"/>
                      </a:lnTo>
                      <a:lnTo>
                        <a:pt x="990" y="222"/>
                      </a:lnTo>
                      <a:lnTo>
                        <a:pt x="990" y="216"/>
                      </a:lnTo>
                      <a:lnTo>
                        <a:pt x="996" y="216"/>
                      </a:lnTo>
                      <a:lnTo>
                        <a:pt x="1008" y="216"/>
                      </a:lnTo>
                      <a:lnTo>
                        <a:pt x="1020" y="216"/>
                      </a:lnTo>
                      <a:lnTo>
                        <a:pt x="1038" y="216"/>
                      </a:lnTo>
                      <a:lnTo>
                        <a:pt x="1056" y="216"/>
                      </a:lnTo>
                      <a:lnTo>
                        <a:pt x="1110" y="210"/>
                      </a:lnTo>
                      <a:lnTo>
                        <a:pt x="1164" y="192"/>
                      </a:lnTo>
                      <a:lnTo>
                        <a:pt x="1182" y="192"/>
                      </a:lnTo>
                      <a:lnTo>
                        <a:pt x="1200" y="192"/>
                      </a:lnTo>
                      <a:lnTo>
                        <a:pt x="1218" y="192"/>
                      </a:lnTo>
                      <a:lnTo>
                        <a:pt x="1230" y="198"/>
                      </a:lnTo>
                      <a:lnTo>
                        <a:pt x="1236" y="210"/>
                      </a:lnTo>
                      <a:lnTo>
                        <a:pt x="1236" y="216"/>
                      </a:lnTo>
                      <a:lnTo>
                        <a:pt x="1236" y="222"/>
                      </a:lnTo>
                      <a:lnTo>
                        <a:pt x="1224" y="234"/>
                      </a:lnTo>
                      <a:lnTo>
                        <a:pt x="1218" y="234"/>
                      </a:lnTo>
                      <a:lnTo>
                        <a:pt x="1200" y="240"/>
                      </a:lnTo>
                      <a:lnTo>
                        <a:pt x="1188" y="258"/>
                      </a:lnTo>
                      <a:lnTo>
                        <a:pt x="1170" y="282"/>
                      </a:lnTo>
                      <a:lnTo>
                        <a:pt x="1158" y="306"/>
                      </a:lnTo>
                      <a:lnTo>
                        <a:pt x="1152" y="324"/>
                      </a:lnTo>
                      <a:lnTo>
                        <a:pt x="1152" y="336"/>
                      </a:lnTo>
                      <a:lnTo>
                        <a:pt x="1152" y="342"/>
                      </a:lnTo>
                      <a:lnTo>
                        <a:pt x="1158" y="348"/>
                      </a:lnTo>
                      <a:lnTo>
                        <a:pt x="1164" y="348"/>
                      </a:lnTo>
                      <a:lnTo>
                        <a:pt x="1176" y="342"/>
                      </a:lnTo>
                      <a:lnTo>
                        <a:pt x="1182" y="336"/>
                      </a:lnTo>
                      <a:lnTo>
                        <a:pt x="1194" y="330"/>
                      </a:lnTo>
                      <a:lnTo>
                        <a:pt x="1206" y="324"/>
                      </a:lnTo>
                      <a:lnTo>
                        <a:pt x="1212" y="324"/>
                      </a:lnTo>
                      <a:lnTo>
                        <a:pt x="1224" y="318"/>
                      </a:lnTo>
                      <a:lnTo>
                        <a:pt x="1236" y="306"/>
                      </a:lnTo>
                      <a:lnTo>
                        <a:pt x="1254" y="300"/>
                      </a:lnTo>
                      <a:lnTo>
                        <a:pt x="1278" y="300"/>
                      </a:lnTo>
                      <a:lnTo>
                        <a:pt x="1296" y="306"/>
                      </a:lnTo>
                      <a:lnTo>
                        <a:pt x="1320" y="318"/>
                      </a:lnTo>
                      <a:lnTo>
                        <a:pt x="1338" y="330"/>
                      </a:lnTo>
                      <a:lnTo>
                        <a:pt x="1350" y="342"/>
                      </a:lnTo>
                      <a:lnTo>
                        <a:pt x="1356" y="354"/>
                      </a:lnTo>
                      <a:lnTo>
                        <a:pt x="1350" y="366"/>
                      </a:lnTo>
                      <a:lnTo>
                        <a:pt x="1338" y="378"/>
                      </a:lnTo>
                      <a:lnTo>
                        <a:pt x="1338" y="384"/>
                      </a:lnTo>
                      <a:lnTo>
                        <a:pt x="1338" y="396"/>
                      </a:lnTo>
                      <a:lnTo>
                        <a:pt x="1344" y="408"/>
                      </a:lnTo>
                      <a:lnTo>
                        <a:pt x="1356" y="420"/>
                      </a:lnTo>
                      <a:lnTo>
                        <a:pt x="1368" y="432"/>
                      </a:lnTo>
                      <a:lnTo>
                        <a:pt x="1380" y="444"/>
                      </a:lnTo>
                      <a:lnTo>
                        <a:pt x="1392" y="456"/>
                      </a:lnTo>
                      <a:lnTo>
                        <a:pt x="1404" y="462"/>
                      </a:lnTo>
                      <a:lnTo>
                        <a:pt x="1422" y="480"/>
                      </a:lnTo>
                      <a:lnTo>
                        <a:pt x="1440" y="492"/>
                      </a:lnTo>
                      <a:lnTo>
                        <a:pt x="1452" y="504"/>
                      </a:lnTo>
                      <a:lnTo>
                        <a:pt x="1464" y="504"/>
                      </a:lnTo>
                      <a:lnTo>
                        <a:pt x="1446" y="552"/>
                      </a:lnTo>
                      <a:lnTo>
                        <a:pt x="1392" y="570"/>
                      </a:lnTo>
                      <a:lnTo>
                        <a:pt x="1386" y="630"/>
                      </a:lnTo>
                      <a:lnTo>
                        <a:pt x="1356" y="690"/>
                      </a:lnTo>
                      <a:lnTo>
                        <a:pt x="1320" y="744"/>
                      </a:lnTo>
                      <a:lnTo>
                        <a:pt x="1320" y="804"/>
                      </a:lnTo>
                      <a:lnTo>
                        <a:pt x="1362" y="846"/>
                      </a:lnTo>
                      <a:lnTo>
                        <a:pt x="1410" y="882"/>
                      </a:lnTo>
                      <a:lnTo>
                        <a:pt x="1410" y="882"/>
                      </a:lnTo>
                      <a:lnTo>
                        <a:pt x="1392" y="906"/>
                      </a:lnTo>
                      <a:lnTo>
                        <a:pt x="1344" y="960"/>
                      </a:lnTo>
                      <a:lnTo>
                        <a:pt x="1266" y="966"/>
                      </a:lnTo>
                      <a:lnTo>
                        <a:pt x="1236" y="996"/>
                      </a:lnTo>
                      <a:lnTo>
                        <a:pt x="1194" y="1050"/>
                      </a:lnTo>
                      <a:lnTo>
                        <a:pt x="1146" y="1056"/>
                      </a:lnTo>
                      <a:lnTo>
                        <a:pt x="1092" y="1056"/>
                      </a:lnTo>
                      <a:lnTo>
                        <a:pt x="1050" y="1032"/>
                      </a:lnTo>
                      <a:lnTo>
                        <a:pt x="1014" y="990"/>
                      </a:lnTo>
                      <a:lnTo>
                        <a:pt x="978" y="960"/>
                      </a:lnTo>
                      <a:lnTo>
                        <a:pt x="948" y="972"/>
                      </a:lnTo>
                      <a:lnTo>
                        <a:pt x="954" y="1026"/>
                      </a:lnTo>
                      <a:lnTo>
                        <a:pt x="996" y="1074"/>
                      </a:lnTo>
                      <a:lnTo>
                        <a:pt x="972" y="1128"/>
                      </a:lnTo>
                      <a:lnTo>
                        <a:pt x="948" y="1182"/>
                      </a:lnTo>
                      <a:lnTo>
                        <a:pt x="1002" y="1212"/>
                      </a:lnTo>
                      <a:lnTo>
                        <a:pt x="1080" y="1218"/>
                      </a:lnTo>
                      <a:lnTo>
                        <a:pt x="1068" y="1278"/>
                      </a:lnTo>
                      <a:lnTo>
                        <a:pt x="1014" y="1290"/>
                      </a:lnTo>
                      <a:lnTo>
                        <a:pt x="936" y="1314"/>
                      </a:lnTo>
                      <a:lnTo>
                        <a:pt x="906" y="1362"/>
                      </a:lnTo>
                      <a:lnTo>
                        <a:pt x="864" y="1404"/>
                      </a:lnTo>
                      <a:lnTo>
                        <a:pt x="798" y="1434"/>
                      </a:lnTo>
                      <a:lnTo>
                        <a:pt x="744" y="1434"/>
                      </a:lnTo>
                      <a:lnTo>
                        <a:pt x="714" y="1362"/>
                      </a:lnTo>
                      <a:lnTo>
                        <a:pt x="648" y="1356"/>
                      </a:lnTo>
                      <a:lnTo>
                        <a:pt x="642" y="1302"/>
                      </a:lnTo>
                      <a:lnTo>
                        <a:pt x="576" y="1236"/>
                      </a:lnTo>
                      <a:lnTo>
                        <a:pt x="576" y="1206"/>
                      </a:lnTo>
                      <a:lnTo>
                        <a:pt x="552" y="1164"/>
                      </a:lnTo>
                      <a:lnTo>
                        <a:pt x="576" y="1098"/>
                      </a:lnTo>
                      <a:lnTo>
                        <a:pt x="576" y="1050"/>
                      </a:lnTo>
                      <a:lnTo>
                        <a:pt x="570" y="1050"/>
                      </a:lnTo>
                      <a:lnTo>
                        <a:pt x="564" y="1044"/>
                      </a:lnTo>
                      <a:lnTo>
                        <a:pt x="552" y="1032"/>
                      </a:lnTo>
                      <a:lnTo>
                        <a:pt x="540" y="1020"/>
                      </a:lnTo>
                      <a:lnTo>
                        <a:pt x="528" y="1008"/>
                      </a:lnTo>
                      <a:lnTo>
                        <a:pt x="516" y="990"/>
                      </a:lnTo>
                      <a:lnTo>
                        <a:pt x="504" y="978"/>
                      </a:lnTo>
                      <a:lnTo>
                        <a:pt x="504" y="936"/>
                      </a:lnTo>
                      <a:lnTo>
                        <a:pt x="510" y="888"/>
                      </a:lnTo>
                      <a:lnTo>
                        <a:pt x="522" y="846"/>
                      </a:lnTo>
                      <a:lnTo>
                        <a:pt x="540" y="810"/>
                      </a:lnTo>
                      <a:lnTo>
                        <a:pt x="552" y="780"/>
                      </a:lnTo>
                      <a:lnTo>
                        <a:pt x="558" y="744"/>
                      </a:lnTo>
                      <a:lnTo>
                        <a:pt x="462" y="738"/>
                      </a:lnTo>
                      <a:lnTo>
                        <a:pt x="366" y="738"/>
                      </a:lnTo>
                      <a:lnTo>
                        <a:pt x="312" y="678"/>
                      </a:lnTo>
                      <a:lnTo>
                        <a:pt x="234" y="666"/>
                      </a:lnTo>
                      <a:lnTo>
                        <a:pt x="156" y="642"/>
                      </a:lnTo>
                      <a:lnTo>
                        <a:pt x="84" y="600"/>
                      </a:lnTo>
                      <a:lnTo>
                        <a:pt x="66" y="528"/>
                      </a:lnTo>
                      <a:lnTo>
                        <a:pt x="42" y="456"/>
                      </a:lnTo>
                      <a:lnTo>
                        <a:pt x="0" y="372"/>
                      </a:lnTo>
                      <a:lnTo>
                        <a:pt x="0" y="282"/>
                      </a:lnTo>
                      <a:lnTo>
                        <a:pt x="12" y="216"/>
                      </a:lnTo>
                      <a:lnTo>
                        <a:pt x="66" y="162"/>
                      </a:lnTo>
                      <a:lnTo>
                        <a:pt x="108" y="114"/>
                      </a:lnTo>
                      <a:lnTo>
                        <a:pt x="144" y="84"/>
                      </a:lnTo>
                      <a:lnTo>
                        <a:pt x="150" y="102"/>
                      </a:lnTo>
                      <a:lnTo>
                        <a:pt x="156" y="120"/>
                      </a:lnTo>
                      <a:lnTo>
                        <a:pt x="168" y="156"/>
                      </a:lnTo>
                      <a:lnTo>
                        <a:pt x="174" y="192"/>
                      </a:lnTo>
                      <a:lnTo>
                        <a:pt x="162" y="222"/>
                      </a:lnTo>
                      <a:lnTo>
                        <a:pt x="150" y="234"/>
                      </a:lnTo>
                      <a:lnTo>
                        <a:pt x="138" y="252"/>
                      </a:lnTo>
                      <a:lnTo>
                        <a:pt x="132" y="264"/>
                      </a:lnTo>
                      <a:lnTo>
                        <a:pt x="120" y="288"/>
                      </a:lnTo>
                      <a:lnTo>
                        <a:pt x="120" y="300"/>
                      </a:lnTo>
                      <a:lnTo>
                        <a:pt x="120" y="312"/>
                      </a:lnTo>
                      <a:lnTo>
                        <a:pt x="126" y="318"/>
                      </a:lnTo>
                      <a:lnTo>
                        <a:pt x="132" y="324"/>
                      </a:lnTo>
                      <a:lnTo>
                        <a:pt x="138" y="324"/>
                      </a:lnTo>
                      <a:lnTo>
                        <a:pt x="150" y="324"/>
                      </a:lnTo>
                      <a:lnTo>
                        <a:pt x="156" y="324"/>
                      </a:lnTo>
                      <a:lnTo>
                        <a:pt x="162" y="324"/>
                      </a:lnTo>
                      <a:lnTo>
                        <a:pt x="168" y="324"/>
                      </a:lnTo>
                      <a:lnTo>
                        <a:pt x="180" y="330"/>
                      </a:lnTo>
                      <a:lnTo>
                        <a:pt x="186" y="336"/>
                      </a:lnTo>
                      <a:lnTo>
                        <a:pt x="198" y="348"/>
                      </a:lnTo>
                      <a:lnTo>
                        <a:pt x="210" y="360"/>
                      </a:lnTo>
                      <a:lnTo>
                        <a:pt x="216" y="366"/>
                      </a:lnTo>
                      <a:lnTo>
                        <a:pt x="222" y="366"/>
                      </a:lnTo>
                      <a:lnTo>
                        <a:pt x="222" y="360"/>
                      </a:lnTo>
                      <a:lnTo>
                        <a:pt x="228" y="348"/>
                      </a:lnTo>
                      <a:lnTo>
                        <a:pt x="234" y="336"/>
                      </a:lnTo>
                      <a:lnTo>
                        <a:pt x="240" y="324"/>
                      </a:lnTo>
                      <a:lnTo>
                        <a:pt x="246" y="300"/>
                      </a:lnTo>
                      <a:lnTo>
                        <a:pt x="246" y="282"/>
                      </a:lnTo>
                      <a:lnTo>
                        <a:pt x="246" y="264"/>
                      </a:lnTo>
                      <a:lnTo>
                        <a:pt x="234" y="240"/>
                      </a:lnTo>
                      <a:lnTo>
                        <a:pt x="222" y="222"/>
                      </a:lnTo>
                      <a:lnTo>
                        <a:pt x="222" y="198"/>
                      </a:lnTo>
                      <a:lnTo>
                        <a:pt x="222" y="174"/>
                      </a:lnTo>
                      <a:lnTo>
                        <a:pt x="222" y="150"/>
                      </a:lnTo>
                      <a:lnTo>
                        <a:pt x="222" y="138"/>
                      </a:lnTo>
                      <a:lnTo>
                        <a:pt x="234" y="126"/>
                      </a:lnTo>
                      <a:lnTo>
                        <a:pt x="252" y="120"/>
                      </a:lnTo>
                      <a:lnTo>
                        <a:pt x="270" y="114"/>
                      </a:lnTo>
                      <a:lnTo>
                        <a:pt x="294" y="108"/>
                      </a:lnTo>
                      <a:lnTo>
                        <a:pt x="312" y="108"/>
                      </a:lnTo>
                      <a:lnTo>
                        <a:pt x="330" y="102"/>
                      </a:lnTo>
                      <a:lnTo>
                        <a:pt x="342" y="96"/>
                      </a:lnTo>
                      <a:lnTo>
                        <a:pt x="348" y="90"/>
                      </a:lnTo>
                      <a:lnTo>
                        <a:pt x="354" y="78"/>
                      </a:lnTo>
                      <a:lnTo>
                        <a:pt x="348" y="72"/>
                      </a:lnTo>
                      <a:lnTo>
                        <a:pt x="348" y="60"/>
                      </a:lnTo>
                      <a:lnTo>
                        <a:pt x="342" y="54"/>
                      </a:lnTo>
                      <a:lnTo>
                        <a:pt x="336" y="48"/>
                      </a:lnTo>
                      <a:lnTo>
                        <a:pt x="336" y="42"/>
                      </a:lnTo>
                      <a:lnTo>
                        <a:pt x="342" y="30"/>
                      </a:lnTo>
                      <a:lnTo>
                        <a:pt x="354" y="18"/>
                      </a:lnTo>
                      <a:lnTo>
                        <a:pt x="372" y="6"/>
                      </a:lnTo>
                      <a:lnTo>
                        <a:pt x="390" y="6"/>
                      </a:lnTo>
                      <a:lnTo>
                        <a:pt x="402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5" name="Freeform 246">
                  <a:extLst>
                    <a:ext uri="{FF2B5EF4-FFF2-40B4-BE49-F238E27FC236}">
                      <a16:creationId xmlns:a16="http://schemas.microsoft.com/office/drawing/2014/main" id="{F6E83F6A-CF55-41A7-A2C5-C3EB5776631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5893" y="2886"/>
                  <a:ext cx="348" cy="426"/>
                </a:xfrm>
                <a:custGeom>
                  <a:avLst/>
                  <a:gdLst>
                    <a:gd name="T0" fmla="*/ 108 w 348"/>
                    <a:gd name="T1" fmla="*/ 0 h 426"/>
                    <a:gd name="T2" fmla="*/ 138 w 348"/>
                    <a:gd name="T3" fmla="*/ 18 h 426"/>
                    <a:gd name="T4" fmla="*/ 168 w 348"/>
                    <a:gd name="T5" fmla="*/ 36 h 426"/>
                    <a:gd name="T6" fmla="*/ 198 w 348"/>
                    <a:gd name="T7" fmla="*/ 48 h 426"/>
                    <a:gd name="T8" fmla="*/ 240 w 348"/>
                    <a:gd name="T9" fmla="*/ 66 h 426"/>
                    <a:gd name="T10" fmla="*/ 270 w 348"/>
                    <a:gd name="T11" fmla="*/ 72 h 426"/>
                    <a:gd name="T12" fmla="*/ 300 w 348"/>
                    <a:gd name="T13" fmla="*/ 84 h 426"/>
                    <a:gd name="T14" fmla="*/ 312 w 348"/>
                    <a:gd name="T15" fmla="*/ 90 h 426"/>
                    <a:gd name="T16" fmla="*/ 324 w 348"/>
                    <a:gd name="T17" fmla="*/ 102 h 426"/>
                    <a:gd name="T18" fmla="*/ 330 w 348"/>
                    <a:gd name="T19" fmla="*/ 114 h 426"/>
                    <a:gd name="T20" fmla="*/ 336 w 348"/>
                    <a:gd name="T21" fmla="*/ 126 h 426"/>
                    <a:gd name="T22" fmla="*/ 336 w 348"/>
                    <a:gd name="T23" fmla="*/ 138 h 426"/>
                    <a:gd name="T24" fmla="*/ 348 w 348"/>
                    <a:gd name="T25" fmla="*/ 150 h 426"/>
                    <a:gd name="T26" fmla="*/ 342 w 348"/>
                    <a:gd name="T27" fmla="*/ 144 h 426"/>
                    <a:gd name="T28" fmla="*/ 288 w 348"/>
                    <a:gd name="T29" fmla="*/ 216 h 426"/>
                    <a:gd name="T30" fmla="*/ 258 w 348"/>
                    <a:gd name="T31" fmla="*/ 264 h 426"/>
                    <a:gd name="T32" fmla="*/ 276 w 348"/>
                    <a:gd name="T33" fmla="*/ 312 h 426"/>
                    <a:gd name="T34" fmla="*/ 252 w 348"/>
                    <a:gd name="T35" fmla="*/ 366 h 426"/>
                    <a:gd name="T36" fmla="*/ 216 w 348"/>
                    <a:gd name="T37" fmla="*/ 414 h 426"/>
                    <a:gd name="T38" fmla="*/ 156 w 348"/>
                    <a:gd name="T39" fmla="*/ 426 h 426"/>
                    <a:gd name="T40" fmla="*/ 78 w 348"/>
                    <a:gd name="T41" fmla="*/ 426 h 426"/>
                    <a:gd name="T42" fmla="*/ 0 w 348"/>
                    <a:gd name="T43" fmla="*/ 378 h 426"/>
                    <a:gd name="T44" fmla="*/ 36 w 348"/>
                    <a:gd name="T45" fmla="*/ 294 h 426"/>
                    <a:gd name="T46" fmla="*/ 66 w 348"/>
                    <a:gd name="T47" fmla="*/ 234 h 426"/>
                    <a:gd name="T48" fmla="*/ 30 w 348"/>
                    <a:gd name="T49" fmla="*/ 168 h 426"/>
                    <a:gd name="T50" fmla="*/ 18 w 348"/>
                    <a:gd name="T51" fmla="*/ 84 h 426"/>
                    <a:gd name="T52" fmla="*/ 42 w 348"/>
                    <a:gd name="T53" fmla="*/ 48 h 426"/>
                    <a:gd name="T54" fmla="*/ 108 w 348"/>
                    <a:gd name="T55" fmla="*/ 0 h 426"/>
                    <a:gd name="T56" fmla="*/ 102 w 348"/>
                    <a:gd name="T57" fmla="*/ 0 h 426"/>
                    <a:gd name="T58" fmla="*/ 108 w 348"/>
                    <a:gd name="T59" fmla="*/ 0 h 426"/>
                    <a:gd name="T60" fmla="*/ 108 w 348"/>
                    <a:gd name="T61" fmla="*/ 0 h 426"/>
                    <a:gd name="T62" fmla="*/ 102 w 348"/>
                    <a:gd name="T63" fmla="*/ 0 h 4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48" h="426">
                      <a:moveTo>
                        <a:pt x="108" y="0"/>
                      </a:moveTo>
                      <a:lnTo>
                        <a:pt x="138" y="18"/>
                      </a:lnTo>
                      <a:lnTo>
                        <a:pt x="168" y="36"/>
                      </a:lnTo>
                      <a:lnTo>
                        <a:pt x="198" y="48"/>
                      </a:lnTo>
                      <a:lnTo>
                        <a:pt x="240" y="66"/>
                      </a:lnTo>
                      <a:lnTo>
                        <a:pt x="270" y="72"/>
                      </a:lnTo>
                      <a:lnTo>
                        <a:pt x="300" y="84"/>
                      </a:lnTo>
                      <a:lnTo>
                        <a:pt x="312" y="90"/>
                      </a:lnTo>
                      <a:lnTo>
                        <a:pt x="324" y="102"/>
                      </a:lnTo>
                      <a:lnTo>
                        <a:pt x="330" y="114"/>
                      </a:lnTo>
                      <a:lnTo>
                        <a:pt x="336" y="126"/>
                      </a:lnTo>
                      <a:lnTo>
                        <a:pt x="336" y="138"/>
                      </a:lnTo>
                      <a:lnTo>
                        <a:pt x="348" y="150"/>
                      </a:lnTo>
                      <a:lnTo>
                        <a:pt x="342" y="144"/>
                      </a:lnTo>
                      <a:lnTo>
                        <a:pt x="288" y="216"/>
                      </a:lnTo>
                      <a:lnTo>
                        <a:pt x="258" y="264"/>
                      </a:lnTo>
                      <a:lnTo>
                        <a:pt x="276" y="312"/>
                      </a:lnTo>
                      <a:lnTo>
                        <a:pt x="252" y="366"/>
                      </a:lnTo>
                      <a:lnTo>
                        <a:pt x="216" y="414"/>
                      </a:lnTo>
                      <a:lnTo>
                        <a:pt x="156" y="426"/>
                      </a:lnTo>
                      <a:lnTo>
                        <a:pt x="78" y="426"/>
                      </a:lnTo>
                      <a:lnTo>
                        <a:pt x="0" y="378"/>
                      </a:lnTo>
                      <a:lnTo>
                        <a:pt x="36" y="294"/>
                      </a:lnTo>
                      <a:lnTo>
                        <a:pt x="66" y="234"/>
                      </a:lnTo>
                      <a:lnTo>
                        <a:pt x="30" y="168"/>
                      </a:lnTo>
                      <a:lnTo>
                        <a:pt x="18" y="84"/>
                      </a:lnTo>
                      <a:lnTo>
                        <a:pt x="42" y="48"/>
                      </a:lnTo>
                      <a:lnTo>
                        <a:pt x="108" y="0"/>
                      </a:lnTo>
                      <a:close/>
                      <a:moveTo>
                        <a:pt x="102" y="0"/>
                      </a:moveTo>
                      <a:lnTo>
                        <a:pt x="108" y="0"/>
                      </a:lnTo>
                      <a:lnTo>
                        <a:pt x="108" y="0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6" name="Freeform 247">
                  <a:extLst>
                    <a:ext uri="{FF2B5EF4-FFF2-40B4-BE49-F238E27FC236}">
                      <a16:creationId xmlns:a16="http://schemas.microsoft.com/office/drawing/2014/main" id="{D6D08A75-C5BF-4FED-BD50-176A250D7E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01" y="2568"/>
                  <a:ext cx="486" cy="858"/>
                </a:xfrm>
                <a:custGeom>
                  <a:avLst/>
                  <a:gdLst>
                    <a:gd name="T0" fmla="*/ 174 w 486"/>
                    <a:gd name="T1" fmla="*/ 6 h 858"/>
                    <a:gd name="T2" fmla="*/ 192 w 486"/>
                    <a:gd name="T3" fmla="*/ 18 h 858"/>
                    <a:gd name="T4" fmla="*/ 246 w 486"/>
                    <a:gd name="T5" fmla="*/ 60 h 858"/>
                    <a:gd name="T6" fmla="*/ 282 w 486"/>
                    <a:gd name="T7" fmla="*/ 132 h 858"/>
                    <a:gd name="T8" fmla="*/ 264 w 486"/>
                    <a:gd name="T9" fmla="*/ 192 h 858"/>
                    <a:gd name="T10" fmla="*/ 264 w 486"/>
                    <a:gd name="T11" fmla="*/ 204 h 858"/>
                    <a:gd name="T12" fmla="*/ 276 w 486"/>
                    <a:gd name="T13" fmla="*/ 210 h 858"/>
                    <a:gd name="T14" fmla="*/ 300 w 486"/>
                    <a:gd name="T15" fmla="*/ 204 h 858"/>
                    <a:gd name="T16" fmla="*/ 324 w 486"/>
                    <a:gd name="T17" fmla="*/ 198 h 858"/>
                    <a:gd name="T18" fmla="*/ 342 w 486"/>
                    <a:gd name="T19" fmla="*/ 198 h 858"/>
                    <a:gd name="T20" fmla="*/ 372 w 486"/>
                    <a:gd name="T21" fmla="*/ 204 h 858"/>
                    <a:gd name="T22" fmla="*/ 396 w 486"/>
                    <a:gd name="T23" fmla="*/ 222 h 858"/>
                    <a:gd name="T24" fmla="*/ 426 w 486"/>
                    <a:gd name="T25" fmla="*/ 240 h 858"/>
                    <a:gd name="T26" fmla="*/ 438 w 486"/>
                    <a:gd name="T27" fmla="*/ 264 h 858"/>
                    <a:gd name="T28" fmla="*/ 438 w 486"/>
                    <a:gd name="T29" fmla="*/ 294 h 858"/>
                    <a:gd name="T30" fmla="*/ 438 w 486"/>
                    <a:gd name="T31" fmla="*/ 312 h 858"/>
                    <a:gd name="T32" fmla="*/ 438 w 486"/>
                    <a:gd name="T33" fmla="*/ 318 h 858"/>
                    <a:gd name="T34" fmla="*/ 402 w 486"/>
                    <a:gd name="T35" fmla="*/ 396 h 858"/>
                    <a:gd name="T36" fmla="*/ 324 w 486"/>
                    <a:gd name="T37" fmla="*/ 450 h 858"/>
                    <a:gd name="T38" fmla="*/ 378 w 486"/>
                    <a:gd name="T39" fmla="*/ 570 h 858"/>
                    <a:gd name="T40" fmla="*/ 438 w 486"/>
                    <a:gd name="T41" fmla="*/ 660 h 858"/>
                    <a:gd name="T42" fmla="*/ 486 w 486"/>
                    <a:gd name="T43" fmla="*/ 780 h 858"/>
                    <a:gd name="T44" fmla="*/ 420 w 486"/>
                    <a:gd name="T45" fmla="*/ 816 h 858"/>
                    <a:gd name="T46" fmla="*/ 324 w 486"/>
                    <a:gd name="T47" fmla="*/ 858 h 858"/>
                    <a:gd name="T48" fmla="*/ 210 w 486"/>
                    <a:gd name="T49" fmla="*/ 834 h 858"/>
                    <a:gd name="T50" fmla="*/ 126 w 486"/>
                    <a:gd name="T51" fmla="*/ 726 h 858"/>
                    <a:gd name="T52" fmla="*/ 126 w 486"/>
                    <a:gd name="T53" fmla="*/ 582 h 858"/>
                    <a:gd name="T54" fmla="*/ 126 w 486"/>
                    <a:gd name="T55" fmla="*/ 474 h 858"/>
                    <a:gd name="T56" fmla="*/ 90 w 486"/>
                    <a:gd name="T57" fmla="*/ 384 h 858"/>
                    <a:gd name="T58" fmla="*/ 42 w 486"/>
                    <a:gd name="T59" fmla="*/ 348 h 858"/>
                    <a:gd name="T60" fmla="*/ 0 w 486"/>
                    <a:gd name="T61" fmla="*/ 246 h 858"/>
                    <a:gd name="T62" fmla="*/ 66 w 486"/>
                    <a:gd name="T63" fmla="*/ 132 h 858"/>
                    <a:gd name="T64" fmla="*/ 126 w 486"/>
                    <a:gd name="T65" fmla="*/ 54 h 858"/>
                    <a:gd name="T66" fmla="*/ 144 w 486"/>
                    <a:gd name="T67" fmla="*/ 6 h 858"/>
                    <a:gd name="T68" fmla="*/ 156 w 486"/>
                    <a:gd name="T69" fmla="*/ 6 h 858"/>
                    <a:gd name="T70" fmla="*/ 168 w 486"/>
                    <a:gd name="T71" fmla="*/ 0 h 8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86" h="858">
                      <a:moveTo>
                        <a:pt x="168" y="0"/>
                      </a:moveTo>
                      <a:lnTo>
                        <a:pt x="174" y="6"/>
                      </a:lnTo>
                      <a:lnTo>
                        <a:pt x="180" y="12"/>
                      </a:lnTo>
                      <a:lnTo>
                        <a:pt x="192" y="18"/>
                      </a:lnTo>
                      <a:lnTo>
                        <a:pt x="210" y="30"/>
                      </a:lnTo>
                      <a:lnTo>
                        <a:pt x="246" y="60"/>
                      </a:lnTo>
                      <a:lnTo>
                        <a:pt x="270" y="96"/>
                      </a:lnTo>
                      <a:lnTo>
                        <a:pt x="282" y="132"/>
                      </a:lnTo>
                      <a:lnTo>
                        <a:pt x="270" y="174"/>
                      </a:lnTo>
                      <a:lnTo>
                        <a:pt x="264" y="192"/>
                      </a:lnTo>
                      <a:lnTo>
                        <a:pt x="258" y="198"/>
                      </a:lnTo>
                      <a:lnTo>
                        <a:pt x="264" y="204"/>
                      </a:lnTo>
                      <a:lnTo>
                        <a:pt x="270" y="210"/>
                      </a:lnTo>
                      <a:lnTo>
                        <a:pt x="276" y="210"/>
                      </a:lnTo>
                      <a:lnTo>
                        <a:pt x="288" y="204"/>
                      </a:lnTo>
                      <a:lnTo>
                        <a:pt x="300" y="204"/>
                      </a:lnTo>
                      <a:lnTo>
                        <a:pt x="312" y="204"/>
                      </a:lnTo>
                      <a:lnTo>
                        <a:pt x="324" y="198"/>
                      </a:lnTo>
                      <a:lnTo>
                        <a:pt x="336" y="198"/>
                      </a:lnTo>
                      <a:lnTo>
                        <a:pt x="342" y="198"/>
                      </a:lnTo>
                      <a:lnTo>
                        <a:pt x="360" y="198"/>
                      </a:lnTo>
                      <a:lnTo>
                        <a:pt x="372" y="204"/>
                      </a:lnTo>
                      <a:lnTo>
                        <a:pt x="384" y="216"/>
                      </a:lnTo>
                      <a:lnTo>
                        <a:pt x="396" y="222"/>
                      </a:lnTo>
                      <a:lnTo>
                        <a:pt x="408" y="234"/>
                      </a:lnTo>
                      <a:lnTo>
                        <a:pt x="426" y="240"/>
                      </a:lnTo>
                      <a:lnTo>
                        <a:pt x="432" y="252"/>
                      </a:lnTo>
                      <a:lnTo>
                        <a:pt x="438" y="264"/>
                      </a:lnTo>
                      <a:lnTo>
                        <a:pt x="438" y="276"/>
                      </a:lnTo>
                      <a:lnTo>
                        <a:pt x="438" y="294"/>
                      </a:lnTo>
                      <a:lnTo>
                        <a:pt x="432" y="306"/>
                      </a:lnTo>
                      <a:lnTo>
                        <a:pt x="438" y="312"/>
                      </a:lnTo>
                      <a:lnTo>
                        <a:pt x="444" y="318"/>
                      </a:lnTo>
                      <a:lnTo>
                        <a:pt x="438" y="318"/>
                      </a:lnTo>
                      <a:lnTo>
                        <a:pt x="426" y="366"/>
                      </a:lnTo>
                      <a:lnTo>
                        <a:pt x="402" y="396"/>
                      </a:lnTo>
                      <a:lnTo>
                        <a:pt x="336" y="390"/>
                      </a:lnTo>
                      <a:lnTo>
                        <a:pt x="324" y="450"/>
                      </a:lnTo>
                      <a:lnTo>
                        <a:pt x="342" y="510"/>
                      </a:lnTo>
                      <a:lnTo>
                        <a:pt x="378" y="570"/>
                      </a:lnTo>
                      <a:lnTo>
                        <a:pt x="456" y="600"/>
                      </a:lnTo>
                      <a:lnTo>
                        <a:pt x="438" y="660"/>
                      </a:lnTo>
                      <a:lnTo>
                        <a:pt x="486" y="708"/>
                      </a:lnTo>
                      <a:lnTo>
                        <a:pt x="486" y="780"/>
                      </a:lnTo>
                      <a:lnTo>
                        <a:pt x="480" y="780"/>
                      </a:lnTo>
                      <a:lnTo>
                        <a:pt x="420" y="816"/>
                      </a:lnTo>
                      <a:lnTo>
                        <a:pt x="354" y="816"/>
                      </a:lnTo>
                      <a:lnTo>
                        <a:pt x="324" y="858"/>
                      </a:lnTo>
                      <a:lnTo>
                        <a:pt x="270" y="858"/>
                      </a:lnTo>
                      <a:lnTo>
                        <a:pt x="210" y="834"/>
                      </a:lnTo>
                      <a:lnTo>
                        <a:pt x="168" y="798"/>
                      </a:lnTo>
                      <a:lnTo>
                        <a:pt x="126" y="726"/>
                      </a:lnTo>
                      <a:lnTo>
                        <a:pt x="120" y="654"/>
                      </a:lnTo>
                      <a:lnTo>
                        <a:pt x="126" y="582"/>
                      </a:lnTo>
                      <a:lnTo>
                        <a:pt x="150" y="510"/>
                      </a:lnTo>
                      <a:lnTo>
                        <a:pt x="126" y="474"/>
                      </a:lnTo>
                      <a:lnTo>
                        <a:pt x="126" y="414"/>
                      </a:lnTo>
                      <a:lnTo>
                        <a:pt x="90" y="384"/>
                      </a:lnTo>
                      <a:lnTo>
                        <a:pt x="90" y="384"/>
                      </a:lnTo>
                      <a:lnTo>
                        <a:pt x="42" y="348"/>
                      </a:lnTo>
                      <a:lnTo>
                        <a:pt x="0" y="306"/>
                      </a:lnTo>
                      <a:lnTo>
                        <a:pt x="0" y="246"/>
                      </a:lnTo>
                      <a:lnTo>
                        <a:pt x="36" y="192"/>
                      </a:lnTo>
                      <a:lnTo>
                        <a:pt x="66" y="132"/>
                      </a:lnTo>
                      <a:lnTo>
                        <a:pt x="72" y="72"/>
                      </a:lnTo>
                      <a:lnTo>
                        <a:pt x="126" y="54"/>
                      </a:lnTo>
                      <a:lnTo>
                        <a:pt x="144" y="6"/>
                      </a:lnTo>
                      <a:lnTo>
                        <a:pt x="144" y="6"/>
                      </a:lnTo>
                      <a:lnTo>
                        <a:pt x="150" y="6"/>
                      </a:lnTo>
                      <a:lnTo>
                        <a:pt x="156" y="6"/>
                      </a:lnTo>
                      <a:lnTo>
                        <a:pt x="162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7" name="Freeform 248">
                  <a:extLst>
                    <a:ext uri="{FF2B5EF4-FFF2-40B4-BE49-F238E27FC236}">
                      <a16:creationId xmlns:a16="http://schemas.microsoft.com/office/drawing/2014/main" id="{06D6DC90-8881-4BE1-8B9A-3A83F799FD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6277" y="2862"/>
                  <a:ext cx="492" cy="486"/>
                </a:xfrm>
                <a:custGeom>
                  <a:avLst/>
                  <a:gdLst>
                    <a:gd name="T0" fmla="*/ 162 w 492"/>
                    <a:gd name="T1" fmla="*/ 486 h 486"/>
                    <a:gd name="T2" fmla="*/ 162 w 492"/>
                    <a:gd name="T3" fmla="*/ 486 h 486"/>
                    <a:gd name="T4" fmla="*/ 156 w 492"/>
                    <a:gd name="T5" fmla="*/ 486 h 486"/>
                    <a:gd name="T6" fmla="*/ 162 w 492"/>
                    <a:gd name="T7" fmla="*/ 486 h 486"/>
                    <a:gd name="T8" fmla="*/ 396 w 492"/>
                    <a:gd name="T9" fmla="*/ 0 h 486"/>
                    <a:gd name="T10" fmla="*/ 426 w 492"/>
                    <a:gd name="T11" fmla="*/ 0 h 486"/>
                    <a:gd name="T12" fmla="*/ 456 w 492"/>
                    <a:gd name="T13" fmla="*/ 12 h 486"/>
                    <a:gd name="T14" fmla="*/ 486 w 492"/>
                    <a:gd name="T15" fmla="*/ 24 h 486"/>
                    <a:gd name="T16" fmla="*/ 492 w 492"/>
                    <a:gd name="T17" fmla="*/ 24 h 486"/>
                    <a:gd name="T18" fmla="*/ 426 w 492"/>
                    <a:gd name="T19" fmla="*/ 72 h 486"/>
                    <a:gd name="T20" fmla="*/ 402 w 492"/>
                    <a:gd name="T21" fmla="*/ 108 h 486"/>
                    <a:gd name="T22" fmla="*/ 414 w 492"/>
                    <a:gd name="T23" fmla="*/ 192 h 486"/>
                    <a:gd name="T24" fmla="*/ 450 w 492"/>
                    <a:gd name="T25" fmla="*/ 258 h 486"/>
                    <a:gd name="T26" fmla="*/ 420 w 492"/>
                    <a:gd name="T27" fmla="*/ 318 h 486"/>
                    <a:gd name="T28" fmla="*/ 384 w 492"/>
                    <a:gd name="T29" fmla="*/ 402 h 486"/>
                    <a:gd name="T30" fmla="*/ 324 w 492"/>
                    <a:gd name="T31" fmla="*/ 420 h 486"/>
                    <a:gd name="T32" fmla="*/ 258 w 492"/>
                    <a:gd name="T33" fmla="*/ 426 h 486"/>
                    <a:gd name="T34" fmla="*/ 222 w 492"/>
                    <a:gd name="T35" fmla="*/ 474 h 486"/>
                    <a:gd name="T36" fmla="*/ 162 w 492"/>
                    <a:gd name="T37" fmla="*/ 486 h 486"/>
                    <a:gd name="T38" fmla="*/ 162 w 492"/>
                    <a:gd name="T39" fmla="*/ 414 h 486"/>
                    <a:gd name="T40" fmla="*/ 114 w 492"/>
                    <a:gd name="T41" fmla="*/ 366 h 486"/>
                    <a:gd name="T42" fmla="*/ 132 w 492"/>
                    <a:gd name="T43" fmla="*/ 306 h 486"/>
                    <a:gd name="T44" fmla="*/ 54 w 492"/>
                    <a:gd name="T45" fmla="*/ 276 h 486"/>
                    <a:gd name="T46" fmla="*/ 18 w 492"/>
                    <a:gd name="T47" fmla="*/ 216 h 486"/>
                    <a:gd name="T48" fmla="*/ 0 w 492"/>
                    <a:gd name="T49" fmla="*/ 156 h 486"/>
                    <a:gd name="T50" fmla="*/ 12 w 492"/>
                    <a:gd name="T51" fmla="*/ 96 h 486"/>
                    <a:gd name="T52" fmla="*/ 78 w 492"/>
                    <a:gd name="T53" fmla="*/ 102 h 486"/>
                    <a:gd name="T54" fmla="*/ 102 w 492"/>
                    <a:gd name="T55" fmla="*/ 72 h 486"/>
                    <a:gd name="T56" fmla="*/ 114 w 492"/>
                    <a:gd name="T57" fmla="*/ 24 h 486"/>
                    <a:gd name="T58" fmla="*/ 120 w 492"/>
                    <a:gd name="T59" fmla="*/ 24 h 486"/>
                    <a:gd name="T60" fmla="*/ 126 w 492"/>
                    <a:gd name="T61" fmla="*/ 24 h 486"/>
                    <a:gd name="T62" fmla="*/ 138 w 492"/>
                    <a:gd name="T63" fmla="*/ 18 h 486"/>
                    <a:gd name="T64" fmla="*/ 150 w 492"/>
                    <a:gd name="T65" fmla="*/ 18 h 486"/>
                    <a:gd name="T66" fmla="*/ 162 w 492"/>
                    <a:gd name="T67" fmla="*/ 12 h 486"/>
                    <a:gd name="T68" fmla="*/ 180 w 492"/>
                    <a:gd name="T69" fmla="*/ 12 h 486"/>
                    <a:gd name="T70" fmla="*/ 198 w 492"/>
                    <a:gd name="T71" fmla="*/ 18 h 486"/>
                    <a:gd name="T72" fmla="*/ 222 w 492"/>
                    <a:gd name="T73" fmla="*/ 24 h 486"/>
                    <a:gd name="T74" fmla="*/ 246 w 492"/>
                    <a:gd name="T75" fmla="*/ 30 h 486"/>
                    <a:gd name="T76" fmla="*/ 270 w 492"/>
                    <a:gd name="T77" fmla="*/ 36 h 486"/>
                    <a:gd name="T78" fmla="*/ 288 w 492"/>
                    <a:gd name="T79" fmla="*/ 36 h 486"/>
                    <a:gd name="T80" fmla="*/ 306 w 492"/>
                    <a:gd name="T81" fmla="*/ 24 h 486"/>
                    <a:gd name="T82" fmla="*/ 318 w 492"/>
                    <a:gd name="T83" fmla="*/ 18 h 486"/>
                    <a:gd name="T84" fmla="*/ 324 w 492"/>
                    <a:gd name="T85" fmla="*/ 18 h 486"/>
                    <a:gd name="T86" fmla="*/ 336 w 492"/>
                    <a:gd name="T87" fmla="*/ 12 h 486"/>
                    <a:gd name="T88" fmla="*/ 354 w 492"/>
                    <a:gd name="T89" fmla="*/ 6 h 486"/>
                    <a:gd name="T90" fmla="*/ 372 w 492"/>
                    <a:gd name="T91" fmla="*/ 0 h 486"/>
                    <a:gd name="T92" fmla="*/ 396 w 492"/>
                    <a:gd name="T93" fmla="*/ 0 h 4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492" h="486">
                      <a:moveTo>
                        <a:pt x="162" y="486"/>
                      </a:moveTo>
                      <a:lnTo>
                        <a:pt x="162" y="486"/>
                      </a:lnTo>
                      <a:lnTo>
                        <a:pt x="156" y="486"/>
                      </a:lnTo>
                      <a:lnTo>
                        <a:pt x="162" y="486"/>
                      </a:lnTo>
                      <a:close/>
                      <a:moveTo>
                        <a:pt x="396" y="0"/>
                      </a:moveTo>
                      <a:lnTo>
                        <a:pt x="426" y="0"/>
                      </a:lnTo>
                      <a:lnTo>
                        <a:pt x="456" y="12"/>
                      </a:lnTo>
                      <a:lnTo>
                        <a:pt x="486" y="24"/>
                      </a:lnTo>
                      <a:lnTo>
                        <a:pt x="492" y="24"/>
                      </a:lnTo>
                      <a:lnTo>
                        <a:pt x="426" y="72"/>
                      </a:lnTo>
                      <a:lnTo>
                        <a:pt x="402" y="108"/>
                      </a:lnTo>
                      <a:lnTo>
                        <a:pt x="414" y="192"/>
                      </a:lnTo>
                      <a:lnTo>
                        <a:pt x="450" y="258"/>
                      </a:lnTo>
                      <a:lnTo>
                        <a:pt x="420" y="318"/>
                      </a:lnTo>
                      <a:lnTo>
                        <a:pt x="384" y="402"/>
                      </a:lnTo>
                      <a:lnTo>
                        <a:pt x="324" y="420"/>
                      </a:lnTo>
                      <a:lnTo>
                        <a:pt x="258" y="426"/>
                      </a:lnTo>
                      <a:lnTo>
                        <a:pt x="222" y="474"/>
                      </a:lnTo>
                      <a:lnTo>
                        <a:pt x="162" y="486"/>
                      </a:lnTo>
                      <a:lnTo>
                        <a:pt x="162" y="414"/>
                      </a:lnTo>
                      <a:lnTo>
                        <a:pt x="114" y="366"/>
                      </a:lnTo>
                      <a:lnTo>
                        <a:pt x="132" y="306"/>
                      </a:lnTo>
                      <a:lnTo>
                        <a:pt x="54" y="276"/>
                      </a:lnTo>
                      <a:lnTo>
                        <a:pt x="18" y="216"/>
                      </a:lnTo>
                      <a:lnTo>
                        <a:pt x="0" y="156"/>
                      </a:lnTo>
                      <a:lnTo>
                        <a:pt x="12" y="96"/>
                      </a:lnTo>
                      <a:lnTo>
                        <a:pt x="78" y="102"/>
                      </a:lnTo>
                      <a:lnTo>
                        <a:pt x="102" y="72"/>
                      </a:lnTo>
                      <a:lnTo>
                        <a:pt x="114" y="24"/>
                      </a:lnTo>
                      <a:lnTo>
                        <a:pt x="120" y="24"/>
                      </a:lnTo>
                      <a:lnTo>
                        <a:pt x="126" y="24"/>
                      </a:lnTo>
                      <a:lnTo>
                        <a:pt x="138" y="18"/>
                      </a:lnTo>
                      <a:lnTo>
                        <a:pt x="150" y="18"/>
                      </a:lnTo>
                      <a:lnTo>
                        <a:pt x="162" y="12"/>
                      </a:lnTo>
                      <a:lnTo>
                        <a:pt x="180" y="12"/>
                      </a:lnTo>
                      <a:lnTo>
                        <a:pt x="198" y="18"/>
                      </a:lnTo>
                      <a:lnTo>
                        <a:pt x="222" y="24"/>
                      </a:lnTo>
                      <a:lnTo>
                        <a:pt x="246" y="30"/>
                      </a:lnTo>
                      <a:lnTo>
                        <a:pt x="270" y="36"/>
                      </a:lnTo>
                      <a:lnTo>
                        <a:pt x="288" y="36"/>
                      </a:lnTo>
                      <a:lnTo>
                        <a:pt x="306" y="24"/>
                      </a:lnTo>
                      <a:lnTo>
                        <a:pt x="318" y="18"/>
                      </a:lnTo>
                      <a:lnTo>
                        <a:pt x="324" y="18"/>
                      </a:lnTo>
                      <a:lnTo>
                        <a:pt x="336" y="12"/>
                      </a:lnTo>
                      <a:lnTo>
                        <a:pt x="354" y="6"/>
                      </a:lnTo>
                      <a:lnTo>
                        <a:pt x="372" y="0"/>
                      </a:lnTo>
                      <a:lnTo>
                        <a:pt x="396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8" name="Freeform 249">
                  <a:extLst>
                    <a:ext uri="{FF2B5EF4-FFF2-40B4-BE49-F238E27FC236}">
                      <a16:creationId xmlns:a16="http://schemas.microsoft.com/office/drawing/2014/main" id="{2BDEAA9E-85E1-4294-B665-5F8857718C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11" y="2952"/>
                  <a:ext cx="4344" cy="4536"/>
                </a:xfrm>
                <a:custGeom>
                  <a:avLst/>
                  <a:gdLst>
                    <a:gd name="T0" fmla="*/ 1578 w 4344"/>
                    <a:gd name="T1" fmla="*/ 414 h 4536"/>
                    <a:gd name="T2" fmla="*/ 1992 w 4344"/>
                    <a:gd name="T3" fmla="*/ 336 h 4536"/>
                    <a:gd name="T4" fmla="*/ 2376 w 4344"/>
                    <a:gd name="T5" fmla="*/ 198 h 4536"/>
                    <a:gd name="T6" fmla="*/ 2520 w 4344"/>
                    <a:gd name="T7" fmla="*/ 156 h 4536"/>
                    <a:gd name="T8" fmla="*/ 2550 w 4344"/>
                    <a:gd name="T9" fmla="*/ 288 h 4536"/>
                    <a:gd name="T10" fmla="*/ 2646 w 4344"/>
                    <a:gd name="T11" fmla="*/ 402 h 4536"/>
                    <a:gd name="T12" fmla="*/ 2622 w 4344"/>
                    <a:gd name="T13" fmla="*/ 486 h 4536"/>
                    <a:gd name="T14" fmla="*/ 2550 w 4344"/>
                    <a:gd name="T15" fmla="*/ 570 h 4536"/>
                    <a:gd name="T16" fmla="*/ 2460 w 4344"/>
                    <a:gd name="T17" fmla="*/ 678 h 4536"/>
                    <a:gd name="T18" fmla="*/ 2310 w 4344"/>
                    <a:gd name="T19" fmla="*/ 798 h 4536"/>
                    <a:gd name="T20" fmla="*/ 2268 w 4344"/>
                    <a:gd name="T21" fmla="*/ 852 h 4536"/>
                    <a:gd name="T22" fmla="*/ 2430 w 4344"/>
                    <a:gd name="T23" fmla="*/ 798 h 4536"/>
                    <a:gd name="T24" fmla="*/ 2694 w 4344"/>
                    <a:gd name="T25" fmla="*/ 858 h 4536"/>
                    <a:gd name="T26" fmla="*/ 2772 w 4344"/>
                    <a:gd name="T27" fmla="*/ 846 h 4536"/>
                    <a:gd name="T28" fmla="*/ 2946 w 4344"/>
                    <a:gd name="T29" fmla="*/ 726 h 4536"/>
                    <a:gd name="T30" fmla="*/ 3198 w 4344"/>
                    <a:gd name="T31" fmla="*/ 810 h 4536"/>
                    <a:gd name="T32" fmla="*/ 3264 w 4344"/>
                    <a:gd name="T33" fmla="*/ 936 h 4536"/>
                    <a:gd name="T34" fmla="*/ 3366 w 4344"/>
                    <a:gd name="T35" fmla="*/ 930 h 4536"/>
                    <a:gd name="T36" fmla="*/ 3648 w 4344"/>
                    <a:gd name="T37" fmla="*/ 942 h 4536"/>
                    <a:gd name="T38" fmla="*/ 4098 w 4344"/>
                    <a:gd name="T39" fmla="*/ 1188 h 4536"/>
                    <a:gd name="T40" fmla="*/ 4344 w 4344"/>
                    <a:gd name="T41" fmla="*/ 1482 h 4536"/>
                    <a:gd name="T42" fmla="*/ 4062 w 4344"/>
                    <a:gd name="T43" fmla="*/ 1938 h 4536"/>
                    <a:gd name="T44" fmla="*/ 3918 w 4344"/>
                    <a:gd name="T45" fmla="*/ 2088 h 4536"/>
                    <a:gd name="T46" fmla="*/ 3870 w 4344"/>
                    <a:gd name="T47" fmla="*/ 2118 h 4536"/>
                    <a:gd name="T48" fmla="*/ 3900 w 4344"/>
                    <a:gd name="T49" fmla="*/ 2394 h 4536"/>
                    <a:gd name="T50" fmla="*/ 3852 w 4344"/>
                    <a:gd name="T51" fmla="*/ 2880 h 4536"/>
                    <a:gd name="T52" fmla="*/ 3696 w 4344"/>
                    <a:gd name="T53" fmla="*/ 3198 h 4536"/>
                    <a:gd name="T54" fmla="*/ 3678 w 4344"/>
                    <a:gd name="T55" fmla="*/ 3270 h 4536"/>
                    <a:gd name="T56" fmla="*/ 3636 w 4344"/>
                    <a:gd name="T57" fmla="*/ 3330 h 4536"/>
                    <a:gd name="T58" fmla="*/ 3390 w 4344"/>
                    <a:gd name="T59" fmla="*/ 3336 h 4536"/>
                    <a:gd name="T60" fmla="*/ 3336 w 4344"/>
                    <a:gd name="T61" fmla="*/ 3408 h 4536"/>
                    <a:gd name="T62" fmla="*/ 3084 w 4344"/>
                    <a:gd name="T63" fmla="*/ 3558 h 4536"/>
                    <a:gd name="T64" fmla="*/ 2994 w 4344"/>
                    <a:gd name="T65" fmla="*/ 3828 h 4536"/>
                    <a:gd name="T66" fmla="*/ 2922 w 4344"/>
                    <a:gd name="T67" fmla="*/ 4128 h 4536"/>
                    <a:gd name="T68" fmla="*/ 2808 w 4344"/>
                    <a:gd name="T69" fmla="*/ 4314 h 4536"/>
                    <a:gd name="T70" fmla="*/ 2802 w 4344"/>
                    <a:gd name="T71" fmla="*/ 4254 h 4536"/>
                    <a:gd name="T72" fmla="*/ 2742 w 4344"/>
                    <a:gd name="T73" fmla="*/ 4344 h 4536"/>
                    <a:gd name="T74" fmla="*/ 2652 w 4344"/>
                    <a:gd name="T75" fmla="*/ 4536 h 4536"/>
                    <a:gd name="T76" fmla="*/ 2118 w 4344"/>
                    <a:gd name="T77" fmla="*/ 4242 h 4536"/>
                    <a:gd name="T78" fmla="*/ 2238 w 4344"/>
                    <a:gd name="T79" fmla="*/ 4014 h 4536"/>
                    <a:gd name="T80" fmla="*/ 2352 w 4344"/>
                    <a:gd name="T81" fmla="*/ 3906 h 4536"/>
                    <a:gd name="T82" fmla="*/ 2352 w 4344"/>
                    <a:gd name="T83" fmla="*/ 3618 h 4536"/>
                    <a:gd name="T84" fmla="*/ 2298 w 4344"/>
                    <a:gd name="T85" fmla="*/ 3474 h 4536"/>
                    <a:gd name="T86" fmla="*/ 1914 w 4344"/>
                    <a:gd name="T87" fmla="*/ 3240 h 4536"/>
                    <a:gd name="T88" fmla="*/ 1866 w 4344"/>
                    <a:gd name="T89" fmla="*/ 3024 h 4536"/>
                    <a:gd name="T90" fmla="*/ 1896 w 4344"/>
                    <a:gd name="T91" fmla="*/ 2802 h 4536"/>
                    <a:gd name="T92" fmla="*/ 1812 w 4344"/>
                    <a:gd name="T93" fmla="*/ 2592 h 4536"/>
                    <a:gd name="T94" fmla="*/ 1530 w 4344"/>
                    <a:gd name="T95" fmla="*/ 2268 h 4536"/>
                    <a:gd name="T96" fmla="*/ 1032 w 4344"/>
                    <a:gd name="T97" fmla="*/ 2100 h 4536"/>
                    <a:gd name="T98" fmla="*/ 966 w 4344"/>
                    <a:gd name="T99" fmla="*/ 1878 h 4536"/>
                    <a:gd name="T100" fmla="*/ 768 w 4344"/>
                    <a:gd name="T101" fmla="*/ 1866 h 4536"/>
                    <a:gd name="T102" fmla="*/ 384 w 4344"/>
                    <a:gd name="T103" fmla="*/ 1836 h 4536"/>
                    <a:gd name="T104" fmla="*/ 30 w 4344"/>
                    <a:gd name="T105" fmla="*/ 1620 h 4536"/>
                    <a:gd name="T106" fmla="*/ 150 w 4344"/>
                    <a:gd name="T107" fmla="*/ 1200 h 4536"/>
                    <a:gd name="T108" fmla="*/ 444 w 4344"/>
                    <a:gd name="T109" fmla="*/ 900 h 4536"/>
                    <a:gd name="T110" fmla="*/ 420 w 4344"/>
                    <a:gd name="T111" fmla="*/ 420 h 4536"/>
                    <a:gd name="T112" fmla="*/ 834 w 4344"/>
                    <a:gd name="T113" fmla="*/ 552 h 4536"/>
                    <a:gd name="T114" fmla="*/ 1092 w 4344"/>
                    <a:gd name="T115" fmla="*/ 330 h 4536"/>
                    <a:gd name="T116" fmla="*/ 1140 w 4344"/>
                    <a:gd name="T117" fmla="*/ 150 h 4536"/>
                    <a:gd name="T118" fmla="*/ 1500 w 4344"/>
                    <a:gd name="T119" fmla="*/ 0 h 4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4344" h="4536">
                      <a:moveTo>
                        <a:pt x="1500" y="0"/>
                      </a:moveTo>
                      <a:lnTo>
                        <a:pt x="1536" y="30"/>
                      </a:lnTo>
                      <a:lnTo>
                        <a:pt x="1536" y="90"/>
                      </a:lnTo>
                      <a:lnTo>
                        <a:pt x="1560" y="126"/>
                      </a:lnTo>
                      <a:lnTo>
                        <a:pt x="1536" y="198"/>
                      </a:lnTo>
                      <a:lnTo>
                        <a:pt x="1530" y="270"/>
                      </a:lnTo>
                      <a:lnTo>
                        <a:pt x="1536" y="342"/>
                      </a:lnTo>
                      <a:lnTo>
                        <a:pt x="1578" y="414"/>
                      </a:lnTo>
                      <a:lnTo>
                        <a:pt x="1620" y="450"/>
                      </a:lnTo>
                      <a:lnTo>
                        <a:pt x="1680" y="474"/>
                      </a:lnTo>
                      <a:lnTo>
                        <a:pt x="1734" y="474"/>
                      </a:lnTo>
                      <a:lnTo>
                        <a:pt x="1764" y="432"/>
                      </a:lnTo>
                      <a:lnTo>
                        <a:pt x="1830" y="432"/>
                      </a:lnTo>
                      <a:lnTo>
                        <a:pt x="1890" y="396"/>
                      </a:lnTo>
                      <a:lnTo>
                        <a:pt x="1956" y="384"/>
                      </a:lnTo>
                      <a:lnTo>
                        <a:pt x="1992" y="336"/>
                      </a:lnTo>
                      <a:lnTo>
                        <a:pt x="2058" y="330"/>
                      </a:lnTo>
                      <a:lnTo>
                        <a:pt x="2118" y="312"/>
                      </a:lnTo>
                      <a:lnTo>
                        <a:pt x="2196" y="360"/>
                      </a:lnTo>
                      <a:lnTo>
                        <a:pt x="2274" y="360"/>
                      </a:lnTo>
                      <a:lnTo>
                        <a:pt x="2334" y="348"/>
                      </a:lnTo>
                      <a:lnTo>
                        <a:pt x="2370" y="300"/>
                      </a:lnTo>
                      <a:lnTo>
                        <a:pt x="2394" y="246"/>
                      </a:lnTo>
                      <a:lnTo>
                        <a:pt x="2376" y="198"/>
                      </a:lnTo>
                      <a:lnTo>
                        <a:pt x="2406" y="150"/>
                      </a:lnTo>
                      <a:lnTo>
                        <a:pt x="2460" y="78"/>
                      </a:lnTo>
                      <a:lnTo>
                        <a:pt x="2466" y="84"/>
                      </a:lnTo>
                      <a:lnTo>
                        <a:pt x="2478" y="96"/>
                      </a:lnTo>
                      <a:lnTo>
                        <a:pt x="2490" y="108"/>
                      </a:lnTo>
                      <a:lnTo>
                        <a:pt x="2496" y="120"/>
                      </a:lnTo>
                      <a:lnTo>
                        <a:pt x="2508" y="138"/>
                      </a:lnTo>
                      <a:lnTo>
                        <a:pt x="2520" y="156"/>
                      </a:lnTo>
                      <a:lnTo>
                        <a:pt x="2526" y="174"/>
                      </a:lnTo>
                      <a:lnTo>
                        <a:pt x="2526" y="198"/>
                      </a:lnTo>
                      <a:lnTo>
                        <a:pt x="2532" y="210"/>
                      </a:lnTo>
                      <a:lnTo>
                        <a:pt x="2538" y="222"/>
                      </a:lnTo>
                      <a:lnTo>
                        <a:pt x="2544" y="234"/>
                      </a:lnTo>
                      <a:lnTo>
                        <a:pt x="2550" y="252"/>
                      </a:lnTo>
                      <a:lnTo>
                        <a:pt x="2550" y="270"/>
                      </a:lnTo>
                      <a:lnTo>
                        <a:pt x="2550" y="288"/>
                      </a:lnTo>
                      <a:lnTo>
                        <a:pt x="2556" y="300"/>
                      </a:lnTo>
                      <a:lnTo>
                        <a:pt x="2562" y="312"/>
                      </a:lnTo>
                      <a:lnTo>
                        <a:pt x="2568" y="318"/>
                      </a:lnTo>
                      <a:lnTo>
                        <a:pt x="2586" y="330"/>
                      </a:lnTo>
                      <a:lnTo>
                        <a:pt x="2598" y="348"/>
                      </a:lnTo>
                      <a:lnTo>
                        <a:pt x="2622" y="372"/>
                      </a:lnTo>
                      <a:lnTo>
                        <a:pt x="2634" y="390"/>
                      </a:lnTo>
                      <a:lnTo>
                        <a:pt x="2646" y="402"/>
                      </a:lnTo>
                      <a:lnTo>
                        <a:pt x="2646" y="414"/>
                      </a:lnTo>
                      <a:lnTo>
                        <a:pt x="2652" y="420"/>
                      </a:lnTo>
                      <a:lnTo>
                        <a:pt x="2652" y="438"/>
                      </a:lnTo>
                      <a:lnTo>
                        <a:pt x="2652" y="456"/>
                      </a:lnTo>
                      <a:lnTo>
                        <a:pt x="2652" y="468"/>
                      </a:lnTo>
                      <a:lnTo>
                        <a:pt x="2646" y="480"/>
                      </a:lnTo>
                      <a:lnTo>
                        <a:pt x="2634" y="486"/>
                      </a:lnTo>
                      <a:lnTo>
                        <a:pt x="2622" y="486"/>
                      </a:lnTo>
                      <a:lnTo>
                        <a:pt x="2610" y="486"/>
                      </a:lnTo>
                      <a:lnTo>
                        <a:pt x="2598" y="498"/>
                      </a:lnTo>
                      <a:lnTo>
                        <a:pt x="2586" y="510"/>
                      </a:lnTo>
                      <a:lnTo>
                        <a:pt x="2580" y="528"/>
                      </a:lnTo>
                      <a:lnTo>
                        <a:pt x="2574" y="540"/>
                      </a:lnTo>
                      <a:lnTo>
                        <a:pt x="2574" y="552"/>
                      </a:lnTo>
                      <a:lnTo>
                        <a:pt x="2562" y="564"/>
                      </a:lnTo>
                      <a:lnTo>
                        <a:pt x="2550" y="570"/>
                      </a:lnTo>
                      <a:lnTo>
                        <a:pt x="2538" y="576"/>
                      </a:lnTo>
                      <a:lnTo>
                        <a:pt x="2532" y="582"/>
                      </a:lnTo>
                      <a:lnTo>
                        <a:pt x="2520" y="594"/>
                      </a:lnTo>
                      <a:lnTo>
                        <a:pt x="2508" y="612"/>
                      </a:lnTo>
                      <a:lnTo>
                        <a:pt x="2490" y="630"/>
                      </a:lnTo>
                      <a:lnTo>
                        <a:pt x="2478" y="648"/>
                      </a:lnTo>
                      <a:lnTo>
                        <a:pt x="2472" y="666"/>
                      </a:lnTo>
                      <a:lnTo>
                        <a:pt x="2460" y="678"/>
                      </a:lnTo>
                      <a:lnTo>
                        <a:pt x="2442" y="696"/>
                      </a:lnTo>
                      <a:lnTo>
                        <a:pt x="2430" y="714"/>
                      </a:lnTo>
                      <a:lnTo>
                        <a:pt x="2412" y="732"/>
                      </a:lnTo>
                      <a:lnTo>
                        <a:pt x="2382" y="750"/>
                      </a:lnTo>
                      <a:lnTo>
                        <a:pt x="2358" y="768"/>
                      </a:lnTo>
                      <a:lnTo>
                        <a:pt x="2328" y="786"/>
                      </a:lnTo>
                      <a:lnTo>
                        <a:pt x="2322" y="792"/>
                      </a:lnTo>
                      <a:lnTo>
                        <a:pt x="2310" y="798"/>
                      </a:lnTo>
                      <a:lnTo>
                        <a:pt x="2298" y="810"/>
                      </a:lnTo>
                      <a:lnTo>
                        <a:pt x="2286" y="822"/>
                      </a:lnTo>
                      <a:lnTo>
                        <a:pt x="2280" y="828"/>
                      </a:lnTo>
                      <a:lnTo>
                        <a:pt x="2268" y="840"/>
                      </a:lnTo>
                      <a:lnTo>
                        <a:pt x="2262" y="846"/>
                      </a:lnTo>
                      <a:lnTo>
                        <a:pt x="2262" y="852"/>
                      </a:lnTo>
                      <a:lnTo>
                        <a:pt x="2262" y="852"/>
                      </a:lnTo>
                      <a:lnTo>
                        <a:pt x="2268" y="852"/>
                      </a:lnTo>
                      <a:lnTo>
                        <a:pt x="2304" y="846"/>
                      </a:lnTo>
                      <a:lnTo>
                        <a:pt x="2334" y="852"/>
                      </a:lnTo>
                      <a:lnTo>
                        <a:pt x="2370" y="840"/>
                      </a:lnTo>
                      <a:lnTo>
                        <a:pt x="2388" y="828"/>
                      </a:lnTo>
                      <a:lnTo>
                        <a:pt x="2394" y="822"/>
                      </a:lnTo>
                      <a:lnTo>
                        <a:pt x="2406" y="810"/>
                      </a:lnTo>
                      <a:lnTo>
                        <a:pt x="2418" y="804"/>
                      </a:lnTo>
                      <a:lnTo>
                        <a:pt x="2430" y="798"/>
                      </a:lnTo>
                      <a:lnTo>
                        <a:pt x="2478" y="810"/>
                      </a:lnTo>
                      <a:lnTo>
                        <a:pt x="2526" y="834"/>
                      </a:lnTo>
                      <a:lnTo>
                        <a:pt x="2580" y="864"/>
                      </a:lnTo>
                      <a:lnTo>
                        <a:pt x="2646" y="870"/>
                      </a:lnTo>
                      <a:lnTo>
                        <a:pt x="2670" y="864"/>
                      </a:lnTo>
                      <a:lnTo>
                        <a:pt x="2682" y="864"/>
                      </a:lnTo>
                      <a:lnTo>
                        <a:pt x="2688" y="858"/>
                      </a:lnTo>
                      <a:lnTo>
                        <a:pt x="2694" y="858"/>
                      </a:lnTo>
                      <a:lnTo>
                        <a:pt x="2694" y="864"/>
                      </a:lnTo>
                      <a:lnTo>
                        <a:pt x="2694" y="876"/>
                      </a:lnTo>
                      <a:lnTo>
                        <a:pt x="2700" y="894"/>
                      </a:lnTo>
                      <a:lnTo>
                        <a:pt x="2706" y="906"/>
                      </a:lnTo>
                      <a:lnTo>
                        <a:pt x="2718" y="906"/>
                      </a:lnTo>
                      <a:lnTo>
                        <a:pt x="2724" y="906"/>
                      </a:lnTo>
                      <a:lnTo>
                        <a:pt x="2736" y="888"/>
                      </a:lnTo>
                      <a:lnTo>
                        <a:pt x="2772" y="846"/>
                      </a:lnTo>
                      <a:lnTo>
                        <a:pt x="2820" y="792"/>
                      </a:lnTo>
                      <a:lnTo>
                        <a:pt x="2832" y="774"/>
                      </a:lnTo>
                      <a:lnTo>
                        <a:pt x="2844" y="756"/>
                      </a:lnTo>
                      <a:lnTo>
                        <a:pt x="2850" y="738"/>
                      </a:lnTo>
                      <a:lnTo>
                        <a:pt x="2862" y="726"/>
                      </a:lnTo>
                      <a:lnTo>
                        <a:pt x="2880" y="714"/>
                      </a:lnTo>
                      <a:lnTo>
                        <a:pt x="2916" y="714"/>
                      </a:lnTo>
                      <a:lnTo>
                        <a:pt x="2946" y="726"/>
                      </a:lnTo>
                      <a:lnTo>
                        <a:pt x="2982" y="732"/>
                      </a:lnTo>
                      <a:lnTo>
                        <a:pt x="3006" y="738"/>
                      </a:lnTo>
                      <a:lnTo>
                        <a:pt x="3024" y="744"/>
                      </a:lnTo>
                      <a:lnTo>
                        <a:pt x="3036" y="756"/>
                      </a:lnTo>
                      <a:lnTo>
                        <a:pt x="3060" y="762"/>
                      </a:lnTo>
                      <a:lnTo>
                        <a:pt x="3078" y="768"/>
                      </a:lnTo>
                      <a:lnTo>
                        <a:pt x="3132" y="780"/>
                      </a:lnTo>
                      <a:lnTo>
                        <a:pt x="3198" y="810"/>
                      </a:lnTo>
                      <a:lnTo>
                        <a:pt x="3240" y="846"/>
                      </a:lnTo>
                      <a:lnTo>
                        <a:pt x="3258" y="882"/>
                      </a:lnTo>
                      <a:lnTo>
                        <a:pt x="3252" y="918"/>
                      </a:lnTo>
                      <a:lnTo>
                        <a:pt x="3252" y="930"/>
                      </a:lnTo>
                      <a:lnTo>
                        <a:pt x="3252" y="936"/>
                      </a:lnTo>
                      <a:lnTo>
                        <a:pt x="3252" y="936"/>
                      </a:lnTo>
                      <a:lnTo>
                        <a:pt x="3258" y="936"/>
                      </a:lnTo>
                      <a:lnTo>
                        <a:pt x="3264" y="936"/>
                      </a:lnTo>
                      <a:lnTo>
                        <a:pt x="3276" y="930"/>
                      </a:lnTo>
                      <a:lnTo>
                        <a:pt x="3282" y="930"/>
                      </a:lnTo>
                      <a:lnTo>
                        <a:pt x="3294" y="930"/>
                      </a:lnTo>
                      <a:lnTo>
                        <a:pt x="3300" y="936"/>
                      </a:lnTo>
                      <a:lnTo>
                        <a:pt x="3312" y="942"/>
                      </a:lnTo>
                      <a:lnTo>
                        <a:pt x="3318" y="942"/>
                      </a:lnTo>
                      <a:lnTo>
                        <a:pt x="3336" y="936"/>
                      </a:lnTo>
                      <a:lnTo>
                        <a:pt x="3366" y="930"/>
                      </a:lnTo>
                      <a:lnTo>
                        <a:pt x="3414" y="924"/>
                      </a:lnTo>
                      <a:lnTo>
                        <a:pt x="3462" y="930"/>
                      </a:lnTo>
                      <a:lnTo>
                        <a:pt x="3492" y="948"/>
                      </a:lnTo>
                      <a:lnTo>
                        <a:pt x="3510" y="966"/>
                      </a:lnTo>
                      <a:lnTo>
                        <a:pt x="3534" y="972"/>
                      </a:lnTo>
                      <a:lnTo>
                        <a:pt x="3558" y="954"/>
                      </a:lnTo>
                      <a:lnTo>
                        <a:pt x="3600" y="942"/>
                      </a:lnTo>
                      <a:lnTo>
                        <a:pt x="3648" y="942"/>
                      </a:lnTo>
                      <a:lnTo>
                        <a:pt x="3702" y="948"/>
                      </a:lnTo>
                      <a:lnTo>
                        <a:pt x="3750" y="966"/>
                      </a:lnTo>
                      <a:lnTo>
                        <a:pt x="3804" y="978"/>
                      </a:lnTo>
                      <a:lnTo>
                        <a:pt x="3864" y="1008"/>
                      </a:lnTo>
                      <a:lnTo>
                        <a:pt x="3930" y="1056"/>
                      </a:lnTo>
                      <a:lnTo>
                        <a:pt x="3996" y="1104"/>
                      </a:lnTo>
                      <a:lnTo>
                        <a:pt x="4044" y="1152"/>
                      </a:lnTo>
                      <a:lnTo>
                        <a:pt x="4098" y="1188"/>
                      </a:lnTo>
                      <a:lnTo>
                        <a:pt x="4152" y="1200"/>
                      </a:lnTo>
                      <a:lnTo>
                        <a:pt x="4212" y="1188"/>
                      </a:lnTo>
                      <a:lnTo>
                        <a:pt x="4260" y="1188"/>
                      </a:lnTo>
                      <a:lnTo>
                        <a:pt x="4296" y="1212"/>
                      </a:lnTo>
                      <a:lnTo>
                        <a:pt x="4320" y="1248"/>
                      </a:lnTo>
                      <a:lnTo>
                        <a:pt x="4338" y="1308"/>
                      </a:lnTo>
                      <a:lnTo>
                        <a:pt x="4344" y="1392"/>
                      </a:lnTo>
                      <a:lnTo>
                        <a:pt x="4344" y="1482"/>
                      </a:lnTo>
                      <a:lnTo>
                        <a:pt x="4332" y="1572"/>
                      </a:lnTo>
                      <a:lnTo>
                        <a:pt x="4314" y="1656"/>
                      </a:lnTo>
                      <a:lnTo>
                        <a:pt x="4284" y="1716"/>
                      </a:lnTo>
                      <a:lnTo>
                        <a:pt x="4254" y="1758"/>
                      </a:lnTo>
                      <a:lnTo>
                        <a:pt x="4206" y="1806"/>
                      </a:lnTo>
                      <a:lnTo>
                        <a:pt x="4152" y="1854"/>
                      </a:lnTo>
                      <a:lnTo>
                        <a:pt x="4104" y="1890"/>
                      </a:lnTo>
                      <a:lnTo>
                        <a:pt x="4062" y="1938"/>
                      </a:lnTo>
                      <a:lnTo>
                        <a:pt x="4032" y="1980"/>
                      </a:lnTo>
                      <a:lnTo>
                        <a:pt x="4008" y="2028"/>
                      </a:lnTo>
                      <a:lnTo>
                        <a:pt x="3984" y="2052"/>
                      </a:lnTo>
                      <a:lnTo>
                        <a:pt x="3972" y="2070"/>
                      </a:lnTo>
                      <a:lnTo>
                        <a:pt x="3960" y="2076"/>
                      </a:lnTo>
                      <a:lnTo>
                        <a:pt x="3948" y="2082"/>
                      </a:lnTo>
                      <a:lnTo>
                        <a:pt x="3936" y="2088"/>
                      </a:lnTo>
                      <a:lnTo>
                        <a:pt x="3918" y="2088"/>
                      </a:lnTo>
                      <a:lnTo>
                        <a:pt x="3894" y="2088"/>
                      </a:lnTo>
                      <a:lnTo>
                        <a:pt x="3876" y="2088"/>
                      </a:lnTo>
                      <a:lnTo>
                        <a:pt x="3864" y="2088"/>
                      </a:lnTo>
                      <a:lnTo>
                        <a:pt x="3858" y="2088"/>
                      </a:lnTo>
                      <a:lnTo>
                        <a:pt x="3858" y="2094"/>
                      </a:lnTo>
                      <a:lnTo>
                        <a:pt x="3858" y="2100"/>
                      </a:lnTo>
                      <a:lnTo>
                        <a:pt x="3864" y="2106"/>
                      </a:lnTo>
                      <a:lnTo>
                        <a:pt x="3870" y="2118"/>
                      </a:lnTo>
                      <a:lnTo>
                        <a:pt x="3882" y="2130"/>
                      </a:lnTo>
                      <a:lnTo>
                        <a:pt x="3888" y="2148"/>
                      </a:lnTo>
                      <a:lnTo>
                        <a:pt x="3894" y="2160"/>
                      </a:lnTo>
                      <a:lnTo>
                        <a:pt x="3900" y="2172"/>
                      </a:lnTo>
                      <a:lnTo>
                        <a:pt x="3900" y="2202"/>
                      </a:lnTo>
                      <a:lnTo>
                        <a:pt x="3900" y="2238"/>
                      </a:lnTo>
                      <a:lnTo>
                        <a:pt x="3900" y="2292"/>
                      </a:lnTo>
                      <a:lnTo>
                        <a:pt x="3900" y="2394"/>
                      </a:lnTo>
                      <a:lnTo>
                        <a:pt x="3906" y="2484"/>
                      </a:lnTo>
                      <a:lnTo>
                        <a:pt x="3906" y="2538"/>
                      </a:lnTo>
                      <a:lnTo>
                        <a:pt x="3900" y="2610"/>
                      </a:lnTo>
                      <a:lnTo>
                        <a:pt x="3888" y="2688"/>
                      </a:lnTo>
                      <a:lnTo>
                        <a:pt x="3870" y="2760"/>
                      </a:lnTo>
                      <a:lnTo>
                        <a:pt x="3858" y="2808"/>
                      </a:lnTo>
                      <a:lnTo>
                        <a:pt x="3852" y="2844"/>
                      </a:lnTo>
                      <a:lnTo>
                        <a:pt x="3852" y="2880"/>
                      </a:lnTo>
                      <a:lnTo>
                        <a:pt x="3840" y="2922"/>
                      </a:lnTo>
                      <a:lnTo>
                        <a:pt x="3810" y="2970"/>
                      </a:lnTo>
                      <a:lnTo>
                        <a:pt x="3768" y="3036"/>
                      </a:lnTo>
                      <a:lnTo>
                        <a:pt x="3744" y="3096"/>
                      </a:lnTo>
                      <a:lnTo>
                        <a:pt x="3726" y="3138"/>
                      </a:lnTo>
                      <a:lnTo>
                        <a:pt x="3708" y="3168"/>
                      </a:lnTo>
                      <a:lnTo>
                        <a:pt x="3696" y="3186"/>
                      </a:lnTo>
                      <a:lnTo>
                        <a:pt x="3696" y="3198"/>
                      </a:lnTo>
                      <a:lnTo>
                        <a:pt x="3696" y="3210"/>
                      </a:lnTo>
                      <a:lnTo>
                        <a:pt x="3702" y="3222"/>
                      </a:lnTo>
                      <a:lnTo>
                        <a:pt x="3708" y="3234"/>
                      </a:lnTo>
                      <a:lnTo>
                        <a:pt x="3708" y="3246"/>
                      </a:lnTo>
                      <a:lnTo>
                        <a:pt x="3714" y="3252"/>
                      </a:lnTo>
                      <a:lnTo>
                        <a:pt x="3708" y="3258"/>
                      </a:lnTo>
                      <a:lnTo>
                        <a:pt x="3690" y="3264"/>
                      </a:lnTo>
                      <a:lnTo>
                        <a:pt x="3678" y="3270"/>
                      </a:lnTo>
                      <a:lnTo>
                        <a:pt x="3672" y="3276"/>
                      </a:lnTo>
                      <a:lnTo>
                        <a:pt x="3666" y="3282"/>
                      </a:lnTo>
                      <a:lnTo>
                        <a:pt x="3660" y="3288"/>
                      </a:lnTo>
                      <a:lnTo>
                        <a:pt x="3660" y="3300"/>
                      </a:lnTo>
                      <a:lnTo>
                        <a:pt x="3660" y="3312"/>
                      </a:lnTo>
                      <a:lnTo>
                        <a:pt x="3660" y="3324"/>
                      </a:lnTo>
                      <a:lnTo>
                        <a:pt x="3648" y="3324"/>
                      </a:lnTo>
                      <a:lnTo>
                        <a:pt x="3636" y="3330"/>
                      </a:lnTo>
                      <a:lnTo>
                        <a:pt x="3618" y="3330"/>
                      </a:lnTo>
                      <a:lnTo>
                        <a:pt x="3594" y="3324"/>
                      </a:lnTo>
                      <a:lnTo>
                        <a:pt x="3558" y="3324"/>
                      </a:lnTo>
                      <a:lnTo>
                        <a:pt x="3522" y="3336"/>
                      </a:lnTo>
                      <a:lnTo>
                        <a:pt x="3480" y="3342"/>
                      </a:lnTo>
                      <a:lnTo>
                        <a:pt x="3432" y="3342"/>
                      </a:lnTo>
                      <a:lnTo>
                        <a:pt x="3408" y="3336"/>
                      </a:lnTo>
                      <a:lnTo>
                        <a:pt x="3390" y="3336"/>
                      </a:lnTo>
                      <a:lnTo>
                        <a:pt x="3378" y="3342"/>
                      </a:lnTo>
                      <a:lnTo>
                        <a:pt x="3366" y="3342"/>
                      </a:lnTo>
                      <a:lnTo>
                        <a:pt x="3360" y="3354"/>
                      </a:lnTo>
                      <a:lnTo>
                        <a:pt x="3360" y="3360"/>
                      </a:lnTo>
                      <a:lnTo>
                        <a:pt x="3354" y="3372"/>
                      </a:lnTo>
                      <a:lnTo>
                        <a:pt x="3348" y="3378"/>
                      </a:lnTo>
                      <a:lnTo>
                        <a:pt x="3348" y="3390"/>
                      </a:lnTo>
                      <a:lnTo>
                        <a:pt x="3336" y="3408"/>
                      </a:lnTo>
                      <a:lnTo>
                        <a:pt x="3324" y="3426"/>
                      </a:lnTo>
                      <a:lnTo>
                        <a:pt x="3312" y="3432"/>
                      </a:lnTo>
                      <a:lnTo>
                        <a:pt x="3288" y="3438"/>
                      </a:lnTo>
                      <a:lnTo>
                        <a:pt x="3264" y="3444"/>
                      </a:lnTo>
                      <a:lnTo>
                        <a:pt x="3204" y="3450"/>
                      </a:lnTo>
                      <a:lnTo>
                        <a:pt x="3150" y="3486"/>
                      </a:lnTo>
                      <a:lnTo>
                        <a:pt x="3120" y="3516"/>
                      </a:lnTo>
                      <a:lnTo>
                        <a:pt x="3084" y="3558"/>
                      </a:lnTo>
                      <a:lnTo>
                        <a:pt x="3042" y="3600"/>
                      </a:lnTo>
                      <a:lnTo>
                        <a:pt x="3000" y="3630"/>
                      </a:lnTo>
                      <a:lnTo>
                        <a:pt x="2976" y="3654"/>
                      </a:lnTo>
                      <a:lnTo>
                        <a:pt x="2958" y="3672"/>
                      </a:lnTo>
                      <a:lnTo>
                        <a:pt x="2952" y="3702"/>
                      </a:lnTo>
                      <a:lnTo>
                        <a:pt x="2958" y="3738"/>
                      </a:lnTo>
                      <a:lnTo>
                        <a:pt x="2976" y="3786"/>
                      </a:lnTo>
                      <a:lnTo>
                        <a:pt x="2994" y="3828"/>
                      </a:lnTo>
                      <a:lnTo>
                        <a:pt x="3000" y="3864"/>
                      </a:lnTo>
                      <a:lnTo>
                        <a:pt x="2982" y="3894"/>
                      </a:lnTo>
                      <a:lnTo>
                        <a:pt x="2964" y="3924"/>
                      </a:lnTo>
                      <a:lnTo>
                        <a:pt x="2964" y="3954"/>
                      </a:lnTo>
                      <a:lnTo>
                        <a:pt x="2970" y="3984"/>
                      </a:lnTo>
                      <a:lnTo>
                        <a:pt x="2970" y="4014"/>
                      </a:lnTo>
                      <a:lnTo>
                        <a:pt x="2946" y="4068"/>
                      </a:lnTo>
                      <a:lnTo>
                        <a:pt x="2922" y="4128"/>
                      </a:lnTo>
                      <a:lnTo>
                        <a:pt x="2886" y="4212"/>
                      </a:lnTo>
                      <a:lnTo>
                        <a:pt x="2832" y="4308"/>
                      </a:lnTo>
                      <a:lnTo>
                        <a:pt x="2820" y="4326"/>
                      </a:lnTo>
                      <a:lnTo>
                        <a:pt x="2814" y="4332"/>
                      </a:lnTo>
                      <a:lnTo>
                        <a:pt x="2808" y="4332"/>
                      </a:lnTo>
                      <a:lnTo>
                        <a:pt x="2808" y="4332"/>
                      </a:lnTo>
                      <a:lnTo>
                        <a:pt x="2808" y="4326"/>
                      </a:lnTo>
                      <a:lnTo>
                        <a:pt x="2808" y="4314"/>
                      </a:lnTo>
                      <a:lnTo>
                        <a:pt x="2808" y="4302"/>
                      </a:lnTo>
                      <a:lnTo>
                        <a:pt x="2808" y="4290"/>
                      </a:lnTo>
                      <a:lnTo>
                        <a:pt x="2814" y="4278"/>
                      </a:lnTo>
                      <a:lnTo>
                        <a:pt x="2814" y="4272"/>
                      </a:lnTo>
                      <a:lnTo>
                        <a:pt x="2814" y="4260"/>
                      </a:lnTo>
                      <a:lnTo>
                        <a:pt x="2814" y="4254"/>
                      </a:lnTo>
                      <a:lnTo>
                        <a:pt x="2808" y="4254"/>
                      </a:lnTo>
                      <a:lnTo>
                        <a:pt x="2802" y="4254"/>
                      </a:lnTo>
                      <a:lnTo>
                        <a:pt x="2790" y="4254"/>
                      </a:lnTo>
                      <a:lnTo>
                        <a:pt x="2784" y="4254"/>
                      </a:lnTo>
                      <a:lnTo>
                        <a:pt x="2772" y="4248"/>
                      </a:lnTo>
                      <a:lnTo>
                        <a:pt x="2766" y="4242"/>
                      </a:lnTo>
                      <a:lnTo>
                        <a:pt x="2748" y="4242"/>
                      </a:lnTo>
                      <a:lnTo>
                        <a:pt x="2742" y="4266"/>
                      </a:lnTo>
                      <a:lnTo>
                        <a:pt x="2742" y="4302"/>
                      </a:lnTo>
                      <a:lnTo>
                        <a:pt x="2742" y="4344"/>
                      </a:lnTo>
                      <a:lnTo>
                        <a:pt x="2730" y="4392"/>
                      </a:lnTo>
                      <a:lnTo>
                        <a:pt x="2706" y="4440"/>
                      </a:lnTo>
                      <a:lnTo>
                        <a:pt x="2682" y="4464"/>
                      </a:lnTo>
                      <a:lnTo>
                        <a:pt x="2670" y="4476"/>
                      </a:lnTo>
                      <a:lnTo>
                        <a:pt x="2664" y="4494"/>
                      </a:lnTo>
                      <a:lnTo>
                        <a:pt x="2658" y="4518"/>
                      </a:lnTo>
                      <a:lnTo>
                        <a:pt x="2652" y="4536"/>
                      </a:lnTo>
                      <a:lnTo>
                        <a:pt x="2652" y="4536"/>
                      </a:lnTo>
                      <a:lnTo>
                        <a:pt x="2508" y="4506"/>
                      </a:lnTo>
                      <a:lnTo>
                        <a:pt x="2424" y="4422"/>
                      </a:lnTo>
                      <a:lnTo>
                        <a:pt x="2358" y="4410"/>
                      </a:lnTo>
                      <a:lnTo>
                        <a:pt x="2316" y="4356"/>
                      </a:lnTo>
                      <a:lnTo>
                        <a:pt x="2280" y="4356"/>
                      </a:lnTo>
                      <a:lnTo>
                        <a:pt x="2214" y="4290"/>
                      </a:lnTo>
                      <a:lnTo>
                        <a:pt x="2106" y="4248"/>
                      </a:lnTo>
                      <a:lnTo>
                        <a:pt x="2118" y="4242"/>
                      </a:lnTo>
                      <a:lnTo>
                        <a:pt x="2142" y="4218"/>
                      </a:lnTo>
                      <a:lnTo>
                        <a:pt x="2166" y="4182"/>
                      </a:lnTo>
                      <a:lnTo>
                        <a:pt x="2178" y="4140"/>
                      </a:lnTo>
                      <a:lnTo>
                        <a:pt x="2190" y="4104"/>
                      </a:lnTo>
                      <a:lnTo>
                        <a:pt x="2208" y="4080"/>
                      </a:lnTo>
                      <a:lnTo>
                        <a:pt x="2232" y="4050"/>
                      </a:lnTo>
                      <a:lnTo>
                        <a:pt x="2238" y="4026"/>
                      </a:lnTo>
                      <a:lnTo>
                        <a:pt x="2238" y="4014"/>
                      </a:lnTo>
                      <a:lnTo>
                        <a:pt x="2244" y="4008"/>
                      </a:lnTo>
                      <a:lnTo>
                        <a:pt x="2250" y="4002"/>
                      </a:lnTo>
                      <a:lnTo>
                        <a:pt x="2262" y="3996"/>
                      </a:lnTo>
                      <a:lnTo>
                        <a:pt x="2274" y="3996"/>
                      </a:lnTo>
                      <a:lnTo>
                        <a:pt x="2286" y="3984"/>
                      </a:lnTo>
                      <a:lnTo>
                        <a:pt x="2304" y="3972"/>
                      </a:lnTo>
                      <a:lnTo>
                        <a:pt x="2316" y="3954"/>
                      </a:lnTo>
                      <a:lnTo>
                        <a:pt x="2352" y="3906"/>
                      </a:lnTo>
                      <a:lnTo>
                        <a:pt x="2394" y="3882"/>
                      </a:lnTo>
                      <a:lnTo>
                        <a:pt x="2436" y="3870"/>
                      </a:lnTo>
                      <a:lnTo>
                        <a:pt x="2436" y="3786"/>
                      </a:lnTo>
                      <a:lnTo>
                        <a:pt x="2418" y="3756"/>
                      </a:lnTo>
                      <a:lnTo>
                        <a:pt x="2418" y="3714"/>
                      </a:lnTo>
                      <a:lnTo>
                        <a:pt x="2370" y="3666"/>
                      </a:lnTo>
                      <a:lnTo>
                        <a:pt x="2364" y="3654"/>
                      </a:lnTo>
                      <a:lnTo>
                        <a:pt x="2352" y="3618"/>
                      </a:lnTo>
                      <a:lnTo>
                        <a:pt x="2346" y="3570"/>
                      </a:lnTo>
                      <a:lnTo>
                        <a:pt x="2340" y="3534"/>
                      </a:lnTo>
                      <a:lnTo>
                        <a:pt x="2346" y="3510"/>
                      </a:lnTo>
                      <a:lnTo>
                        <a:pt x="2346" y="3492"/>
                      </a:lnTo>
                      <a:lnTo>
                        <a:pt x="2346" y="3480"/>
                      </a:lnTo>
                      <a:lnTo>
                        <a:pt x="2346" y="3474"/>
                      </a:lnTo>
                      <a:lnTo>
                        <a:pt x="2346" y="3474"/>
                      </a:lnTo>
                      <a:lnTo>
                        <a:pt x="2298" y="3474"/>
                      </a:lnTo>
                      <a:lnTo>
                        <a:pt x="2232" y="3444"/>
                      </a:lnTo>
                      <a:lnTo>
                        <a:pt x="2214" y="3432"/>
                      </a:lnTo>
                      <a:lnTo>
                        <a:pt x="2190" y="3342"/>
                      </a:lnTo>
                      <a:lnTo>
                        <a:pt x="2136" y="3300"/>
                      </a:lnTo>
                      <a:lnTo>
                        <a:pt x="2076" y="3300"/>
                      </a:lnTo>
                      <a:lnTo>
                        <a:pt x="1992" y="3294"/>
                      </a:lnTo>
                      <a:lnTo>
                        <a:pt x="1938" y="3282"/>
                      </a:lnTo>
                      <a:lnTo>
                        <a:pt x="1914" y="3240"/>
                      </a:lnTo>
                      <a:lnTo>
                        <a:pt x="1914" y="3234"/>
                      </a:lnTo>
                      <a:lnTo>
                        <a:pt x="1920" y="3210"/>
                      </a:lnTo>
                      <a:lnTo>
                        <a:pt x="1926" y="3180"/>
                      </a:lnTo>
                      <a:lnTo>
                        <a:pt x="1920" y="3138"/>
                      </a:lnTo>
                      <a:lnTo>
                        <a:pt x="1896" y="3090"/>
                      </a:lnTo>
                      <a:lnTo>
                        <a:pt x="1878" y="3066"/>
                      </a:lnTo>
                      <a:lnTo>
                        <a:pt x="1872" y="3042"/>
                      </a:lnTo>
                      <a:lnTo>
                        <a:pt x="1866" y="3024"/>
                      </a:lnTo>
                      <a:lnTo>
                        <a:pt x="1860" y="2976"/>
                      </a:lnTo>
                      <a:lnTo>
                        <a:pt x="1866" y="2934"/>
                      </a:lnTo>
                      <a:lnTo>
                        <a:pt x="1872" y="2904"/>
                      </a:lnTo>
                      <a:lnTo>
                        <a:pt x="1866" y="2880"/>
                      </a:lnTo>
                      <a:lnTo>
                        <a:pt x="1872" y="2856"/>
                      </a:lnTo>
                      <a:lnTo>
                        <a:pt x="1878" y="2832"/>
                      </a:lnTo>
                      <a:lnTo>
                        <a:pt x="1890" y="2814"/>
                      </a:lnTo>
                      <a:lnTo>
                        <a:pt x="1896" y="2802"/>
                      </a:lnTo>
                      <a:lnTo>
                        <a:pt x="1896" y="2790"/>
                      </a:lnTo>
                      <a:lnTo>
                        <a:pt x="1896" y="2772"/>
                      </a:lnTo>
                      <a:lnTo>
                        <a:pt x="1896" y="2754"/>
                      </a:lnTo>
                      <a:lnTo>
                        <a:pt x="1896" y="2748"/>
                      </a:lnTo>
                      <a:lnTo>
                        <a:pt x="1896" y="2742"/>
                      </a:lnTo>
                      <a:lnTo>
                        <a:pt x="1812" y="2694"/>
                      </a:lnTo>
                      <a:lnTo>
                        <a:pt x="1782" y="2646"/>
                      </a:lnTo>
                      <a:lnTo>
                        <a:pt x="1812" y="2592"/>
                      </a:lnTo>
                      <a:lnTo>
                        <a:pt x="1788" y="2556"/>
                      </a:lnTo>
                      <a:lnTo>
                        <a:pt x="1728" y="2526"/>
                      </a:lnTo>
                      <a:lnTo>
                        <a:pt x="1650" y="2538"/>
                      </a:lnTo>
                      <a:lnTo>
                        <a:pt x="1596" y="2526"/>
                      </a:lnTo>
                      <a:lnTo>
                        <a:pt x="1566" y="2466"/>
                      </a:lnTo>
                      <a:lnTo>
                        <a:pt x="1536" y="2406"/>
                      </a:lnTo>
                      <a:lnTo>
                        <a:pt x="1536" y="2334"/>
                      </a:lnTo>
                      <a:lnTo>
                        <a:pt x="1530" y="2268"/>
                      </a:lnTo>
                      <a:lnTo>
                        <a:pt x="1476" y="2244"/>
                      </a:lnTo>
                      <a:lnTo>
                        <a:pt x="1416" y="2232"/>
                      </a:lnTo>
                      <a:lnTo>
                        <a:pt x="1356" y="2202"/>
                      </a:lnTo>
                      <a:lnTo>
                        <a:pt x="1302" y="2190"/>
                      </a:lnTo>
                      <a:lnTo>
                        <a:pt x="1236" y="2148"/>
                      </a:lnTo>
                      <a:lnTo>
                        <a:pt x="1182" y="2136"/>
                      </a:lnTo>
                      <a:lnTo>
                        <a:pt x="1128" y="2094"/>
                      </a:lnTo>
                      <a:lnTo>
                        <a:pt x="1032" y="2100"/>
                      </a:lnTo>
                      <a:lnTo>
                        <a:pt x="1032" y="2088"/>
                      </a:lnTo>
                      <a:lnTo>
                        <a:pt x="1026" y="2058"/>
                      </a:lnTo>
                      <a:lnTo>
                        <a:pt x="1008" y="2022"/>
                      </a:lnTo>
                      <a:lnTo>
                        <a:pt x="984" y="1992"/>
                      </a:lnTo>
                      <a:lnTo>
                        <a:pt x="972" y="1968"/>
                      </a:lnTo>
                      <a:lnTo>
                        <a:pt x="972" y="1944"/>
                      </a:lnTo>
                      <a:lnTo>
                        <a:pt x="972" y="1908"/>
                      </a:lnTo>
                      <a:lnTo>
                        <a:pt x="966" y="1878"/>
                      </a:lnTo>
                      <a:lnTo>
                        <a:pt x="954" y="1854"/>
                      </a:lnTo>
                      <a:lnTo>
                        <a:pt x="948" y="1842"/>
                      </a:lnTo>
                      <a:lnTo>
                        <a:pt x="942" y="1830"/>
                      </a:lnTo>
                      <a:lnTo>
                        <a:pt x="936" y="1830"/>
                      </a:lnTo>
                      <a:lnTo>
                        <a:pt x="936" y="1824"/>
                      </a:lnTo>
                      <a:lnTo>
                        <a:pt x="936" y="1824"/>
                      </a:lnTo>
                      <a:lnTo>
                        <a:pt x="846" y="1824"/>
                      </a:lnTo>
                      <a:lnTo>
                        <a:pt x="768" y="1866"/>
                      </a:lnTo>
                      <a:lnTo>
                        <a:pt x="696" y="1896"/>
                      </a:lnTo>
                      <a:lnTo>
                        <a:pt x="666" y="1932"/>
                      </a:lnTo>
                      <a:lnTo>
                        <a:pt x="624" y="1956"/>
                      </a:lnTo>
                      <a:lnTo>
                        <a:pt x="546" y="1944"/>
                      </a:lnTo>
                      <a:lnTo>
                        <a:pt x="486" y="1962"/>
                      </a:lnTo>
                      <a:lnTo>
                        <a:pt x="426" y="1938"/>
                      </a:lnTo>
                      <a:lnTo>
                        <a:pt x="378" y="1902"/>
                      </a:lnTo>
                      <a:lnTo>
                        <a:pt x="384" y="1836"/>
                      </a:lnTo>
                      <a:lnTo>
                        <a:pt x="348" y="1782"/>
                      </a:lnTo>
                      <a:lnTo>
                        <a:pt x="288" y="1800"/>
                      </a:lnTo>
                      <a:lnTo>
                        <a:pt x="246" y="1836"/>
                      </a:lnTo>
                      <a:lnTo>
                        <a:pt x="168" y="1812"/>
                      </a:lnTo>
                      <a:lnTo>
                        <a:pt x="120" y="1764"/>
                      </a:lnTo>
                      <a:lnTo>
                        <a:pt x="102" y="1698"/>
                      </a:lnTo>
                      <a:lnTo>
                        <a:pt x="102" y="1668"/>
                      </a:lnTo>
                      <a:lnTo>
                        <a:pt x="30" y="1620"/>
                      </a:lnTo>
                      <a:lnTo>
                        <a:pt x="0" y="1554"/>
                      </a:lnTo>
                      <a:lnTo>
                        <a:pt x="12" y="1500"/>
                      </a:lnTo>
                      <a:lnTo>
                        <a:pt x="12" y="1434"/>
                      </a:lnTo>
                      <a:lnTo>
                        <a:pt x="60" y="1410"/>
                      </a:lnTo>
                      <a:lnTo>
                        <a:pt x="48" y="1338"/>
                      </a:lnTo>
                      <a:lnTo>
                        <a:pt x="36" y="1290"/>
                      </a:lnTo>
                      <a:lnTo>
                        <a:pt x="78" y="1224"/>
                      </a:lnTo>
                      <a:lnTo>
                        <a:pt x="150" y="1200"/>
                      </a:lnTo>
                      <a:lnTo>
                        <a:pt x="180" y="1158"/>
                      </a:lnTo>
                      <a:lnTo>
                        <a:pt x="234" y="1170"/>
                      </a:lnTo>
                      <a:lnTo>
                        <a:pt x="288" y="1116"/>
                      </a:lnTo>
                      <a:lnTo>
                        <a:pt x="354" y="1098"/>
                      </a:lnTo>
                      <a:lnTo>
                        <a:pt x="414" y="1128"/>
                      </a:lnTo>
                      <a:lnTo>
                        <a:pt x="456" y="1098"/>
                      </a:lnTo>
                      <a:lnTo>
                        <a:pt x="456" y="1008"/>
                      </a:lnTo>
                      <a:lnTo>
                        <a:pt x="444" y="900"/>
                      </a:lnTo>
                      <a:lnTo>
                        <a:pt x="486" y="798"/>
                      </a:lnTo>
                      <a:lnTo>
                        <a:pt x="474" y="756"/>
                      </a:lnTo>
                      <a:lnTo>
                        <a:pt x="474" y="696"/>
                      </a:lnTo>
                      <a:lnTo>
                        <a:pt x="432" y="654"/>
                      </a:lnTo>
                      <a:lnTo>
                        <a:pt x="408" y="570"/>
                      </a:lnTo>
                      <a:lnTo>
                        <a:pt x="468" y="558"/>
                      </a:lnTo>
                      <a:lnTo>
                        <a:pt x="462" y="480"/>
                      </a:lnTo>
                      <a:lnTo>
                        <a:pt x="420" y="420"/>
                      </a:lnTo>
                      <a:lnTo>
                        <a:pt x="480" y="396"/>
                      </a:lnTo>
                      <a:lnTo>
                        <a:pt x="558" y="408"/>
                      </a:lnTo>
                      <a:lnTo>
                        <a:pt x="612" y="378"/>
                      </a:lnTo>
                      <a:lnTo>
                        <a:pt x="666" y="354"/>
                      </a:lnTo>
                      <a:lnTo>
                        <a:pt x="732" y="420"/>
                      </a:lnTo>
                      <a:lnTo>
                        <a:pt x="738" y="474"/>
                      </a:lnTo>
                      <a:lnTo>
                        <a:pt x="804" y="480"/>
                      </a:lnTo>
                      <a:lnTo>
                        <a:pt x="834" y="552"/>
                      </a:lnTo>
                      <a:lnTo>
                        <a:pt x="888" y="552"/>
                      </a:lnTo>
                      <a:lnTo>
                        <a:pt x="954" y="522"/>
                      </a:lnTo>
                      <a:lnTo>
                        <a:pt x="996" y="480"/>
                      </a:lnTo>
                      <a:lnTo>
                        <a:pt x="1026" y="432"/>
                      </a:lnTo>
                      <a:lnTo>
                        <a:pt x="1104" y="408"/>
                      </a:lnTo>
                      <a:lnTo>
                        <a:pt x="1158" y="396"/>
                      </a:lnTo>
                      <a:lnTo>
                        <a:pt x="1170" y="336"/>
                      </a:lnTo>
                      <a:lnTo>
                        <a:pt x="1092" y="330"/>
                      </a:lnTo>
                      <a:lnTo>
                        <a:pt x="1038" y="300"/>
                      </a:lnTo>
                      <a:lnTo>
                        <a:pt x="1062" y="246"/>
                      </a:lnTo>
                      <a:lnTo>
                        <a:pt x="1086" y="192"/>
                      </a:lnTo>
                      <a:lnTo>
                        <a:pt x="1044" y="144"/>
                      </a:lnTo>
                      <a:lnTo>
                        <a:pt x="1038" y="90"/>
                      </a:lnTo>
                      <a:lnTo>
                        <a:pt x="1068" y="78"/>
                      </a:lnTo>
                      <a:lnTo>
                        <a:pt x="1104" y="108"/>
                      </a:lnTo>
                      <a:lnTo>
                        <a:pt x="1140" y="150"/>
                      </a:lnTo>
                      <a:lnTo>
                        <a:pt x="1182" y="174"/>
                      </a:lnTo>
                      <a:lnTo>
                        <a:pt x="1236" y="174"/>
                      </a:lnTo>
                      <a:lnTo>
                        <a:pt x="1284" y="168"/>
                      </a:lnTo>
                      <a:lnTo>
                        <a:pt x="1326" y="114"/>
                      </a:lnTo>
                      <a:lnTo>
                        <a:pt x="1356" y="84"/>
                      </a:lnTo>
                      <a:lnTo>
                        <a:pt x="1434" y="78"/>
                      </a:lnTo>
                      <a:lnTo>
                        <a:pt x="1482" y="24"/>
                      </a:lnTo>
                      <a:lnTo>
                        <a:pt x="150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29" name="Freeform 250">
                  <a:extLst>
                    <a:ext uri="{FF2B5EF4-FFF2-40B4-BE49-F238E27FC236}">
                      <a16:creationId xmlns:a16="http://schemas.microsoft.com/office/drawing/2014/main" id="{4D5FE1EC-40F8-4793-AEC8-280DB2681F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863" y="3414"/>
                  <a:ext cx="660" cy="762"/>
                </a:xfrm>
                <a:custGeom>
                  <a:avLst/>
                  <a:gdLst>
                    <a:gd name="T0" fmla="*/ 252 w 660"/>
                    <a:gd name="T1" fmla="*/ 0 h 762"/>
                    <a:gd name="T2" fmla="*/ 438 w 660"/>
                    <a:gd name="T3" fmla="*/ 138 h 762"/>
                    <a:gd name="T4" fmla="*/ 612 w 660"/>
                    <a:gd name="T5" fmla="*/ 180 h 762"/>
                    <a:gd name="T6" fmla="*/ 660 w 660"/>
                    <a:gd name="T7" fmla="*/ 270 h 762"/>
                    <a:gd name="T8" fmla="*/ 624 w 660"/>
                    <a:gd name="T9" fmla="*/ 372 h 762"/>
                    <a:gd name="T10" fmla="*/ 480 w 660"/>
                    <a:gd name="T11" fmla="*/ 450 h 762"/>
                    <a:gd name="T12" fmla="*/ 348 w 660"/>
                    <a:gd name="T13" fmla="*/ 498 h 762"/>
                    <a:gd name="T14" fmla="*/ 336 w 660"/>
                    <a:gd name="T15" fmla="*/ 654 h 762"/>
                    <a:gd name="T16" fmla="*/ 324 w 660"/>
                    <a:gd name="T17" fmla="*/ 666 h 762"/>
                    <a:gd name="T18" fmla="*/ 300 w 660"/>
                    <a:gd name="T19" fmla="*/ 684 h 762"/>
                    <a:gd name="T20" fmla="*/ 276 w 660"/>
                    <a:gd name="T21" fmla="*/ 702 h 762"/>
                    <a:gd name="T22" fmla="*/ 264 w 660"/>
                    <a:gd name="T23" fmla="*/ 714 h 762"/>
                    <a:gd name="T24" fmla="*/ 258 w 660"/>
                    <a:gd name="T25" fmla="*/ 726 h 762"/>
                    <a:gd name="T26" fmla="*/ 246 w 660"/>
                    <a:gd name="T27" fmla="*/ 744 h 762"/>
                    <a:gd name="T28" fmla="*/ 234 w 660"/>
                    <a:gd name="T29" fmla="*/ 762 h 762"/>
                    <a:gd name="T30" fmla="*/ 174 w 660"/>
                    <a:gd name="T31" fmla="*/ 720 h 762"/>
                    <a:gd name="T32" fmla="*/ 90 w 660"/>
                    <a:gd name="T33" fmla="*/ 660 h 762"/>
                    <a:gd name="T34" fmla="*/ 84 w 660"/>
                    <a:gd name="T35" fmla="*/ 516 h 762"/>
                    <a:gd name="T36" fmla="*/ 96 w 660"/>
                    <a:gd name="T37" fmla="*/ 510 h 762"/>
                    <a:gd name="T38" fmla="*/ 126 w 660"/>
                    <a:gd name="T39" fmla="*/ 462 h 762"/>
                    <a:gd name="T40" fmla="*/ 114 w 660"/>
                    <a:gd name="T41" fmla="*/ 408 h 762"/>
                    <a:gd name="T42" fmla="*/ 108 w 660"/>
                    <a:gd name="T43" fmla="*/ 396 h 762"/>
                    <a:gd name="T44" fmla="*/ 90 w 660"/>
                    <a:gd name="T45" fmla="*/ 402 h 762"/>
                    <a:gd name="T46" fmla="*/ 66 w 660"/>
                    <a:gd name="T47" fmla="*/ 420 h 762"/>
                    <a:gd name="T48" fmla="*/ 36 w 660"/>
                    <a:gd name="T49" fmla="*/ 444 h 762"/>
                    <a:gd name="T50" fmla="*/ 18 w 660"/>
                    <a:gd name="T51" fmla="*/ 456 h 762"/>
                    <a:gd name="T52" fmla="*/ 0 w 660"/>
                    <a:gd name="T53" fmla="*/ 450 h 762"/>
                    <a:gd name="T54" fmla="*/ 0 w 660"/>
                    <a:gd name="T55" fmla="*/ 426 h 762"/>
                    <a:gd name="T56" fmla="*/ 12 w 660"/>
                    <a:gd name="T57" fmla="*/ 396 h 762"/>
                    <a:gd name="T58" fmla="*/ 24 w 660"/>
                    <a:gd name="T59" fmla="*/ 366 h 762"/>
                    <a:gd name="T60" fmla="*/ 30 w 660"/>
                    <a:gd name="T61" fmla="*/ 348 h 762"/>
                    <a:gd name="T62" fmla="*/ 24 w 660"/>
                    <a:gd name="T63" fmla="*/ 336 h 762"/>
                    <a:gd name="T64" fmla="*/ 24 w 660"/>
                    <a:gd name="T65" fmla="*/ 312 h 762"/>
                    <a:gd name="T66" fmla="*/ 36 w 660"/>
                    <a:gd name="T67" fmla="*/ 282 h 762"/>
                    <a:gd name="T68" fmla="*/ 36 w 660"/>
                    <a:gd name="T69" fmla="*/ 264 h 762"/>
                    <a:gd name="T70" fmla="*/ 36 w 660"/>
                    <a:gd name="T71" fmla="*/ 246 h 762"/>
                    <a:gd name="T72" fmla="*/ 36 w 660"/>
                    <a:gd name="T73" fmla="*/ 228 h 762"/>
                    <a:gd name="T74" fmla="*/ 72 w 660"/>
                    <a:gd name="T75" fmla="*/ 162 h 762"/>
                    <a:gd name="T76" fmla="*/ 102 w 660"/>
                    <a:gd name="T77" fmla="*/ 90 h 762"/>
                    <a:gd name="T78" fmla="*/ 156 w 660"/>
                    <a:gd name="T79" fmla="*/ 42 h 762"/>
                    <a:gd name="T80" fmla="*/ 222 w 660"/>
                    <a:gd name="T81" fmla="*/ 18 h 762"/>
                    <a:gd name="T82" fmla="*/ 252 w 660"/>
                    <a:gd name="T83" fmla="*/ 0 h 7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60" h="762">
                      <a:moveTo>
                        <a:pt x="252" y="0"/>
                      </a:moveTo>
                      <a:lnTo>
                        <a:pt x="252" y="0"/>
                      </a:lnTo>
                      <a:lnTo>
                        <a:pt x="354" y="72"/>
                      </a:lnTo>
                      <a:lnTo>
                        <a:pt x="438" y="138"/>
                      </a:lnTo>
                      <a:lnTo>
                        <a:pt x="552" y="150"/>
                      </a:lnTo>
                      <a:lnTo>
                        <a:pt x="612" y="180"/>
                      </a:lnTo>
                      <a:lnTo>
                        <a:pt x="648" y="198"/>
                      </a:lnTo>
                      <a:lnTo>
                        <a:pt x="660" y="270"/>
                      </a:lnTo>
                      <a:lnTo>
                        <a:pt x="630" y="312"/>
                      </a:lnTo>
                      <a:lnTo>
                        <a:pt x="624" y="372"/>
                      </a:lnTo>
                      <a:lnTo>
                        <a:pt x="546" y="396"/>
                      </a:lnTo>
                      <a:lnTo>
                        <a:pt x="480" y="450"/>
                      </a:lnTo>
                      <a:lnTo>
                        <a:pt x="432" y="474"/>
                      </a:lnTo>
                      <a:lnTo>
                        <a:pt x="348" y="498"/>
                      </a:lnTo>
                      <a:lnTo>
                        <a:pt x="324" y="558"/>
                      </a:lnTo>
                      <a:lnTo>
                        <a:pt x="336" y="654"/>
                      </a:lnTo>
                      <a:lnTo>
                        <a:pt x="330" y="654"/>
                      </a:lnTo>
                      <a:lnTo>
                        <a:pt x="324" y="666"/>
                      </a:lnTo>
                      <a:lnTo>
                        <a:pt x="312" y="672"/>
                      </a:lnTo>
                      <a:lnTo>
                        <a:pt x="300" y="684"/>
                      </a:lnTo>
                      <a:lnTo>
                        <a:pt x="288" y="696"/>
                      </a:lnTo>
                      <a:lnTo>
                        <a:pt x="276" y="702"/>
                      </a:lnTo>
                      <a:lnTo>
                        <a:pt x="270" y="714"/>
                      </a:lnTo>
                      <a:lnTo>
                        <a:pt x="264" y="714"/>
                      </a:lnTo>
                      <a:lnTo>
                        <a:pt x="264" y="720"/>
                      </a:lnTo>
                      <a:lnTo>
                        <a:pt x="258" y="726"/>
                      </a:lnTo>
                      <a:lnTo>
                        <a:pt x="252" y="738"/>
                      </a:lnTo>
                      <a:lnTo>
                        <a:pt x="246" y="744"/>
                      </a:lnTo>
                      <a:lnTo>
                        <a:pt x="240" y="756"/>
                      </a:lnTo>
                      <a:lnTo>
                        <a:pt x="234" y="762"/>
                      </a:lnTo>
                      <a:lnTo>
                        <a:pt x="234" y="762"/>
                      </a:lnTo>
                      <a:lnTo>
                        <a:pt x="174" y="720"/>
                      </a:lnTo>
                      <a:lnTo>
                        <a:pt x="126" y="708"/>
                      </a:lnTo>
                      <a:lnTo>
                        <a:pt x="90" y="660"/>
                      </a:lnTo>
                      <a:lnTo>
                        <a:pt x="102" y="588"/>
                      </a:lnTo>
                      <a:lnTo>
                        <a:pt x="84" y="516"/>
                      </a:lnTo>
                      <a:lnTo>
                        <a:pt x="90" y="510"/>
                      </a:lnTo>
                      <a:lnTo>
                        <a:pt x="96" y="510"/>
                      </a:lnTo>
                      <a:lnTo>
                        <a:pt x="120" y="486"/>
                      </a:lnTo>
                      <a:lnTo>
                        <a:pt x="126" y="462"/>
                      </a:lnTo>
                      <a:lnTo>
                        <a:pt x="120" y="438"/>
                      </a:lnTo>
                      <a:lnTo>
                        <a:pt x="114" y="408"/>
                      </a:lnTo>
                      <a:lnTo>
                        <a:pt x="114" y="396"/>
                      </a:lnTo>
                      <a:lnTo>
                        <a:pt x="108" y="396"/>
                      </a:lnTo>
                      <a:lnTo>
                        <a:pt x="102" y="396"/>
                      </a:lnTo>
                      <a:lnTo>
                        <a:pt x="90" y="402"/>
                      </a:lnTo>
                      <a:lnTo>
                        <a:pt x="78" y="408"/>
                      </a:lnTo>
                      <a:lnTo>
                        <a:pt x="66" y="420"/>
                      </a:lnTo>
                      <a:lnTo>
                        <a:pt x="54" y="432"/>
                      </a:lnTo>
                      <a:lnTo>
                        <a:pt x="36" y="444"/>
                      </a:lnTo>
                      <a:lnTo>
                        <a:pt x="24" y="450"/>
                      </a:lnTo>
                      <a:lnTo>
                        <a:pt x="18" y="456"/>
                      </a:lnTo>
                      <a:lnTo>
                        <a:pt x="6" y="456"/>
                      </a:lnTo>
                      <a:lnTo>
                        <a:pt x="0" y="450"/>
                      </a:lnTo>
                      <a:lnTo>
                        <a:pt x="0" y="438"/>
                      </a:lnTo>
                      <a:lnTo>
                        <a:pt x="0" y="426"/>
                      </a:lnTo>
                      <a:lnTo>
                        <a:pt x="6" y="408"/>
                      </a:lnTo>
                      <a:lnTo>
                        <a:pt x="12" y="396"/>
                      </a:lnTo>
                      <a:lnTo>
                        <a:pt x="18" y="378"/>
                      </a:lnTo>
                      <a:lnTo>
                        <a:pt x="24" y="366"/>
                      </a:lnTo>
                      <a:lnTo>
                        <a:pt x="30" y="360"/>
                      </a:lnTo>
                      <a:lnTo>
                        <a:pt x="30" y="348"/>
                      </a:lnTo>
                      <a:lnTo>
                        <a:pt x="24" y="342"/>
                      </a:lnTo>
                      <a:lnTo>
                        <a:pt x="24" y="336"/>
                      </a:lnTo>
                      <a:lnTo>
                        <a:pt x="18" y="324"/>
                      </a:lnTo>
                      <a:lnTo>
                        <a:pt x="24" y="312"/>
                      </a:lnTo>
                      <a:lnTo>
                        <a:pt x="30" y="294"/>
                      </a:lnTo>
                      <a:lnTo>
                        <a:pt x="36" y="282"/>
                      </a:lnTo>
                      <a:lnTo>
                        <a:pt x="36" y="270"/>
                      </a:lnTo>
                      <a:lnTo>
                        <a:pt x="36" y="264"/>
                      </a:lnTo>
                      <a:lnTo>
                        <a:pt x="36" y="258"/>
                      </a:lnTo>
                      <a:lnTo>
                        <a:pt x="36" y="246"/>
                      </a:lnTo>
                      <a:lnTo>
                        <a:pt x="36" y="240"/>
                      </a:lnTo>
                      <a:lnTo>
                        <a:pt x="36" y="228"/>
                      </a:lnTo>
                      <a:lnTo>
                        <a:pt x="42" y="216"/>
                      </a:lnTo>
                      <a:lnTo>
                        <a:pt x="72" y="162"/>
                      </a:lnTo>
                      <a:lnTo>
                        <a:pt x="96" y="114"/>
                      </a:lnTo>
                      <a:lnTo>
                        <a:pt x="102" y="90"/>
                      </a:lnTo>
                      <a:lnTo>
                        <a:pt x="126" y="66"/>
                      </a:lnTo>
                      <a:lnTo>
                        <a:pt x="156" y="42"/>
                      </a:lnTo>
                      <a:lnTo>
                        <a:pt x="198" y="24"/>
                      </a:lnTo>
                      <a:lnTo>
                        <a:pt x="222" y="18"/>
                      </a:lnTo>
                      <a:lnTo>
                        <a:pt x="240" y="12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0" name="Freeform 251">
                  <a:extLst>
                    <a:ext uri="{FF2B5EF4-FFF2-40B4-BE49-F238E27FC236}">
                      <a16:creationId xmlns:a16="http://schemas.microsoft.com/office/drawing/2014/main" id="{931EE6D6-5E45-4093-BDF2-097B9DFDED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893" y="3600"/>
                  <a:ext cx="1500" cy="2220"/>
                </a:xfrm>
                <a:custGeom>
                  <a:avLst/>
                  <a:gdLst>
                    <a:gd name="T0" fmla="*/ 792 w 1500"/>
                    <a:gd name="T1" fmla="*/ 78 h 2220"/>
                    <a:gd name="T2" fmla="*/ 894 w 1500"/>
                    <a:gd name="T3" fmla="*/ 222 h 2220"/>
                    <a:gd name="T4" fmla="*/ 1086 w 1500"/>
                    <a:gd name="T5" fmla="*/ 270 h 2220"/>
                    <a:gd name="T6" fmla="*/ 1254 w 1500"/>
                    <a:gd name="T7" fmla="*/ 330 h 2220"/>
                    <a:gd name="T8" fmla="*/ 1116 w 1500"/>
                    <a:gd name="T9" fmla="*/ 522 h 2220"/>
                    <a:gd name="T10" fmla="*/ 960 w 1500"/>
                    <a:gd name="T11" fmla="*/ 576 h 2220"/>
                    <a:gd name="T12" fmla="*/ 942 w 1500"/>
                    <a:gd name="T13" fmla="*/ 762 h 2220"/>
                    <a:gd name="T14" fmla="*/ 882 w 1500"/>
                    <a:gd name="T15" fmla="*/ 906 h 2220"/>
                    <a:gd name="T16" fmla="*/ 984 w 1500"/>
                    <a:gd name="T17" fmla="*/ 1050 h 2220"/>
                    <a:gd name="T18" fmla="*/ 1128 w 1500"/>
                    <a:gd name="T19" fmla="*/ 1188 h 2220"/>
                    <a:gd name="T20" fmla="*/ 1266 w 1500"/>
                    <a:gd name="T21" fmla="*/ 1188 h 2220"/>
                    <a:gd name="T22" fmla="*/ 1368 w 1500"/>
                    <a:gd name="T23" fmla="*/ 1314 h 2220"/>
                    <a:gd name="T24" fmla="*/ 1482 w 1500"/>
                    <a:gd name="T25" fmla="*/ 1452 h 2220"/>
                    <a:gd name="T26" fmla="*/ 1482 w 1500"/>
                    <a:gd name="T27" fmla="*/ 1662 h 2220"/>
                    <a:gd name="T28" fmla="*/ 1482 w 1500"/>
                    <a:gd name="T29" fmla="*/ 1872 h 2220"/>
                    <a:gd name="T30" fmla="*/ 1452 w 1500"/>
                    <a:gd name="T31" fmla="*/ 2058 h 2220"/>
                    <a:gd name="T32" fmla="*/ 1338 w 1500"/>
                    <a:gd name="T33" fmla="*/ 2220 h 2220"/>
                    <a:gd name="T34" fmla="*/ 1266 w 1500"/>
                    <a:gd name="T35" fmla="*/ 2142 h 2220"/>
                    <a:gd name="T36" fmla="*/ 1062 w 1500"/>
                    <a:gd name="T37" fmla="*/ 2004 h 2220"/>
                    <a:gd name="T38" fmla="*/ 822 w 1500"/>
                    <a:gd name="T39" fmla="*/ 1908 h 2220"/>
                    <a:gd name="T40" fmla="*/ 750 w 1500"/>
                    <a:gd name="T41" fmla="*/ 1830 h 2220"/>
                    <a:gd name="T42" fmla="*/ 648 w 1500"/>
                    <a:gd name="T43" fmla="*/ 1710 h 2220"/>
                    <a:gd name="T44" fmla="*/ 606 w 1500"/>
                    <a:gd name="T45" fmla="*/ 1578 h 2220"/>
                    <a:gd name="T46" fmla="*/ 576 w 1500"/>
                    <a:gd name="T47" fmla="*/ 1500 h 2220"/>
                    <a:gd name="T48" fmla="*/ 558 w 1500"/>
                    <a:gd name="T49" fmla="*/ 1452 h 2220"/>
                    <a:gd name="T50" fmla="*/ 516 w 1500"/>
                    <a:gd name="T51" fmla="*/ 1422 h 2220"/>
                    <a:gd name="T52" fmla="*/ 450 w 1500"/>
                    <a:gd name="T53" fmla="*/ 1344 h 2220"/>
                    <a:gd name="T54" fmla="*/ 408 w 1500"/>
                    <a:gd name="T55" fmla="*/ 1278 h 2220"/>
                    <a:gd name="T56" fmla="*/ 390 w 1500"/>
                    <a:gd name="T57" fmla="*/ 1248 h 2220"/>
                    <a:gd name="T58" fmla="*/ 384 w 1500"/>
                    <a:gd name="T59" fmla="*/ 1176 h 2220"/>
                    <a:gd name="T60" fmla="*/ 312 w 1500"/>
                    <a:gd name="T61" fmla="*/ 1044 h 2220"/>
                    <a:gd name="T62" fmla="*/ 210 w 1500"/>
                    <a:gd name="T63" fmla="*/ 864 h 2220"/>
                    <a:gd name="T64" fmla="*/ 126 w 1500"/>
                    <a:gd name="T65" fmla="*/ 774 h 2220"/>
                    <a:gd name="T66" fmla="*/ 48 w 1500"/>
                    <a:gd name="T67" fmla="*/ 738 h 2220"/>
                    <a:gd name="T68" fmla="*/ 36 w 1500"/>
                    <a:gd name="T69" fmla="*/ 702 h 2220"/>
                    <a:gd name="T70" fmla="*/ 54 w 1500"/>
                    <a:gd name="T71" fmla="*/ 642 h 2220"/>
                    <a:gd name="T72" fmla="*/ 6 w 1500"/>
                    <a:gd name="T73" fmla="*/ 564 h 2220"/>
                    <a:gd name="T74" fmla="*/ 24 w 1500"/>
                    <a:gd name="T75" fmla="*/ 438 h 2220"/>
                    <a:gd name="T76" fmla="*/ 132 w 1500"/>
                    <a:gd name="T77" fmla="*/ 402 h 2220"/>
                    <a:gd name="T78" fmla="*/ 204 w 1500"/>
                    <a:gd name="T79" fmla="*/ 534 h 2220"/>
                    <a:gd name="T80" fmla="*/ 270 w 1500"/>
                    <a:gd name="T81" fmla="*/ 570 h 2220"/>
                    <a:gd name="T82" fmla="*/ 288 w 1500"/>
                    <a:gd name="T83" fmla="*/ 540 h 2220"/>
                    <a:gd name="T84" fmla="*/ 300 w 1500"/>
                    <a:gd name="T85" fmla="*/ 528 h 2220"/>
                    <a:gd name="T86" fmla="*/ 330 w 1500"/>
                    <a:gd name="T87" fmla="*/ 498 h 2220"/>
                    <a:gd name="T88" fmla="*/ 360 w 1500"/>
                    <a:gd name="T89" fmla="*/ 468 h 2220"/>
                    <a:gd name="T90" fmla="*/ 378 w 1500"/>
                    <a:gd name="T91" fmla="*/ 312 h 2220"/>
                    <a:gd name="T92" fmla="*/ 576 w 1500"/>
                    <a:gd name="T93" fmla="*/ 210 h 2220"/>
                    <a:gd name="T94" fmla="*/ 690 w 1500"/>
                    <a:gd name="T95" fmla="*/ 84 h 2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500" h="2220">
                      <a:moveTo>
                        <a:pt x="720" y="0"/>
                      </a:moveTo>
                      <a:lnTo>
                        <a:pt x="762" y="12"/>
                      </a:lnTo>
                      <a:lnTo>
                        <a:pt x="792" y="78"/>
                      </a:lnTo>
                      <a:lnTo>
                        <a:pt x="834" y="150"/>
                      </a:lnTo>
                      <a:lnTo>
                        <a:pt x="870" y="180"/>
                      </a:lnTo>
                      <a:lnTo>
                        <a:pt x="894" y="222"/>
                      </a:lnTo>
                      <a:lnTo>
                        <a:pt x="948" y="270"/>
                      </a:lnTo>
                      <a:lnTo>
                        <a:pt x="1020" y="264"/>
                      </a:lnTo>
                      <a:lnTo>
                        <a:pt x="1086" y="270"/>
                      </a:lnTo>
                      <a:lnTo>
                        <a:pt x="1158" y="252"/>
                      </a:lnTo>
                      <a:lnTo>
                        <a:pt x="1218" y="270"/>
                      </a:lnTo>
                      <a:lnTo>
                        <a:pt x="1254" y="330"/>
                      </a:lnTo>
                      <a:lnTo>
                        <a:pt x="1236" y="450"/>
                      </a:lnTo>
                      <a:lnTo>
                        <a:pt x="1170" y="468"/>
                      </a:lnTo>
                      <a:lnTo>
                        <a:pt x="1116" y="522"/>
                      </a:lnTo>
                      <a:lnTo>
                        <a:pt x="1062" y="510"/>
                      </a:lnTo>
                      <a:lnTo>
                        <a:pt x="1032" y="552"/>
                      </a:lnTo>
                      <a:lnTo>
                        <a:pt x="960" y="576"/>
                      </a:lnTo>
                      <a:lnTo>
                        <a:pt x="918" y="642"/>
                      </a:lnTo>
                      <a:lnTo>
                        <a:pt x="930" y="690"/>
                      </a:lnTo>
                      <a:lnTo>
                        <a:pt x="942" y="762"/>
                      </a:lnTo>
                      <a:lnTo>
                        <a:pt x="894" y="786"/>
                      </a:lnTo>
                      <a:lnTo>
                        <a:pt x="894" y="852"/>
                      </a:lnTo>
                      <a:lnTo>
                        <a:pt x="882" y="906"/>
                      </a:lnTo>
                      <a:lnTo>
                        <a:pt x="912" y="972"/>
                      </a:lnTo>
                      <a:lnTo>
                        <a:pt x="984" y="1020"/>
                      </a:lnTo>
                      <a:lnTo>
                        <a:pt x="984" y="1050"/>
                      </a:lnTo>
                      <a:lnTo>
                        <a:pt x="1002" y="1116"/>
                      </a:lnTo>
                      <a:lnTo>
                        <a:pt x="1050" y="1164"/>
                      </a:lnTo>
                      <a:lnTo>
                        <a:pt x="1128" y="1188"/>
                      </a:lnTo>
                      <a:lnTo>
                        <a:pt x="1170" y="1152"/>
                      </a:lnTo>
                      <a:lnTo>
                        <a:pt x="1230" y="1134"/>
                      </a:lnTo>
                      <a:lnTo>
                        <a:pt x="1266" y="1188"/>
                      </a:lnTo>
                      <a:lnTo>
                        <a:pt x="1260" y="1254"/>
                      </a:lnTo>
                      <a:lnTo>
                        <a:pt x="1308" y="1290"/>
                      </a:lnTo>
                      <a:lnTo>
                        <a:pt x="1368" y="1314"/>
                      </a:lnTo>
                      <a:lnTo>
                        <a:pt x="1374" y="1314"/>
                      </a:lnTo>
                      <a:lnTo>
                        <a:pt x="1428" y="1374"/>
                      </a:lnTo>
                      <a:lnTo>
                        <a:pt x="1482" y="1452"/>
                      </a:lnTo>
                      <a:lnTo>
                        <a:pt x="1482" y="1548"/>
                      </a:lnTo>
                      <a:lnTo>
                        <a:pt x="1446" y="1602"/>
                      </a:lnTo>
                      <a:lnTo>
                        <a:pt x="1482" y="1662"/>
                      </a:lnTo>
                      <a:lnTo>
                        <a:pt x="1458" y="1758"/>
                      </a:lnTo>
                      <a:lnTo>
                        <a:pt x="1446" y="1818"/>
                      </a:lnTo>
                      <a:lnTo>
                        <a:pt x="1482" y="1872"/>
                      </a:lnTo>
                      <a:lnTo>
                        <a:pt x="1500" y="1938"/>
                      </a:lnTo>
                      <a:lnTo>
                        <a:pt x="1494" y="2016"/>
                      </a:lnTo>
                      <a:lnTo>
                        <a:pt x="1452" y="2058"/>
                      </a:lnTo>
                      <a:lnTo>
                        <a:pt x="1446" y="2142"/>
                      </a:lnTo>
                      <a:lnTo>
                        <a:pt x="1398" y="2196"/>
                      </a:lnTo>
                      <a:lnTo>
                        <a:pt x="1338" y="2220"/>
                      </a:lnTo>
                      <a:lnTo>
                        <a:pt x="1338" y="2214"/>
                      </a:lnTo>
                      <a:lnTo>
                        <a:pt x="1308" y="2178"/>
                      </a:lnTo>
                      <a:lnTo>
                        <a:pt x="1266" y="2142"/>
                      </a:lnTo>
                      <a:lnTo>
                        <a:pt x="1206" y="2100"/>
                      </a:lnTo>
                      <a:lnTo>
                        <a:pt x="1146" y="2058"/>
                      </a:lnTo>
                      <a:lnTo>
                        <a:pt x="1062" y="2004"/>
                      </a:lnTo>
                      <a:lnTo>
                        <a:pt x="972" y="1962"/>
                      </a:lnTo>
                      <a:lnTo>
                        <a:pt x="888" y="1932"/>
                      </a:lnTo>
                      <a:lnTo>
                        <a:pt x="822" y="1908"/>
                      </a:lnTo>
                      <a:lnTo>
                        <a:pt x="786" y="1890"/>
                      </a:lnTo>
                      <a:lnTo>
                        <a:pt x="768" y="1860"/>
                      </a:lnTo>
                      <a:lnTo>
                        <a:pt x="750" y="1830"/>
                      </a:lnTo>
                      <a:lnTo>
                        <a:pt x="732" y="1794"/>
                      </a:lnTo>
                      <a:lnTo>
                        <a:pt x="702" y="1758"/>
                      </a:lnTo>
                      <a:lnTo>
                        <a:pt x="648" y="1710"/>
                      </a:lnTo>
                      <a:lnTo>
                        <a:pt x="624" y="1662"/>
                      </a:lnTo>
                      <a:lnTo>
                        <a:pt x="612" y="1608"/>
                      </a:lnTo>
                      <a:lnTo>
                        <a:pt x="606" y="1578"/>
                      </a:lnTo>
                      <a:lnTo>
                        <a:pt x="594" y="1554"/>
                      </a:lnTo>
                      <a:lnTo>
                        <a:pt x="582" y="1530"/>
                      </a:lnTo>
                      <a:lnTo>
                        <a:pt x="576" y="1500"/>
                      </a:lnTo>
                      <a:lnTo>
                        <a:pt x="576" y="1482"/>
                      </a:lnTo>
                      <a:lnTo>
                        <a:pt x="570" y="1464"/>
                      </a:lnTo>
                      <a:lnTo>
                        <a:pt x="558" y="1452"/>
                      </a:lnTo>
                      <a:lnTo>
                        <a:pt x="546" y="1446"/>
                      </a:lnTo>
                      <a:lnTo>
                        <a:pt x="534" y="1434"/>
                      </a:lnTo>
                      <a:lnTo>
                        <a:pt x="516" y="1422"/>
                      </a:lnTo>
                      <a:lnTo>
                        <a:pt x="492" y="1410"/>
                      </a:lnTo>
                      <a:lnTo>
                        <a:pt x="462" y="1380"/>
                      </a:lnTo>
                      <a:lnTo>
                        <a:pt x="450" y="1344"/>
                      </a:lnTo>
                      <a:lnTo>
                        <a:pt x="438" y="1314"/>
                      </a:lnTo>
                      <a:lnTo>
                        <a:pt x="420" y="1290"/>
                      </a:lnTo>
                      <a:lnTo>
                        <a:pt x="408" y="1278"/>
                      </a:lnTo>
                      <a:lnTo>
                        <a:pt x="396" y="1266"/>
                      </a:lnTo>
                      <a:lnTo>
                        <a:pt x="390" y="1260"/>
                      </a:lnTo>
                      <a:lnTo>
                        <a:pt x="390" y="1248"/>
                      </a:lnTo>
                      <a:lnTo>
                        <a:pt x="390" y="1236"/>
                      </a:lnTo>
                      <a:lnTo>
                        <a:pt x="390" y="1218"/>
                      </a:lnTo>
                      <a:lnTo>
                        <a:pt x="384" y="1176"/>
                      </a:lnTo>
                      <a:lnTo>
                        <a:pt x="366" y="1134"/>
                      </a:lnTo>
                      <a:lnTo>
                        <a:pt x="336" y="1086"/>
                      </a:lnTo>
                      <a:lnTo>
                        <a:pt x="312" y="1044"/>
                      </a:lnTo>
                      <a:lnTo>
                        <a:pt x="276" y="984"/>
                      </a:lnTo>
                      <a:lnTo>
                        <a:pt x="240" y="918"/>
                      </a:lnTo>
                      <a:lnTo>
                        <a:pt x="210" y="864"/>
                      </a:lnTo>
                      <a:lnTo>
                        <a:pt x="192" y="822"/>
                      </a:lnTo>
                      <a:lnTo>
                        <a:pt x="162" y="786"/>
                      </a:lnTo>
                      <a:lnTo>
                        <a:pt x="126" y="774"/>
                      </a:lnTo>
                      <a:lnTo>
                        <a:pt x="84" y="756"/>
                      </a:lnTo>
                      <a:lnTo>
                        <a:pt x="60" y="750"/>
                      </a:lnTo>
                      <a:lnTo>
                        <a:pt x="48" y="738"/>
                      </a:lnTo>
                      <a:lnTo>
                        <a:pt x="36" y="726"/>
                      </a:lnTo>
                      <a:lnTo>
                        <a:pt x="36" y="714"/>
                      </a:lnTo>
                      <a:lnTo>
                        <a:pt x="36" y="702"/>
                      </a:lnTo>
                      <a:lnTo>
                        <a:pt x="48" y="684"/>
                      </a:lnTo>
                      <a:lnTo>
                        <a:pt x="54" y="660"/>
                      </a:lnTo>
                      <a:lnTo>
                        <a:pt x="54" y="642"/>
                      </a:lnTo>
                      <a:lnTo>
                        <a:pt x="42" y="618"/>
                      </a:lnTo>
                      <a:lnTo>
                        <a:pt x="24" y="594"/>
                      </a:lnTo>
                      <a:lnTo>
                        <a:pt x="6" y="564"/>
                      </a:lnTo>
                      <a:lnTo>
                        <a:pt x="0" y="528"/>
                      </a:lnTo>
                      <a:lnTo>
                        <a:pt x="12" y="486"/>
                      </a:lnTo>
                      <a:lnTo>
                        <a:pt x="24" y="438"/>
                      </a:lnTo>
                      <a:lnTo>
                        <a:pt x="60" y="372"/>
                      </a:lnTo>
                      <a:lnTo>
                        <a:pt x="114" y="330"/>
                      </a:lnTo>
                      <a:lnTo>
                        <a:pt x="132" y="402"/>
                      </a:lnTo>
                      <a:lnTo>
                        <a:pt x="114" y="474"/>
                      </a:lnTo>
                      <a:lnTo>
                        <a:pt x="156" y="522"/>
                      </a:lnTo>
                      <a:lnTo>
                        <a:pt x="204" y="534"/>
                      </a:lnTo>
                      <a:lnTo>
                        <a:pt x="264" y="576"/>
                      </a:lnTo>
                      <a:lnTo>
                        <a:pt x="264" y="576"/>
                      </a:lnTo>
                      <a:lnTo>
                        <a:pt x="270" y="570"/>
                      </a:lnTo>
                      <a:lnTo>
                        <a:pt x="276" y="558"/>
                      </a:lnTo>
                      <a:lnTo>
                        <a:pt x="282" y="552"/>
                      </a:lnTo>
                      <a:lnTo>
                        <a:pt x="288" y="540"/>
                      </a:lnTo>
                      <a:lnTo>
                        <a:pt x="294" y="534"/>
                      </a:lnTo>
                      <a:lnTo>
                        <a:pt x="294" y="528"/>
                      </a:lnTo>
                      <a:lnTo>
                        <a:pt x="300" y="528"/>
                      </a:lnTo>
                      <a:lnTo>
                        <a:pt x="306" y="516"/>
                      </a:lnTo>
                      <a:lnTo>
                        <a:pt x="318" y="510"/>
                      </a:lnTo>
                      <a:lnTo>
                        <a:pt x="330" y="498"/>
                      </a:lnTo>
                      <a:lnTo>
                        <a:pt x="342" y="486"/>
                      </a:lnTo>
                      <a:lnTo>
                        <a:pt x="354" y="480"/>
                      </a:lnTo>
                      <a:lnTo>
                        <a:pt x="360" y="468"/>
                      </a:lnTo>
                      <a:lnTo>
                        <a:pt x="366" y="468"/>
                      </a:lnTo>
                      <a:lnTo>
                        <a:pt x="354" y="372"/>
                      </a:lnTo>
                      <a:lnTo>
                        <a:pt x="378" y="312"/>
                      </a:lnTo>
                      <a:lnTo>
                        <a:pt x="462" y="288"/>
                      </a:lnTo>
                      <a:lnTo>
                        <a:pt x="510" y="264"/>
                      </a:lnTo>
                      <a:lnTo>
                        <a:pt x="576" y="210"/>
                      </a:lnTo>
                      <a:lnTo>
                        <a:pt x="654" y="186"/>
                      </a:lnTo>
                      <a:lnTo>
                        <a:pt x="660" y="126"/>
                      </a:lnTo>
                      <a:lnTo>
                        <a:pt x="690" y="84"/>
                      </a:lnTo>
                      <a:lnTo>
                        <a:pt x="678" y="12"/>
                      </a:lnTo>
                      <a:lnTo>
                        <a:pt x="72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1" name="Freeform 252">
                  <a:extLst>
                    <a:ext uri="{FF2B5EF4-FFF2-40B4-BE49-F238E27FC236}">
                      <a16:creationId xmlns:a16="http://schemas.microsoft.com/office/drawing/2014/main" id="{638AABB7-A06F-4AE2-AD3C-1227613EB0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7525" y="4776"/>
                  <a:ext cx="1410" cy="1602"/>
                </a:xfrm>
                <a:custGeom>
                  <a:avLst/>
                  <a:gdLst>
                    <a:gd name="T0" fmla="*/ 396 w 1410"/>
                    <a:gd name="T1" fmla="*/ 1602 h 1602"/>
                    <a:gd name="T2" fmla="*/ 396 w 1410"/>
                    <a:gd name="T3" fmla="*/ 1602 h 1602"/>
                    <a:gd name="T4" fmla="*/ 6 w 1410"/>
                    <a:gd name="T5" fmla="*/ 138 h 1602"/>
                    <a:gd name="T6" fmla="*/ 6 w 1410"/>
                    <a:gd name="T7" fmla="*/ 138 h 1602"/>
                    <a:gd name="T8" fmla="*/ 450 w 1410"/>
                    <a:gd name="T9" fmla="*/ 0 h 1602"/>
                    <a:gd name="T10" fmla="*/ 450 w 1410"/>
                    <a:gd name="T11" fmla="*/ 6 h 1602"/>
                    <a:gd name="T12" fmla="*/ 462 w 1410"/>
                    <a:gd name="T13" fmla="*/ 18 h 1602"/>
                    <a:gd name="T14" fmla="*/ 480 w 1410"/>
                    <a:gd name="T15" fmla="*/ 54 h 1602"/>
                    <a:gd name="T16" fmla="*/ 486 w 1410"/>
                    <a:gd name="T17" fmla="*/ 120 h 1602"/>
                    <a:gd name="T18" fmla="*/ 498 w 1410"/>
                    <a:gd name="T19" fmla="*/ 168 h 1602"/>
                    <a:gd name="T20" fmla="*/ 540 w 1410"/>
                    <a:gd name="T21" fmla="*/ 234 h 1602"/>
                    <a:gd name="T22" fmla="*/ 546 w 1410"/>
                    <a:gd name="T23" fmla="*/ 276 h 1602"/>
                    <a:gd name="T24" fmla="*/ 696 w 1410"/>
                    <a:gd name="T25" fmla="*/ 312 h 1602"/>
                    <a:gd name="T26" fmla="*/ 816 w 1410"/>
                    <a:gd name="T27" fmla="*/ 366 h 1602"/>
                    <a:gd name="T28" fmla="*/ 930 w 1410"/>
                    <a:gd name="T29" fmla="*/ 408 h 1602"/>
                    <a:gd name="T30" fmla="*/ 1044 w 1410"/>
                    <a:gd name="T31" fmla="*/ 444 h 1602"/>
                    <a:gd name="T32" fmla="*/ 1050 w 1410"/>
                    <a:gd name="T33" fmla="*/ 582 h 1602"/>
                    <a:gd name="T34" fmla="*/ 1110 w 1410"/>
                    <a:gd name="T35" fmla="*/ 702 h 1602"/>
                    <a:gd name="T36" fmla="*/ 1242 w 1410"/>
                    <a:gd name="T37" fmla="*/ 702 h 1602"/>
                    <a:gd name="T38" fmla="*/ 1326 w 1410"/>
                    <a:gd name="T39" fmla="*/ 768 h 1602"/>
                    <a:gd name="T40" fmla="*/ 1326 w 1410"/>
                    <a:gd name="T41" fmla="*/ 870 h 1602"/>
                    <a:gd name="T42" fmla="*/ 1410 w 1410"/>
                    <a:gd name="T43" fmla="*/ 924 h 1602"/>
                    <a:gd name="T44" fmla="*/ 1410 w 1410"/>
                    <a:gd name="T45" fmla="*/ 948 h 1602"/>
                    <a:gd name="T46" fmla="*/ 1410 w 1410"/>
                    <a:gd name="T47" fmla="*/ 978 h 1602"/>
                    <a:gd name="T48" fmla="*/ 1392 w 1410"/>
                    <a:gd name="T49" fmla="*/ 1008 h 1602"/>
                    <a:gd name="T50" fmla="*/ 1380 w 1410"/>
                    <a:gd name="T51" fmla="*/ 1056 h 1602"/>
                    <a:gd name="T52" fmla="*/ 1380 w 1410"/>
                    <a:gd name="T53" fmla="*/ 1110 h 1602"/>
                    <a:gd name="T54" fmla="*/ 1380 w 1410"/>
                    <a:gd name="T55" fmla="*/ 1200 h 1602"/>
                    <a:gd name="T56" fmla="*/ 1338 w 1410"/>
                    <a:gd name="T57" fmla="*/ 1158 h 1602"/>
                    <a:gd name="T58" fmla="*/ 1224 w 1410"/>
                    <a:gd name="T59" fmla="*/ 1122 h 1602"/>
                    <a:gd name="T60" fmla="*/ 1032 w 1410"/>
                    <a:gd name="T61" fmla="*/ 1158 h 1602"/>
                    <a:gd name="T62" fmla="*/ 960 w 1410"/>
                    <a:gd name="T63" fmla="*/ 1260 h 1602"/>
                    <a:gd name="T64" fmla="*/ 936 w 1410"/>
                    <a:gd name="T65" fmla="*/ 1368 h 1602"/>
                    <a:gd name="T66" fmla="*/ 906 w 1410"/>
                    <a:gd name="T67" fmla="*/ 1488 h 1602"/>
                    <a:gd name="T68" fmla="*/ 792 w 1410"/>
                    <a:gd name="T69" fmla="*/ 1476 h 1602"/>
                    <a:gd name="T70" fmla="*/ 690 w 1410"/>
                    <a:gd name="T71" fmla="*/ 1584 h 1602"/>
                    <a:gd name="T72" fmla="*/ 636 w 1410"/>
                    <a:gd name="T73" fmla="*/ 1470 h 1602"/>
                    <a:gd name="T74" fmla="*/ 504 w 1410"/>
                    <a:gd name="T75" fmla="*/ 1464 h 1602"/>
                    <a:gd name="T76" fmla="*/ 438 w 1410"/>
                    <a:gd name="T77" fmla="*/ 1560 h 1602"/>
                    <a:gd name="T78" fmla="*/ 324 w 1410"/>
                    <a:gd name="T79" fmla="*/ 1596 h 1602"/>
                    <a:gd name="T80" fmla="*/ 288 w 1410"/>
                    <a:gd name="T81" fmla="*/ 1458 h 1602"/>
                    <a:gd name="T82" fmla="*/ 240 w 1410"/>
                    <a:gd name="T83" fmla="*/ 1344 h 1602"/>
                    <a:gd name="T84" fmla="*/ 180 w 1410"/>
                    <a:gd name="T85" fmla="*/ 1248 h 1602"/>
                    <a:gd name="T86" fmla="*/ 192 w 1410"/>
                    <a:gd name="T87" fmla="*/ 1128 h 1602"/>
                    <a:gd name="T88" fmla="*/ 138 w 1410"/>
                    <a:gd name="T89" fmla="*/ 1044 h 1602"/>
                    <a:gd name="T90" fmla="*/ 78 w 1410"/>
                    <a:gd name="T91" fmla="*/ 966 h 1602"/>
                    <a:gd name="T92" fmla="*/ 126 w 1410"/>
                    <a:gd name="T93" fmla="*/ 840 h 1602"/>
                    <a:gd name="T94" fmla="*/ 114 w 1410"/>
                    <a:gd name="T95" fmla="*/ 696 h 1602"/>
                    <a:gd name="T96" fmla="*/ 90 w 1410"/>
                    <a:gd name="T97" fmla="*/ 582 h 1602"/>
                    <a:gd name="T98" fmla="*/ 78 w 1410"/>
                    <a:gd name="T99" fmla="*/ 426 h 1602"/>
                    <a:gd name="T100" fmla="*/ 114 w 1410"/>
                    <a:gd name="T101" fmla="*/ 276 h 1602"/>
                    <a:gd name="T102" fmla="*/ 6 w 1410"/>
                    <a:gd name="T103" fmla="*/ 138 h 1602"/>
                    <a:gd name="T104" fmla="*/ 138 w 1410"/>
                    <a:gd name="T105" fmla="*/ 132 h 1602"/>
                    <a:gd name="T106" fmla="*/ 210 w 1410"/>
                    <a:gd name="T107" fmla="*/ 72 h 1602"/>
                    <a:gd name="T108" fmla="*/ 360 w 1410"/>
                    <a:gd name="T109" fmla="*/ 0 h 16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410" h="1602">
                      <a:moveTo>
                        <a:pt x="396" y="1602"/>
                      </a:moveTo>
                      <a:lnTo>
                        <a:pt x="396" y="1602"/>
                      </a:lnTo>
                      <a:lnTo>
                        <a:pt x="396" y="1602"/>
                      </a:lnTo>
                      <a:lnTo>
                        <a:pt x="396" y="1602"/>
                      </a:lnTo>
                      <a:close/>
                      <a:moveTo>
                        <a:pt x="6" y="138"/>
                      </a:moveTo>
                      <a:lnTo>
                        <a:pt x="6" y="138"/>
                      </a:lnTo>
                      <a:lnTo>
                        <a:pt x="0" y="138"/>
                      </a:lnTo>
                      <a:lnTo>
                        <a:pt x="6" y="138"/>
                      </a:lnTo>
                      <a:close/>
                      <a:moveTo>
                        <a:pt x="360" y="0"/>
                      </a:moveTo>
                      <a:lnTo>
                        <a:pt x="450" y="0"/>
                      </a:lnTo>
                      <a:lnTo>
                        <a:pt x="450" y="0"/>
                      </a:lnTo>
                      <a:lnTo>
                        <a:pt x="450" y="6"/>
                      </a:lnTo>
                      <a:lnTo>
                        <a:pt x="456" y="6"/>
                      </a:lnTo>
                      <a:lnTo>
                        <a:pt x="462" y="18"/>
                      </a:lnTo>
                      <a:lnTo>
                        <a:pt x="468" y="30"/>
                      </a:lnTo>
                      <a:lnTo>
                        <a:pt x="480" y="54"/>
                      </a:lnTo>
                      <a:lnTo>
                        <a:pt x="486" y="84"/>
                      </a:lnTo>
                      <a:lnTo>
                        <a:pt x="486" y="120"/>
                      </a:lnTo>
                      <a:lnTo>
                        <a:pt x="486" y="144"/>
                      </a:lnTo>
                      <a:lnTo>
                        <a:pt x="498" y="168"/>
                      </a:lnTo>
                      <a:lnTo>
                        <a:pt x="522" y="198"/>
                      </a:lnTo>
                      <a:lnTo>
                        <a:pt x="540" y="234"/>
                      </a:lnTo>
                      <a:lnTo>
                        <a:pt x="546" y="264"/>
                      </a:lnTo>
                      <a:lnTo>
                        <a:pt x="546" y="276"/>
                      </a:lnTo>
                      <a:lnTo>
                        <a:pt x="642" y="270"/>
                      </a:lnTo>
                      <a:lnTo>
                        <a:pt x="696" y="312"/>
                      </a:lnTo>
                      <a:lnTo>
                        <a:pt x="750" y="324"/>
                      </a:lnTo>
                      <a:lnTo>
                        <a:pt x="816" y="366"/>
                      </a:lnTo>
                      <a:lnTo>
                        <a:pt x="870" y="378"/>
                      </a:lnTo>
                      <a:lnTo>
                        <a:pt x="930" y="408"/>
                      </a:lnTo>
                      <a:lnTo>
                        <a:pt x="990" y="420"/>
                      </a:lnTo>
                      <a:lnTo>
                        <a:pt x="1044" y="444"/>
                      </a:lnTo>
                      <a:lnTo>
                        <a:pt x="1050" y="510"/>
                      </a:lnTo>
                      <a:lnTo>
                        <a:pt x="1050" y="582"/>
                      </a:lnTo>
                      <a:lnTo>
                        <a:pt x="1080" y="642"/>
                      </a:lnTo>
                      <a:lnTo>
                        <a:pt x="1110" y="702"/>
                      </a:lnTo>
                      <a:lnTo>
                        <a:pt x="1164" y="714"/>
                      </a:lnTo>
                      <a:lnTo>
                        <a:pt x="1242" y="702"/>
                      </a:lnTo>
                      <a:lnTo>
                        <a:pt x="1302" y="732"/>
                      </a:lnTo>
                      <a:lnTo>
                        <a:pt x="1326" y="768"/>
                      </a:lnTo>
                      <a:lnTo>
                        <a:pt x="1296" y="822"/>
                      </a:lnTo>
                      <a:lnTo>
                        <a:pt x="1326" y="870"/>
                      </a:lnTo>
                      <a:lnTo>
                        <a:pt x="1410" y="918"/>
                      </a:lnTo>
                      <a:lnTo>
                        <a:pt x="1410" y="924"/>
                      </a:lnTo>
                      <a:lnTo>
                        <a:pt x="1410" y="930"/>
                      </a:lnTo>
                      <a:lnTo>
                        <a:pt x="1410" y="948"/>
                      </a:lnTo>
                      <a:lnTo>
                        <a:pt x="1410" y="966"/>
                      </a:lnTo>
                      <a:lnTo>
                        <a:pt x="1410" y="978"/>
                      </a:lnTo>
                      <a:lnTo>
                        <a:pt x="1404" y="990"/>
                      </a:lnTo>
                      <a:lnTo>
                        <a:pt x="1392" y="1008"/>
                      </a:lnTo>
                      <a:lnTo>
                        <a:pt x="1386" y="1032"/>
                      </a:lnTo>
                      <a:lnTo>
                        <a:pt x="1380" y="1056"/>
                      </a:lnTo>
                      <a:lnTo>
                        <a:pt x="1386" y="1080"/>
                      </a:lnTo>
                      <a:lnTo>
                        <a:pt x="1380" y="1110"/>
                      </a:lnTo>
                      <a:lnTo>
                        <a:pt x="1374" y="1152"/>
                      </a:lnTo>
                      <a:lnTo>
                        <a:pt x="1380" y="1200"/>
                      </a:lnTo>
                      <a:lnTo>
                        <a:pt x="1380" y="1188"/>
                      </a:lnTo>
                      <a:lnTo>
                        <a:pt x="1338" y="1158"/>
                      </a:lnTo>
                      <a:lnTo>
                        <a:pt x="1290" y="1122"/>
                      </a:lnTo>
                      <a:lnTo>
                        <a:pt x="1224" y="1122"/>
                      </a:lnTo>
                      <a:lnTo>
                        <a:pt x="1152" y="1134"/>
                      </a:lnTo>
                      <a:lnTo>
                        <a:pt x="1032" y="1158"/>
                      </a:lnTo>
                      <a:lnTo>
                        <a:pt x="972" y="1188"/>
                      </a:lnTo>
                      <a:lnTo>
                        <a:pt x="960" y="1260"/>
                      </a:lnTo>
                      <a:lnTo>
                        <a:pt x="960" y="1326"/>
                      </a:lnTo>
                      <a:lnTo>
                        <a:pt x="936" y="1368"/>
                      </a:lnTo>
                      <a:lnTo>
                        <a:pt x="912" y="1422"/>
                      </a:lnTo>
                      <a:lnTo>
                        <a:pt x="906" y="1488"/>
                      </a:lnTo>
                      <a:lnTo>
                        <a:pt x="852" y="1482"/>
                      </a:lnTo>
                      <a:lnTo>
                        <a:pt x="792" y="1476"/>
                      </a:lnTo>
                      <a:lnTo>
                        <a:pt x="750" y="1506"/>
                      </a:lnTo>
                      <a:lnTo>
                        <a:pt x="690" y="1584"/>
                      </a:lnTo>
                      <a:lnTo>
                        <a:pt x="678" y="1518"/>
                      </a:lnTo>
                      <a:lnTo>
                        <a:pt x="636" y="1470"/>
                      </a:lnTo>
                      <a:lnTo>
                        <a:pt x="570" y="1464"/>
                      </a:lnTo>
                      <a:lnTo>
                        <a:pt x="504" y="1464"/>
                      </a:lnTo>
                      <a:lnTo>
                        <a:pt x="474" y="1536"/>
                      </a:lnTo>
                      <a:lnTo>
                        <a:pt x="438" y="1560"/>
                      </a:lnTo>
                      <a:lnTo>
                        <a:pt x="396" y="1602"/>
                      </a:lnTo>
                      <a:lnTo>
                        <a:pt x="324" y="1596"/>
                      </a:lnTo>
                      <a:lnTo>
                        <a:pt x="306" y="1524"/>
                      </a:lnTo>
                      <a:lnTo>
                        <a:pt x="288" y="1458"/>
                      </a:lnTo>
                      <a:lnTo>
                        <a:pt x="246" y="1416"/>
                      </a:lnTo>
                      <a:lnTo>
                        <a:pt x="240" y="1344"/>
                      </a:lnTo>
                      <a:lnTo>
                        <a:pt x="198" y="1296"/>
                      </a:lnTo>
                      <a:lnTo>
                        <a:pt x="180" y="1248"/>
                      </a:lnTo>
                      <a:lnTo>
                        <a:pt x="204" y="1176"/>
                      </a:lnTo>
                      <a:lnTo>
                        <a:pt x="192" y="1128"/>
                      </a:lnTo>
                      <a:lnTo>
                        <a:pt x="138" y="1098"/>
                      </a:lnTo>
                      <a:lnTo>
                        <a:pt x="138" y="1044"/>
                      </a:lnTo>
                      <a:lnTo>
                        <a:pt x="120" y="990"/>
                      </a:lnTo>
                      <a:lnTo>
                        <a:pt x="78" y="966"/>
                      </a:lnTo>
                      <a:lnTo>
                        <a:pt x="84" y="882"/>
                      </a:lnTo>
                      <a:lnTo>
                        <a:pt x="126" y="840"/>
                      </a:lnTo>
                      <a:lnTo>
                        <a:pt x="132" y="762"/>
                      </a:lnTo>
                      <a:lnTo>
                        <a:pt x="114" y="696"/>
                      </a:lnTo>
                      <a:lnTo>
                        <a:pt x="78" y="642"/>
                      </a:lnTo>
                      <a:lnTo>
                        <a:pt x="90" y="582"/>
                      </a:lnTo>
                      <a:lnTo>
                        <a:pt x="114" y="486"/>
                      </a:lnTo>
                      <a:lnTo>
                        <a:pt x="78" y="426"/>
                      </a:lnTo>
                      <a:lnTo>
                        <a:pt x="114" y="372"/>
                      </a:lnTo>
                      <a:lnTo>
                        <a:pt x="114" y="276"/>
                      </a:lnTo>
                      <a:lnTo>
                        <a:pt x="60" y="198"/>
                      </a:lnTo>
                      <a:lnTo>
                        <a:pt x="6" y="138"/>
                      </a:lnTo>
                      <a:lnTo>
                        <a:pt x="60" y="120"/>
                      </a:lnTo>
                      <a:lnTo>
                        <a:pt x="138" y="132"/>
                      </a:lnTo>
                      <a:lnTo>
                        <a:pt x="180" y="108"/>
                      </a:lnTo>
                      <a:lnTo>
                        <a:pt x="210" y="72"/>
                      </a:lnTo>
                      <a:lnTo>
                        <a:pt x="282" y="42"/>
                      </a:lnTo>
                      <a:lnTo>
                        <a:pt x="36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2" name="Freeform 253">
                  <a:extLst>
                    <a:ext uri="{FF2B5EF4-FFF2-40B4-BE49-F238E27FC236}">
                      <a16:creationId xmlns:a16="http://schemas.microsoft.com/office/drawing/2014/main" id="{F3A6AE1D-0B96-476A-A104-C98E291218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19" y="5898"/>
                  <a:ext cx="978" cy="978"/>
                </a:xfrm>
                <a:custGeom>
                  <a:avLst/>
                  <a:gdLst>
                    <a:gd name="T0" fmla="*/ 384 w 978"/>
                    <a:gd name="T1" fmla="*/ 0 h 978"/>
                    <a:gd name="T2" fmla="*/ 474 w 978"/>
                    <a:gd name="T3" fmla="*/ 66 h 978"/>
                    <a:gd name="T4" fmla="*/ 480 w 978"/>
                    <a:gd name="T5" fmla="*/ 96 h 978"/>
                    <a:gd name="T6" fmla="*/ 504 w 978"/>
                    <a:gd name="T7" fmla="*/ 144 h 978"/>
                    <a:gd name="T8" fmla="*/ 534 w 978"/>
                    <a:gd name="T9" fmla="*/ 234 h 978"/>
                    <a:gd name="T10" fmla="*/ 522 w 978"/>
                    <a:gd name="T11" fmla="*/ 288 h 978"/>
                    <a:gd name="T12" fmla="*/ 546 w 978"/>
                    <a:gd name="T13" fmla="*/ 336 h 978"/>
                    <a:gd name="T14" fmla="*/ 684 w 978"/>
                    <a:gd name="T15" fmla="*/ 354 h 978"/>
                    <a:gd name="T16" fmla="*/ 798 w 978"/>
                    <a:gd name="T17" fmla="*/ 396 h 978"/>
                    <a:gd name="T18" fmla="*/ 840 w 978"/>
                    <a:gd name="T19" fmla="*/ 498 h 978"/>
                    <a:gd name="T20" fmla="*/ 954 w 978"/>
                    <a:gd name="T21" fmla="*/ 528 h 978"/>
                    <a:gd name="T22" fmla="*/ 954 w 978"/>
                    <a:gd name="T23" fmla="*/ 534 h 978"/>
                    <a:gd name="T24" fmla="*/ 954 w 978"/>
                    <a:gd name="T25" fmla="*/ 564 h 978"/>
                    <a:gd name="T26" fmla="*/ 954 w 978"/>
                    <a:gd name="T27" fmla="*/ 624 h 978"/>
                    <a:gd name="T28" fmla="*/ 972 w 978"/>
                    <a:gd name="T29" fmla="*/ 708 h 978"/>
                    <a:gd name="T30" fmla="*/ 966 w 978"/>
                    <a:gd name="T31" fmla="*/ 786 h 978"/>
                    <a:gd name="T32" fmla="*/ 936 w 978"/>
                    <a:gd name="T33" fmla="*/ 846 h 978"/>
                    <a:gd name="T34" fmla="*/ 900 w 978"/>
                    <a:gd name="T35" fmla="*/ 870 h 978"/>
                    <a:gd name="T36" fmla="*/ 876 w 978"/>
                    <a:gd name="T37" fmla="*/ 888 h 978"/>
                    <a:gd name="T38" fmla="*/ 858 w 978"/>
                    <a:gd name="T39" fmla="*/ 912 h 978"/>
                    <a:gd name="T40" fmla="*/ 840 w 978"/>
                    <a:gd name="T41" fmla="*/ 966 h 978"/>
                    <a:gd name="T42" fmla="*/ 744 w 978"/>
                    <a:gd name="T43" fmla="*/ 978 h 978"/>
                    <a:gd name="T44" fmla="*/ 606 w 978"/>
                    <a:gd name="T45" fmla="*/ 978 h 978"/>
                    <a:gd name="T46" fmla="*/ 558 w 978"/>
                    <a:gd name="T47" fmla="*/ 954 h 978"/>
                    <a:gd name="T48" fmla="*/ 552 w 978"/>
                    <a:gd name="T49" fmla="*/ 888 h 978"/>
                    <a:gd name="T50" fmla="*/ 564 w 978"/>
                    <a:gd name="T51" fmla="*/ 798 h 978"/>
                    <a:gd name="T52" fmla="*/ 588 w 978"/>
                    <a:gd name="T53" fmla="*/ 750 h 978"/>
                    <a:gd name="T54" fmla="*/ 600 w 978"/>
                    <a:gd name="T55" fmla="*/ 702 h 978"/>
                    <a:gd name="T56" fmla="*/ 546 w 978"/>
                    <a:gd name="T57" fmla="*/ 648 h 978"/>
                    <a:gd name="T58" fmla="*/ 444 w 978"/>
                    <a:gd name="T59" fmla="*/ 618 h 978"/>
                    <a:gd name="T60" fmla="*/ 366 w 978"/>
                    <a:gd name="T61" fmla="*/ 576 h 978"/>
                    <a:gd name="T62" fmla="*/ 264 w 978"/>
                    <a:gd name="T63" fmla="*/ 570 h 978"/>
                    <a:gd name="T64" fmla="*/ 186 w 978"/>
                    <a:gd name="T65" fmla="*/ 540 h 978"/>
                    <a:gd name="T66" fmla="*/ 144 w 978"/>
                    <a:gd name="T67" fmla="*/ 480 h 978"/>
                    <a:gd name="T68" fmla="*/ 114 w 978"/>
                    <a:gd name="T69" fmla="*/ 444 h 978"/>
                    <a:gd name="T70" fmla="*/ 78 w 978"/>
                    <a:gd name="T71" fmla="*/ 420 h 978"/>
                    <a:gd name="T72" fmla="*/ 54 w 978"/>
                    <a:gd name="T73" fmla="*/ 414 h 978"/>
                    <a:gd name="T74" fmla="*/ 36 w 978"/>
                    <a:gd name="T75" fmla="*/ 408 h 978"/>
                    <a:gd name="T76" fmla="*/ 12 w 978"/>
                    <a:gd name="T77" fmla="*/ 384 h 978"/>
                    <a:gd name="T78" fmla="*/ 6 w 978"/>
                    <a:gd name="T79" fmla="*/ 300 h 978"/>
                    <a:gd name="T80" fmla="*/ 54 w 978"/>
                    <a:gd name="T81" fmla="*/ 204 h 978"/>
                    <a:gd name="T82" fmla="*/ 66 w 978"/>
                    <a:gd name="T83" fmla="*/ 66 h 978"/>
                    <a:gd name="T84" fmla="*/ 246 w 978"/>
                    <a:gd name="T85" fmla="*/ 12 h 9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78" h="978">
                      <a:moveTo>
                        <a:pt x="318" y="0"/>
                      </a:moveTo>
                      <a:lnTo>
                        <a:pt x="384" y="0"/>
                      </a:lnTo>
                      <a:lnTo>
                        <a:pt x="432" y="36"/>
                      </a:lnTo>
                      <a:lnTo>
                        <a:pt x="474" y="66"/>
                      </a:lnTo>
                      <a:lnTo>
                        <a:pt x="474" y="78"/>
                      </a:lnTo>
                      <a:lnTo>
                        <a:pt x="480" y="96"/>
                      </a:lnTo>
                      <a:lnTo>
                        <a:pt x="486" y="120"/>
                      </a:lnTo>
                      <a:lnTo>
                        <a:pt x="504" y="144"/>
                      </a:lnTo>
                      <a:lnTo>
                        <a:pt x="528" y="192"/>
                      </a:lnTo>
                      <a:lnTo>
                        <a:pt x="534" y="234"/>
                      </a:lnTo>
                      <a:lnTo>
                        <a:pt x="528" y="264"/>
                      </a:lnTo>
                      <a:lnTo>
                        <a:pt x="522" y="288"/>
                      </a:lnTo>
                      <a:lnTo>
                        <a:pt x="522" y="294"/>
                      </a:lnTo>
                      <a:lnTo>
                        <a:pt x="546" y="336"/>
                      </a:lnTo>
                      <a:lnTo>
                        <a:pt x="600" y="348"/>
                      </a:lnTo>
                      <a:lnTo>
                        <a:pt x="684" y="354"/>
                      </a:lnTo>
                      <a:lnTo>
                        <a:pt x="744" y="354"/>
                      </a:lnTo>
                      <a:lnTo>
                        <a:pt x="798" y="396"/>
                      </a:lnTo>
                      <a:lnTo>
                        <a:pt x="822" y="486"/>
                      </a:lnTo>
                      <a:lnTo>
                        <a:pt x="840" y="498"/>
                      </a:lnTo>
                      <a:lnTo>
                        <a:pt x="906" y="528"/>
                      </a:lnTo>
                      <a:lnTo>
                        <a:pt x="954" y="528"/>
                      </a:lnTo>
                      <a:lnTo>
                        <a:pt x="954" y="528"/>
                      </a:lnTo>
                      <a:lnTo>
                        <a:pt x="954" y="534"/>
                      </a:lnTo>
                      <a:lnTo>
                        <a:pt x="954" y="546"/>
                      </a:lnTo>
                      <a:lnTo>
                        <a:pt x="954" y="564"/>
                      </a:lnTo>
                      <a:lnTo>
                        <a:pt x="948" y="588"/>
                      </a:lnTo>
                      <a:lnTo>
                        <a:pt x="954" y="624"/>
                      </a:lnTo>
                      <a:lnTo>
                        <a:pt x="960" y="672"/>
                      </a:lnTo>
                      <a:lnTo>
                        <a:pt x="972" y="708"/>
                      </a:lnTo>
                      <a:lnTo>
                        <a:pt x="978" y="720"/>
                      </a:lnTo>
                      <a:lnTo>
                        <a:pt x="966" y="786"/>
                      </a:lnTo>
                      <a:lnTo>
                        <a:pt x="954" y="822"/>
                      </a:lnTo>
                      <a:lnTo>
                        <a:pt x="936" y="846"/>
                      </a:lnTo>
                      <a:lnTo>
                        <a:pt x="912" y="858"/>
                      </a:lnTo>
                      <a:lnTo>
                        <a:pt x="900" y="870"/>
                      </a:lnTo>
                      <a:lnTo>
                        <a:pt x="888" y="882"/>
                      </a:lnTo>
                      <a:lnTo>
                        <a:pt x="876" y="888"/>
                      </a:lnTo>
                      <a:lnTo>
                        <a:pt x="870" y="900"/>
                      </a:lnTo>
                      <a:lnTo>
                        <a:pt x="858" y="912"/>
                      </a:lnTo>
                      <a:lnTo>
                        <a:pt x="852" y="936"/>
                      </a:lnTo>
                      <a:lnTo>
                        <a:pt x="840" y="966"/>
                      </a:lnTo>
                      <a:lnTo>
                        <a:pt x="804" y="972"/>
                      </a:lnTo>
                      <a:lnTo>
                        <a:pt x="744" y="978"/>
                      </a:lnTo>
                      <a:lnTo>
                        <a:pt x="660" y="978"/>
                      </a:lnTo>
                      <a:lnTo>
                        <a:pt x="606" y="978"/>
                      </a:lnTo>
                      <a:lnTo>
                        <a:pt x="570" y="972"/>
                      </a:lnTo>
                      <a:lnTo>
                        <a:pt x="558" y="954"/>
                      </a:lnTo>
                      <a:lnTo>
                        <a:pt x="552" y="924"/>
                      </a:lnTo>
                      <a:lnTo>
                        <a:pt x="552" y="888"/>
                      </a:lnTo>
                      <a:lnTo>
                        <a:pt x="558" y="846"/>
                      </a:lnTo>
                      <a:lnTo>
                        <a:pt x="564" y="798"/>
                      </a:lnTo>
                      <a:lnTo>
                        <a:pt x="576" y="768"/>
                      </a:lnTo>
                      <a:lnTo>
                        <a:pt x="588" y="750"/>
                      </a:lnTo>
                      <a:lnTo>
                        <a:pt x="600" y="726"/>
                      </a:lnTo>
                      <a:lnTo>
                        <a:pt x="600" y="702"/>
                      </a:lnTo>
                      <a:lnTo>
                        <a:pt x="582" y="672"/>
                      </a:lnTo>
                      <a:lnTo>
                        <a:pt x="546" y="648"/>
                      </a:lnTo>
                      <a:lnTo>
                        <a:pt x="492" y="630"/>
                      </a:lnTo>
                      <a:lnTo>
                        <a:pt x="444" y="618"/>
                      </a:lnTo>
                      <a:lnTo>
                        <a:pt x="408" y="600"/>
                      </a:lnTo>
                      <a:lnTo>
                        <a:pt x="366" y="576"/>
                      </a:lnTo>
                      <a:lnTo>
                        <a:pt x="324" y="570"/>
                      </a:lnTo>
                      <a:lnTo>
                        <a:pt x="264" y="570"/>
                      </a:lnTo>
                      <a:lnTo>
                        <a:pt x="216" y="564"/>
                      </a:lnTo>
                      <a:lnTo>
                        <a:pt x="186" y="540"/>
                      </a:lnTo>
                      <a:lnTo>
                        <a:pt x="162" y="510"/>
                      </a:lnTo>
                      <a:lnTo>
                        <a:pt x="144" y="480"/>
                      </a:lnTo>
                      <a:lnTo>
                        <a:pt x="126" y="462"/>
                      </a:lnTo>
                      <a:lnTo>
                        <a:pt x="114" y="444"/>
                      </a:lnTo>
                      <a:lnTo>
                        <a:pt x="96" y="432"/>
                      </a:lnTo>
                      <a:lnTo>
                        <a:pt x="78" y="420"/>
                      </a:lnTo>
                      <a:lnTo>
                        <a:pt x="66" y="414"/>
                      </a:lnTo>
                      <a:lnTo>
                        <a:pt x="54" y="414"/>
                      </a:lnTo>
                      <a:lnTo>
                        <a:pt x="48" y="408"/>
                      </a:lnTo>
                      <a:lnTo>
                        <a:pt x="36" y="408"/>
                      </a:lnTo>
                      <a:lnTo>
                        <a:pt x="24" y="402"/>
                      </a:lnTo>
                      <a:lnTo>
                        <a:pt x="12" y="384"/>
                      </a:lnTo>
                      <a:lnTo>
                        <a:pt x="0" y="366"/>
                      </a:lnTo>
                      <a:lnTo>
                        <a:pt x="6" y="300"/>
                      </a:lnTo>
                      <a:lnTo>
                        <a:pt x="30" y="246"/>
                      </a:lnTo>
                      <a:lnTo>
                        <a:pt x="54" y="204"/>
                      </a:lnTo>
                      <a:lnTo>
                        <a:pt x="54" y="138"/>
                      </a:lnTo>
                      <a:lnTo>
                        <a:pt x="66" y="66"/>
                      </a:lnTo>
                      <a:lnTo>
                        <a:pt x="126" y="36"/>
                      </a:lnTo>
                      <a:lnTo>
                        <a:pt x="246" y="12"/>
                      </a:lnTo>
                      <a:lnTo>
                        <a:pt x="31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3" name="Freeform 254">
                  <a:extLst>
                    <a:ext uri="{FF2B5EF4-FFF2-40B4-BE49-F238E27FC236}">
                      <a16:creationId xmlns:a16="http://schemas.microsoft.com/office/drawing/2014/main" id="{E86391C3-8E15-4E83-9D98-2DF06BBDBE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5959" y="7200"/>
                  <a:ext cx="630" cy="630"/>
                </a:xfrm>
                <a:custGeom>
                  <a:avLst/>
                  <a:gdLst>
                    <a:gd name="T0" fmla="*/ 600 w 630"/>
                    <a:gd name="T1" fmla="*/ 288 h 630"/>
                    <a:gd name="T2" fmla="*/ 54 w 630"/>
                    <a:gd name="T3" fmla="*/ 0 h 630"/>
                    <a:gd name="T4" fmla="*/ 228 w 630"/>
                    <a:gd name="T5" fmla="*/ 108 h 630"/>
                    <a:gd name="T6" fmla="*/ 306 w 630"/>
                    <a:gd name="T7" fmla="*/ 162 h 630"/>
                    <a:gd name="T8" fmla="*/ 456 w 630"/>
                    <a:gd name="T9" fmla="*/ 258 h 630"/>
                    <a:gd name="T10" fmla="*/ 600 w 630"/>
                    <a:gd name="T11" fmla="*/ 300 h 630"/>
                    <a:gd name="T12" fmla="*/ 600 w 630"/>
                    <a:gd name="T13" fmla="*/ 318 h 630"/>
                    <a:gd name="T14" fmla="*/ 618 w 630"/>
                    <a:gd name="T15" fmla="*/ 324 h 630"/>
                    <a:gd name="T16" fmla="*/ 630 w 630"/>
                    <a:gd name="T17" fmla="*/ 342 h 630"/>
                    <a:gd name="T18" fmla="*/ 630 w 630"/>
                    <a:gd name="T19" fmla="*/ 372 h 630"/>
                    <a:gd name="T20" fmla="*/ 612 w 630"/>
                    <a:gd name="T21" fmla="*/ 402 h 630"/>
                    <a:gd name="T22" fmla="*/ 576 w 630"/>
                    <a:gd name="T23" fmla="*/ 438 h 630"/>
                    <a:gd name="T24" fmla="*/ 528 w 630"/>
                    <a:gd name="T25" fmla="*/ 510 h 630"/>
                    <a:gd name="T26" fmla="*/ 498 w 630"/>
                    <a:gd name="T27" fmla="*/ 564 h 630"/>
                    <a:gd name="T28" fmla="*/ 456 w 630"/>
                    <a:gd name="T29" fmla="*/ 594 h 630"/>
                    <a:gd name="T30" fmla="*/ 420 w 630"/>
                    <a:gd name="T31" fmla="*/ 612 h 630"/>
                    <a:gd name="T32" fmla="*/ 390 w 630"/>
                    <a:gd name="T33" fmla="*/ 624 h 630"/>
                    <a:gd name="T34" fmla="*/ 360 w 630"/>
                    <a:gd name="T35" fmla="*/ 630 h 630"/>
                    <a:gd name="T36" fmla="*/ 342 w 630"/>
                    <a:gd name="T37" fmla="*/ 624 h 630"/>
                    <a:gd name="T38" fmla="*/ 318 w 630"/>
                    <a:gd name="T39" fmla="*/ 618 h 630"/>
                    <a:gd name="T40" fmla="*/ 294 w 630"/>
                    <a:gd name="T41" fmla="*/ 618 h 630"/>
                    <a:gd name="T42" fmla="*/ 276 w 630"/>
                    <a:gd name="T43" fmla="*/ 630 h 630"/>
                    <a:gd name="T44" fmla="*/ 252 w 630"/>
                    <a:gd name="T45" fmla="*/ 630 h 630"/>
                    <a:gd name="T46" fmla="*/ 216 w 630"/>
                    <a:gd name="T47" fmla="*/ 624 h 630"/>
                    <a:gd name="T48" fmla="*/ 198 w 630"/>
                    <a:gd name="T49" fmla="*/ 612 h 630"/>
                    <a:gd name="T50" fmla="*/ 174 w 630"/>
                    <a:gd name="T51" fmla="*/ 588 h 630"/>
                    <a:gd name="T52" fmla="*/ 138 w 630"/>
                    <a:gd name="T53" fmla="*/ 594 h 630"/>
                    <a:gd name="T54" fmla="*/ 114 w 630"/>
                    <a:gd name="T55" fmla="*/ 600 h 630"/>
                    <a:gd name="T56" fmla="*/ 84 w 630"/>
                    <a:gd name="T57" fmla="*/ 582 h 630"/>
                    <a:gd name="T58" fmla="*/ 60 w 630"/>
                    <a:gd name="T59" fmla="*/ 558 h 630"/>
                    <a:gd name="T60" fmla="*/ 42 w 630"/>
                    <a:gd name="T61" fmla="*/ 552 h 630"/>
                    <a:gd name="T62" fmla="*/ 36 w 630"/>
                    <a:gd name="T63" fmla="*/ 540 h 630"/>
                    <a:gd name="T64" fmla="*/ 36 w 630"/>
                    <a:gd name="T65" fmla="*/ 450 h 630"/>
                    <a:gd name="T66" fmla="*/ 30 w 630"/>
                    <a:gd name="T67" fmla="*/ 354 h 630"/>
                    <a:gd name="T68" fmla="*/ 6 w 630"/>
                    <a:gd name="T69" fmla="*/ 204 h 630"/>
                    <a:gd name="T70" fmla="*/ 0 w 630"/>
                    <a:gd name="T71" fmla="*/ 54 h 630"/>
                    <a:gd name="T72" fmla="*/ 36 w 630"/>
                    <a:gd name="T73" fmla="*/ 6 h 6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30" h="630">
                      <a:moveTo>
                        <a:pt x="600" y="288"/>
                      </a:moveTo>
                      <a:lnTo>
                        <a:pt x="600" y="288"/>
                      </a:lnTo>
                      <a:lnTo>
                        <a:pt x="600" y="288"/>
                      </a:lnTo>
                      <a:close/>
                      <a:moveTo>
                        <a:pt x="54" y="0"/>
                      </a:moveTo>
                      <a:lnTo>
                        <a:pt x="162" y="42"/>
                      </a:lnTo>
                      <a:lnTo>
                        <a:pt x="228" y="108"/>
                      </a:lnTo>
                      <a:lnTo>
                        <a:pt x="264" y="108"/>
                      </a:lnTo>
                      <a:lnTo>
                        <a:pt x="306" y="162"/>
                      </a:lnTo>
                      <a:lnTo>
                        <a:pt x="372" y="174"/>
                      </a:lnTo>
                      <a:lnTo>
                        <a:pt x="456" y="258"/>
                      </a:lnTo>
                      <a:lnTo>
                        <a:pt x="600" y="288"/>
                      </a:lnTo>
                      <a:lnTo>
                        <a:pt x="600" y="300"/>
                      </a:lnTo>
                      <a:lnTo>
                        <a:pt x="600" y="306"/>
                      </a:lnTo>
                      <a:lnTo>
                        <a:pt x="600" y="318"/>
                      </a:lnTo>
                      <a:lnTo>
                        <a:pt x="612" y="318"/>
                      </a:lnTo>
                      <a:lnTo>
                        <a:pt x="618" y="324"/>
                      </a:lnTo>
                      <a:lnTo>
                        <a:pt x="624" y="330"/>
                      </a:lnTo>
                      <a:lnTo>
                        <a:pt x="630" y="342"/>
                      </a:lnTo>
                      <a:lnTo>
                        <a:pt x="630" y="354"/>
                      </a:lnTo>
                      <a:lnTo>
                        <a:pt x="630" y="372"/>
                      </a:lnTo>
                      <a:lnTo>
                        <a:pt x="618" y="390"/>
                      </a:lnTo>
                      <a:lnTo>
                        <a:pt x="612" y="402"/>
                      </a:lnTo>
                      <a:lnTo>
                        <a:pt x="594" y="420"/>
                      </a:lnTo>
                      <a:lnTo>
                        <a:pt x="576" y="438"/>
                      </a:lnTo>
                      <a:lnTo>
                        <a:pt x="546" y="480"/>
                      </a:lnTo>
                      <a:lnTo>
                        <a:pt x="528" y="510"/>
                      </a:lnTo>
                      <a:lnTo>
                        <a:pt x="510" y="540"/>
                      </a:lnTo>
                      <a:lnTo>
                        <a:pt x="498" y="564"/>
                      </a:lnTo>
                      <a:lnTo>
                        <a:pt x="480" y="576"/>
                      </a:lnTo>
                      <a:lnTo>
                        <a:pt x="456" y="594"/>
                      </a:lnTo>
                      <a:lnTo>
                        <a:pt x="438" y="606"/>
                      </a:lnTo>
                      <a:lnTo>
                        <a:pt x="420" y="612"/>
                      </a:lnTo>
                      <a:lnTo>
                        <a:pt x="408" y="618"/>
                      </a:lnTo>
                      <a:lnTo>
                        <a:pt x="390" y="624"/>
                      </a:lnTo>
                      <a:lnTo>
                        <a:pt x="372" y="630"/>
                      </a:lnTo>
                      <a:lnTo>
                        <a:pt x="360" y="630"/>
                      </a:lnTo>
                      <a:lnTo>
                        <a:pt x="348" y="624"/>
                      </a:lnTo>
                      <a:lnTo>
                        <a:pt x="342" y="624"/>
                      </a:lnTo>
                      <a:lnTo>
                        <a:pt x="330" y="618"/>
                      </a:lnTo>
                      <a:lnTo>
                        <a:pt x="318" y="618"/>
                      </a:lnTo>
                      <a:lnTo>
                        <a:pt x="306" y="612"/>
                      </a:lnTo>
                      <a:lnTo>
                        <a:pt x="294" y="618"/>
                      </a:lnTo>
                      <a:lnTo>
                        <a:pt x="288" y="624"/>
                      </a:lnTo>
                      <a:lnTo>
                        <a:pt x="276" y="630"/>
                      </a:lnTo>
                      <a:lnTo>
                        <a:pt x="264" y="630"/>
                      </a:lnTo>
                      <a:lnTo>
                        <a:pt x="252" y="630"/>
                      </a:lnTo>
                      <a:lnTo>
                        <a:pt x="234" y="630"/>
                      </a:lnTo>
                      <a:lnTo>
                        <a:pt x="216" y="624"/>
                      </a:lnTo>
                      <a:lnTo>
                        <a:pt x="204" y="618"/>
                      </a:lnTo>
                      <a:lnTo>
                        <a:pt x="198" y="612"/>
                      </a:lnTo>
                      <a:lnTo>
                        <a:pt x="186" y="600"/>
                      </a:lnTo>
                      <a:lnTo>
                        <a:pt x="174" y="588"/>
                      </a:lnTo>
                      <a:lnTo>
                        <a:pt x="156" y="588"/>
                      </a:lnTo>
                      <a:lnTo>
                        <a:pt x="138" y="594"/>
                      </a:lnTo>
                      <a:lnTo>
                        <a:pt x="126" y="600"/>
                      </a:lnTo>
                      <a:lnTo>
                        <a:pt x="114" y="600"/>
                      </a:lnTo>
                      <a:lnTo>
                        <a:pt x="96" y="594"/>
                      </a:lnTo>
                      <a:lnTo>
                        <a:pt x="84" y="582"/>
                      </a:lnTo>
                      <a:lnTo>
                        <a:pt x="72" y="570"/>
                      </a:lnTo>
                      <a:lnTo>
                        <a:pt x="60" y="558"/>
                      </a:lnTo>
                      <a:lnTo>
                        <a:pt x="48" y="552"/>
                      </a:lnTo>
                      <a:lnTo>
                        <a:pt x="42" y="552"/>
                      </a:lnTo>
                      <a:lnTo>
                        <a:pt x="36" y="558"/>
                      </a:lnTo>
                      <a:lnTo>
                        <a:pt x="36" y="540"/>
                      </a:lnTo>
                      <a:lnTo>
                        <a:pt x="36" y="498"/>
                      </a:lnTo>
                      <a:lnTo>
                        <a:pt x="36" y="450"/>
                      </a:lnTo>
                      <a:lnTo>
                        <a:pt x="36" y="402"/>
                      </a:lnTo>
                      <a:lnTo>
                        <a:pt x="30" y="354"/>
                      </a:lnTo>
                      <a:lnTo>
                        <a:pt x="18" y="294"/>
                      </a:lnTo>
                      <a:lnTo>
                        <a:pt x="6" y="204"/>
                      </a:lnTo>
                      <a:lnTo>
                        <a:pt x="0" y="102"/>
                      </a:lnTo>
                      <a:lnTo>
                        <a:pt x="0" y="54"/>
                      </a:lnTo>
                      <a:lnTo>
                        <a:pt x="12" y="24"/>
                      </a:lnTo>
                      <a:lnTo>
                        <a:pt x="36" y="6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4" name="Freeform 255">
                  <a:extLst>
                    <a:ext uri="{FF2B5EF4-FFF2-40B4-BE49-F238E27FC236}">
                      <a16:creationId xmlns:a16="http://schemas.microsoft.com/office/drawing/2014/main" id="{3C69135E-271D-4AAB-B6A1-06B8717166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7555" y="5742"/>
                  <a:ext cx="1068" cy="4968"/>
                </a:xfrm>
                <a:custGeom>
                  <a:avLst/>
                  <a:gdLst>
                    <a:gd name="T0" fmla="*/ 234 w 1068"/>
                    <a:gd name="T1" fmla="*/ 210 h 4968"/>
                    <a:gd name="T2" fmla="*/ 486 w 1068"/>
                    <a:gd name="T3" fmla="*/ 726 h 4968"/>
                    <a:gd name="T4" fmla="*/ 276 w 1068"/>
                    <a:gd name="T5" fmla="*/ 1638 h 4968"/>
                    <a:gd name="T6" fmla="*/ 360 w 1068"/>
                    <a:gd name="T7" fmla="*/ 2436 h 4968"/>
                    <a:gd name="T8" fmla="*/ 408 w 1068"/>
                    <a:gd name="T9" fmla="*/ 3066 h 4968"/>
                    <a:gd name="T10" fmla="*/ 660 w 1068"/>
                    <a:gd name="T11" fmla="*/ 3816 h 4968"/>
                    <a:gd name="T12" fmla="*/ 744 w 1068"/>
                    <a:gd name="T13" fmla="*/ 4506 h 4968"/>
                    <a:gd name="T14" fmla="*/ 1020 w 1068"/>
                    <a:gd name="T15" fmla="*/ 4704 h 4968"/>
                    <a:gd name="T16" fmla="*/ 960 w 1068"/>
                    <a:gd name="T17" fmla="*/ 4782 h 4968"/>
                    <a:gd name="T18" fmla="*/ 942 w 1068"/>
                    <a:gd name="T19" fmla="*/ 4968 h 4968"/>
                    <a:gd name="T20" fmla="*/ 876 w 1068"/>
                    <a:gd name="T21" fmla="*/ 4902 h 4968"/>
                    <a:gd name="T22" fmla="*/ 918 w 1068"/>
                    <a:gd name="T23" fmla="*/ 4842 h 4968"/>
                    <a:gd name="T24" fmla="*/ 834 w 1068"/>
                    <a:gd name="T25" fmla="*/ 4782 h 4968"/>
                    <a:gd name="T26" fmla="*/ 768 w 1068"/>
                    <a:gd name="T27" fmla="*/ 4848 h 4968"/>
                    <a:gd name="T28" fmla="*/ 762 w 1068"/>
                    <a:gd name="T29" fmla="*/ 4740 h 4968"/>
                    <a:gd name="T30" fmla="*/ 672 w 1068"/>
                    <a:gd name="T31" fmla="*/ 4710 h 4968"/>
                    <a:gd name="T32" fmla="*/ 654 w 1068"/>
                    <a:gd name="T33" fmla="*/ 4638 h 4968"/>
                    <a:gd name="T34" fmla="*/ 600 w 1068"/>
                    <a:gd name="T35" fmla="*/ 4596 h 4968"/>
                    <a:gd name="T36" fmla="*/ 528 w 1068"/>
                    <a:gd name="T37" fmla="*/ 4590 h 4968"/>
                    <a:gd name="T38" fmla="*/ 408 w 1068"/>
                    <a:gd name="T39" fmla="*/ 4506 h 4968"/>
                    <a:gd name="T40" fmla="*/ 366 w 1068"/>
                    <a:gd name="T41" fmla="*/ 4344 h 4968"/>
                    <a:gd name="T42" fmla="*/ 432 w 1068"/>
                    <a:gd name="T43" fmla="*/ 4368 h 4968"/>
                    <a:gd name="T44" fmla="*/ 522 w 1068"/>
                    <a:gd name="T45" fmla="*/ 4494 h 4968"/>
                    <a:gd name="T46" fmla="*/ 492 w 1068"/>
                    <a:gd name="T47" fmla="*/ 4380 h 4968"/>
                    <a:gd name="T48" fmla="*/ 480 w 1068"/>
                    <a:gd name="T49" fmla="*/ 4314 h 4968"/>
                    <a:gd name="T50" fmla="*/ 444 w 1068"/>
                    <a:gd name="T51" fmla="*/ 4260 h 4968"/>
                    <a:gd name="T52" fmla="*/ 402 w 1068"/>
                    <a:gd name="T53" fmla="*/ 4182 h 4968"/>
                    <a:gd name="T54" fmla="*/ 360 w 1068"/>
                    <a:gd name="T55" fmla="*/ 4110 h 4968"/>
                    <a:gd name="T56" fmla="*/ 450 w 1068"/>
                    <a:gd name="T57" fmla="*/ 4068 h 4968"/>
                    <a:gd name="T58" fmla="*/ 354 w 1068"/>
                    <a:gd name="T59" fmla="*/ 4056 h 4968"/>
                    <a:gd name="T60" fmla="*/ 372 w 1068"/>
                    <a:gd name="T61" fmla="*/ 3984 h 4968"/>
                    <a:gd name="T62" fmla="*/ 354 w 1068"/>
                    <a:gd name="T63" fmla="*/ 3918 h 4968"/>
                    <a:gd name="T64" fmla="*/ 252 w 1068"/>
                    <a:gd name="T65" fmla="*/ 3906 h 4968"/>
                    <a:gd name="T66" fmla="*/ 210 w 1068"/>
                    <a:gd name="T67" fmla="*/ 3852 h 4968"/>
                    <a:gd name="T68" fmla="*/ 216 w 1068"/>
                    <a:gd name="T69" fmla="*/ 3780 h 4968"/>
                    <a:gd name="T70" fmla="*/ 306 w 1068"/>
                    <a:gd name="T71" fmla="*/ 3744 h 4968"/>
                    <a:gd name="T72" fmla="*/ 330 w 1068"/>
                    <a:gd name="T73" fmla="*/ 3774 h 4968"/>
                    <a:gd name="T74" fmla="*/ 366 w 1068"/>
                    <a:gd name="T75" fmla="*/ 3828 h 4968"/>
                    <a:gd name="T76" fmla="*/ 384 w 1068"/>
                    <a:gd name="T77" fmla="*/ 3732 h 4968"/>
                    <a:gd name="T78" fmla="*/ 438 w 1068"/>
                    <a:gd name="T79" fmla="*/ 3570 h 4968"/>
                    <a:gd name="T80" fmla="*/ 360 w 1068"/>
                    <a:gd name="T81" fmla="*/ 3480 h 4968"/>
                    <a:gd name="T82" fmla="*/ 372 w 1068"/>
                    <a:gd name="T83" fmla="*/ 3384 h 4968"/>
                    <a:gd name="T84" fmla="*/ 324 w 1068"/>
                    <a:gd name="T85" fmla="*/ 3294 h 4968"/>
                    <a:gd name="T86" fmla="*/ 324 w 1068"/>
                    <a:gd name="T87" fmla="*/ 3168 h 4968"/>
                    <a:gd name="T88" fmla="*/ 324 w 1068"/>
                    <a:gd name="T89" fmla="*/ 3072 h 4968"/>
                    <a:gd name="T90" fmla="*/ 276 w 1068"/>
                    <a:gd name="T91" fmla="*/ 3096 h 4968"/>
                    <a:gd name="T92" fmla="*/ 228 w 1068"/>
                    <a:gd name="T93" fmla="*/ 3156 h 4968"/>
                    <a:gd name="T94" fmla="*/ 192 w 1068"/>
                    <a:gd name="T95" fmla="*/ 3048 h 4968"/>
                    <a:gd name="T96" fmla="*/ 180 w 1068"/>
                    <a:gd name="T97" fmla="*/ 2808 h 4968"/>
                    <a:gd name="T98" fmla="*/ 84 w 1068"/>
                    <a:gd name="T99" fmla="*/ 2544 h 4968"/>
                    <a:gd name="T100" fmla="*/ 156 w 1068"/>
                    <a:gd name="T101" fmla="*/ 2526 h 4968"/>
                    <a:gd name="T102" fmla="*/ 150 w 1068"/>
                    <a:gd name="T103" fmla="*/ 2406 h 4968"/>
                    <a:gd name="T104" fmla="*/ 192 w 1068"/>
                    <a:gd name="T105" fmla="*/ 2028 h 4968"/>
                    <a:gd name="T106" fmla="*/ 132 w 1068"/>
                    <a:gd name="T107" fmla="*/ 1560 h 4968"/>
                    <a:gd name="T108" fmla="*/ 126 w 1068"/>
                    <a:gd name="T109" fmla="*/ 1224 h 4968"/>
                    <a:gd name="T110" fmla="*/ 90 w 1068"/>
                    <a:gd name="T111" fmla="*/ 936 h 4968"/>
                    <a:gd name="T112" fmla="*/ 96 w 1068"/>
                    <a:gd name="T113" fmla="*/ 522 h 4968"/>
                    <a:gd name="T114" fmla="*/ 18 w 1068"/>
                    <a:gd name="T115" fmla="*/ 120 h 49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068" h="4968">
                      <a:moveTo>
                        <a:pt x="1062" y="4662"/>
                      </a:moveTo>
                      <a:lnTo>
                        <a:pt x="1068" y="4662"/>
                      </a:lnTo>
                      <a:lnTo>
                        <a:pt x="1062" y="4662"/>
                      </a:lnTo>
                      <a:lnTo>
                        <a:pt x="1062" y="4662"/>
                      </a:lnTo>
                      <a:close/>
                      <a:moveTo>
                        <a:pt x="108" y="0"/>
                      </a:moveTo>
                      <a:lnTo>
                        <a:pt x="150" y="24"/>
                      </a:lnTo>
                      <a:lnTo>
                        <a:pt x="168" y="78"/>
                      </a:lnTo>
                      <a:lnTo>
                        <a:pt x="168" y="132"/>
                      </a:lnTo>
                      <a:lnTo>
                        <a:pt x="222" y="162"/>
                      </a:lnTo>
                      <a:lnTo>
                        <a:pt x="234" y="210"/>
                      </a:lnTo>
                      <a:lnTo>
                        <a:pt x="210" y="282"/>
                      </a:lnTo>
                      <a:lnTo>
                        <a:pt x="228" y="330"/>
                      </a:lnTo>
                      <a:lnTo>
                        <a:pt x="270" y="378"/>
                      </a:lnTo>
                      <a:lnTo>
                        <a:pt x="276" y="450"/>
                      </a:lnTo>
                      <a:lnTo>
                        <a:pt x="318" y="492"/>
                      </a:lnTo>
                      <a:lnTo>
                        <a:pt x="336" y="558"/>
                      </a:lnTo>
                      <a:lnTo>
                        <a:pt x="354" y="630"/>
                      </a:lnTo>
                      <a:lnTo>
                        <a:pt x="426" y="636"/>
                      </a:lnTo>
                      <a:lnTo>
                        <a:pt x="468" y="660"/>
                      </a:lnTo>
                      <a:lnTo>
                        <a:pt x="486" y="726"/>
                      </a:lnTo>
                      <a:lnTo>
                        <a:pt x="444" y="792"/>
                      </a:lnTo>
                      <a:lnTo>
                        <a:pt x="378" y="852"/>
                      </a:lnTo>
                      <a:lnTo>
                        <a:pt x="342" y="894"/>
                      </a:lnTo>
                      <a:lnTo>
                        <a:pt x="342" y="954"/>
                      </a:lnTo>
                      <a:lnTo>
                        <a:pt x="372" y="1026"/>
                      </a:lnTo>
                      <a:lnTo>
                        <a:pt x="402" y="1110"/>
                      </a:lnTo>
                      <a:lnTo>
                        <a:pt x="354" y="1236"/>
                      </a:lnTo>
                      <a:lnTo>
                        <a:pt x="312" y="1368"/>
                      </a:lnTo>
                      <a:lnTo>
                        <a:pt x="288" y="1482"/>
                      </a:lnTo>
                      <a:lnTo>
                        <a:pt x="276" y="1638"/>
                      </a:lnTo>
                      <a:lnTo>
                        <a:pt x="288" y="1770"/>
                      </a:lnTo>
                      <a:lnTo>
                        <a:pt x="330" y="1830"/>
                      </a:lnTo>
                      <a:lnTo>
                        <a:pt x="348" y="1932"/>
                      </a:lnTo>
                      <a:lnTo>
                        <a:pt x="396" y="2004"/>
                      </a:lnTo>
                      <a:lnTo>
                        <a:pt x="384" y="2064"/>
                      </a:lnTo>
                      <a:lnTo>
                        <a:pt x="420" y="2148"/>
                      </a:lnTo>
                      <a:lnTo>
                        <a:pt x="396" y="2244"/>
                      </a:lnTo>
                      <a:lnTo>
                        <a:pt x="384" y="2310"/>
                      </a:lnTo>
                      <a:lnTo>
                        <a:pt x="390" y="2382"/>
                      </a:lnTo>
                      <a:lnTo>
                        <a:pt x="360" y="2436"/>
                      </a:lnTo>
                      <a:lnTo>
                        <a:pt x="348" y="2502"/>
                      </a:lnTo>
                      <a:lnTo>
                        <a:pt x="372" y="2574"/>
                      </a:lnTo>
                      <a:lnTo>
                        <a:pt x="420" y="2622"/>
                      </a:lnTo>
                      <a:lnTo>
                        <a:pt x="444" y="2670"/>
                      </a:lnTo>
                      <a:lnTo>
                        <a:pt x="408" y="2724"/>
                      </a:lnTo>
                      <a:lnTo>
                        <a:pt x="372" y="2760"/>
                      </a:lnTo>
                      <a:lnTo>
                        <a:pt x="390" y="2832"/>
                      </a:lnTo>
                      <a:lnTo>
                        <a:pt x="414" y="2880"/>
                      </a:lnTo>
                      <a:lnTo>
                        <a:pt x="408" y="2988"/>
                      </a:lnTo>
                      <a:lnTo>
                        <a:pt x="408" y="3066"/>
                      </a:lnTo>
                      <a:lnTo>
                        <a:pt x="450" y="3114"/>
                      </a:lnTo>
                      <a:lnTo>
                        <a:pt x="450" y="3252"/>
                      </a:lnTo>
                      <a:lnTo>
                        <a:pt x="480" y="3324"/>
                      </a:lnTo>
                      <a:lnTo>
                        <a:pt x="522" y="3390"/>
                      </a:lnTo>
                      <a:lnTo>
                        <a:pt x="528" y="3564"/>
                      </a:lnTo>
                      <a:lnTo>
                        <a:pt x="612" y="3594"/>
                      </a:lnTo>
                      <a:lnTo>
                        <a:pt x="588" y="3630"/>
                      </a:lnTo>
                      <a:lnTo>
                        <a:pt x="594" y="3684"/>
                      </a:lnTo>
                      <a:lnTo>
                        <a:pt x="618" y="3756"/>
                      </a:lnTo>
                      <a:lnTo>
                        <a:pt x="660" y="3816"/>
                      </a:lnTo>
                      <a:lnTo>
                        <a:pt x="630" y="3876"/>
                      </a:lnTo>
                      <a:lnTo>
                        <a:pt x="618" y="3978"/>
                      </a:lnTo>
                      <a:lnTo>
                        <a:pt x="636" y="4056"/>
                      </a:lnTo>
                      <a:lnTo>
                        <a:pt x="618" y="4158"/>
                      </a:lnTo>
                      <a:lnTo>
                        <a:pt x="630" y="4242"/>
                      </a:lnTo>
                      <a:lnTo>
                        <a:pt x="630" y="4296"/>
                      </a:lnTo>
                      <a:lnTo>
                        <a:pt x="678" y="4344"/>
                      </a:lnTo>
                      <a:lnTo>
                        <a:pt x="684" y="4392"/>
                      </a:lnTo>
                      <a:lnTo>
                        <a:pt x="678" y="4464"/>
                      </a:lnTo>
                      <a:lnTo>
                        <a:pt x="744" y="4506"/>
                      </a:lnTo>
                      <a:lnTo>
                        <a:pt x="762" y="4554"/>
                      </a:lnTo>
                      <a:lnTo>
                        <a:pt x="804" y="4632"/>
                      </a:lnTo>
                      <a:lnTo>
                        <a:pt x="888" y="4638"/>
                      </a:lnTo>
                      <a:lnTo>
                        <a:pt x="990" y="4638"/>
                      </a:lnTo>
                      <a:lnTo>
                        <a:pt x="1062" y="4662"/>
                      </a:lnTo>
                      <a:lnTo>
                        <a:pt x="1056" y="4668"/>
                      </a:lnTo>
                      <a:lnTo>
                        <a:pt x="1044" y="4680"/>
                      </a:lnTo>
                      <a:lnTo>
                        <a:pt x="1038" y="4686"/>
                      </a:lnTo>
                      <a:lnTo>
                        <a:pt x="1032" y="4698"/>
                      </a:lnTo>
                      <a:lnTo>
                        <a:pt x="1020" y="4704"/>
                      </a:lnTo>
                      <a:lnTo>
                        <a:pt x="1008" y="4704"/>
                      </a:lnTo>
                      <a:lnTo>
                        <a:pt x="996" y="4704"/>
                      </a:lnTo>
                      <a:lnTo>
                        <a:pt x="990" y="4710"/>
                      </a:lnTo>
                      <a:lnTo>
                        <a:pt x="984" y="4722"/>
                      </a:lnTo>
                      <a:lnTo>
                        <a:pt x="984" y="4728"/>
                      </a:lnTo>
                      <a:lnTo>
                        <a:pt x="984" y="4740"/>
                      </a:lnTo>
                      <a:lnTo>
                        <a:pt x="978" y="4752"/>
                      </a:lnTo>
                      <a:lnTo>
                        <a:pt x="972" y="4758"/>
                      </a:lnTo>
                      <a:lnTo>
                        <a:pt x="966" y="4770"/>
                      </a:lnTo>
                      <a:lnTo>
                        <a:pt x="960" y="4782"/>
                      </a:lnTo>
                      <a:lnTo>
                        <a:pt x="960" y="4788"/>
                      </a:lnTo>
                      <a:lnTo>
                        <a:pt x="966" y="4800"/>
                      </a:lnTo>
                      <a:lnTo>
                        <a:pt x="972" y="4812"/>
                      </a:lnTo>
                      <a:lnTo>
                        <a:pt x="972" y="4836"/>
                      </a:lnTo>
                      <a:lnTo>
                        <a:pt x="972" y="4872"/>
                      </a:lnTo>
                      <a:lnTo>
                        <a:pt x="972" y="4926"/>
                      </a:lnTo>
                      <a:lnTo>
                        <a:pt x="966" y="4944"/>
                      </a:lnTo>
                      <a:lnTo>
                        <a:pt x="960" y="4956"/>
                      </a:lnTo>
                      <a:lnTo>
                        <a:pt x="954" y="4962"/>
                      </a:lnTo>
                      <a:lnTo>
                        <a:pt x="942" y="4968"/>
                      </a:lnTo>
                      <a:lnTo>
                        <a:pt x="930" y="4962"/>
                      </a:lnTo>
                      <a:lnTo>
                        <a:pt x="912" y="4962"/>
                      </a:lnTo>
                      <a:lnTo>
                        <a:pt x="900" y="4950"/>
                      </a:lnTo>
                      <a:lnTo>
                        <a:pt x="882" y="4944"/>
                      </a:lnTo>
                      <a:lnTo>
                        <a:pt x="864" y="4932"/>
                      </a:lnTo>
                      <a:lnTo>
                        <a:pt x="858" y="4926"/>
                      </a:lnTo>
                      <a:lnTo>
                        <a:pt x="852" y="4920"/>
                      </a:lnTo>
                      <a:lnTo>
                        <a:pt x="858" y="4914"/>
                      </a:lnTo>
                      <a:lnTo>
                        <a:pt x="864" y="4908"/>
                      </a:lnTo>
                      <a:lnTo>
                        <a:pt x="876" y="4902"/>
                      </a:lnTo>
                      <a:lnTo>
                        <a:pt x="882" y="4902"/>
                      </a:lnTo>
                      <a:lnTo>
                        <a:pt x="894" y="4902"/>
                      </a:lnTo>
                      <a:lnTo>
                        <a:pt x="900" y="4896"/>
                      </a:lnTo>
                      <a:lnTo>
                        <a:pt x="900" y="4896"/>
                      </a:lnTo>
                      <a:lnTo>
                        <a:pt x="900" y="4890"/>
                      </a:lnTo>
                      <a:lnTo>
                        <a:pt x="900" y="4884"/>
                      </a:lnTo>
                      <a:lnTo>
                        <a:pt x="894" y="4872"/>
                      </a:lnTo>
                      <a:lnTo>
                        <a:pt x="900" y="4866"/>
                      </a:lnTo>
                      <a:lnTo>
                        <a:pt x="906" y="4860"/>
                      </a:lnTo>
                      <a:lnTo>
                        <a:pt x="918" y="4842"/>
                      </a:lnTo>
                      <a:lnTo>
                        <a:pt x="918" y="4830"/>
                      </a:lnTo>
                      <a:lnTo>
                        <a:pt x="918" y="4818"/>
                      </a:lnTo>
                      <a:lnTo>
                        <a:pt x="912" y="4806"/>
                      </a:lnTo>
                      <a:lnTo>
                        <a:pt x="900" y="4794"/>
                      </a:lnTo>
                      <a:lnTo>
                        <a:pt x="888" y="4782"/>
                      </a:lnTo>
                      <a:lnTo>
                        <a:pt x="876" y="4770"/>
                      </a:lnTo>
                      <a:lnTo>
                        <a:pt x="864" y="4770"/>
                      </a:lnTo>
                      <a:lnTo>
                        <a:pt x="858" y="4770"/>
                      </a:lnTo>
                      <a:lnTo>
                        <a:pt x="846" y="4776"/>
                      </a:lnTo>
                      <a:lnTo>
                        <a:pt x="834" y="4782"/>
                      </a:lnTo>
                      <a:lnTo>
                        <a:pt x="828" y="4788"/>
                      </a:lnTo>
                      <a:lnTo>
                        <a:pt x="816" y="4794"/>
                      </a:lnTo>
                      <a:lnTo>
                        <a:pt x="810" y="4800"/>
                      </a:lnTo>
                      <a:lnTo>
                        <a:pt x="810" y="4812"/>
                      </a:lnTo>
                      <a:lnTo>
                        <a:pt x="810" y="4824"/>
                      </a:lnTo>
                      <a:lnTo>
                        <a:pt x="810" y="4842"/>
                      </a:lnTo>
                      <a:lnTo>
                        <a:pt x="804" y="4854"/>
                      </a:lnTo>
                      <a:lnTo>
                        <a:pt x="798" y="4860"/>
                      </a:lnTo>
                      <a:lnTo>
                        <a:pt x="786" y="4860"/>
                      </a:lnTo>
                      <a:lnTo>
                        <a:pt x="768" y="4848"/>
                      </a:lnTo>
                      <a:lnTo>
                        <a:pt x="756" y="4830"/>
                      </a:lnTo>
                      <a:lnTo>
                        <a:pt x="744" y="4818"/>
                      </a:lnTo>
                      <a:lnTo>
                        <a:pt x="738" y="4806"/>
                      </a:lnTo>
                      <a:lnTo>
                        <a:pt x="738" y="4800"/>
                      </a:lnTo>
                      <a:lnTo>
                        <a:pt x="738" y="4788"/>
                      </a:lnTo>
                      <a:lnTo>
                        <a:pt x="744" y="4782"/>
                      </a:lnTo>
                      <a:lnTo>
                        <a:pt x="750" y="4770"/>
                      </a:lnTo>
                      <a:lnTo>
                        <a:pt x="756" y="4764"/>
                      </a:lnTo>
                      <a:lnTo>
                        <a:pt x="762" y="4752"/>
                      </a:lnTo>
                      <a:lnTo>
                        <a:pt x="762" y="4740"/>
                      </a:lnTo>
                      <a:lnTo>
                        <a:pt x="762" y="4728"/>
                      </a:lnTo>
                      <a:lnTo>
                        <a:pt x="762" y="4722"/>
                      </a:lnTo>
                      <a:lnTo>
                        <a:pt x="756" y="4722"/>
                      </a:lnTo>
                      <a:lnTo>
                        <a:pt x="750" y="4722"/>
                      </a:lnTo>
                      <a:lnTo>
                        <a:pt x="732" y="4728"/>
                      </a:lnTo>
                      <a:lnTo>
                        <a:pt x="720" y="4728"/>
                      </a:lnTo>
                      <a:lnTo>
                        <a:pt x="708" y="4728"/>
                      </a:lnTo>
                      <a:lnTo>
                        <a:pt x="696" y="4722"/>
                      </a:lnTo>
                      <a:lnTo>
                        <a:pt x="684" y="4722"/>
                      </a:lnTo>
                      <a:lnTo>
                        <a:pt x="672" y="4710"/>
                      </a:lnTo>
                      <a:lnTo>
                        <a:pt x="672" y="4698"/>
                      </a:lnTo>
                      <a:lnTo>
                        <a:pt x="678" y="4686"/>
                      </a:lnTo>
                      <a:lnTo>
                        <a:pt x="684" y="4680"/>
                      </a:lnTo>
                      <a:lnTo>
                        <a:pt x="678" y="4674"/>
                      </a:lnTo>
                      <a:lnTo>
                        <a:pt x="672" y="4668"/>
                      </a:lnTo>
                      <a:lnTo>
                        <a:pt x="666" y="4662"/>
                      </a:lnTo>
                      <a:lnTo>
                        <a:pt x="660" y="4662"/>
                      </a:lnTo>
                      <a:lnTo>
                        <a:pt x="654" y="4656"/>
                      </a:lnTo>
                      <a:lnTo>
                        <a:pt x="654" y="4644"/>
                      </a:lnTo>
                      <a:lnTo>
                        <a:pt x="654" y="4638"/>
                      </a:lnTo>
                      <a:lnTo>
                        <a:pt x="654" y="4626"/>
                      </a:lnTo>
                      <a:lnTo>
                        <a:pt x="660" y="4620"/>
                      </a:lnTo>
                      <a:lnTo>
                        <a:pt x="660" y="4614"/>
                      </a:lnTo>
                      <a:lnTo>
                        <a:pt x="660" y="4608"/>
                      </a:lnTo>
                      <a:lnTo>
                        <a:pt x="654" y="4608"/>
                      </a:lnTo>
                      <a:lnTo>
                        <a:pt x="642" y="4614"/>
                      </a:lnTo>
                      <a:lnTo>
                        <a:pt x="630" y="4614"/>
                      </a:lnTo>
                      <a:lnTo>
                        <a:pt x="618" y="4608"/>
                      </a:lnTo>
                      <a:lnTo>
                        <a:pt x="606" y="4602"/>
                      </a:lnTo>
                      <a:lnTo>
                        <a:pt x="600" y="4596"/>
                      </a:lnTo>
                      <a:lnTo>
                        <a:pt x="594" y="4590"/>
                      </a:lnTo>
                      <a:lnTo>
                        <a:pt x="588" y="4584"/>
                      </a:lnTo>
                      <a:lnTo>
                        <a:pt x="576" y="4584"/>
                      </a:lnTo>
                      <a:lnTo>
                        <a:pt x="570" y="4584"/>
                      </a:lnTo>
                      <a:lnTo>
                        <a:pt x="558" y="4590"/>
                      </a:lnTo>
                      <a:lnTo>
                        <a:pt x="552" y="4596"/>
                      </a:lnTo>
                      <a:lnTo>
                        <a:pt x="540" y="4602"/>
                      </a:lnTo>
                      <a:lnTo>
                        <a:pt x="540" y="4602"/>
                      </a:lnTo>
                      <a:lnTo>
                        <a:pt x="534" y="4596"/>
                      </a:lnTo>
                      <a:lnTo>
                        <a:pt x="528" y="4590"/>
                      </a:lnTo>
                      <a:lnTo>
                        <a:pt x="528" y="4578"/>
                      </a:lnTo>
                      <a:lnTo>
                        <a:pt x="528" y="4572"/>
                      </a:lnTo>
                      <a:lnTo>
                        <a:pt x="522" y="4566"/>
                      </a:lnTo>
                      <a:lnTo>
                        <a:pt x="504" y="4560"/>
                      </a:lnTo>
                      <a:lnTo>
                        <a:pt x="486" y="4554"/>
                      </a:lnTo>
                      <a:lnTo>
                        <a:pt x="468" y="4548"/>
                      </a:lnTo>
                      <a:lnTo>
                        <a:pt x="450" y="4542"/>
                      </a:lnTo>
                      <a:lnTo>
                        <a:pt x="438" y="4530"/>
                      </a:lnTo>
                      <a:lnTo>
                        <a:pt x="420" y="4518"/>
                      </a:lnTo>
                      <a:lnTo>
                        <a:pt x="408" y="4506"/>
                      </a:lnTo>
                      <a:lnTo>
                        <a:pt x="396" y="4488"/>
                      </a:lnTo>
                      <a:lnTo>
                        <a:pt x="396" y="4476"/>
                      </a:lnTo>
                      <a:lnTo>
                        <a:pt x="396" y="4458"/>
                      </a:lnTo>
                      <a:lnTo>
                        <a:pt x="390" y="4446"/>
                      </a:lnTo>
                      <a:lnTo>
                        <a:pt x="384" y="4428"/>
                      </a:lnTo>
                      <a:lnTo>
                        <a:pt x="372" y="4410"/>
                      </a:lnTo>
                      <a:lnTo>
                        <a:pt x="366" y="4398"/>
                      </a:lnTo>
                      <a:lnTo>
                        <a:pt x="360" y="4386"/>
                      </a:lnTo>
                      <a:lnTo>
                        <a:pt x="366" y="4362"/>
                      </a:lnTo>
                      <a:lnTo>
                        <a:pt x="366" y="4344"/>
                      </a:lnTo>
                      <a:lnTo>
                        <a:pt x="366" y="4326"/>
                      </a:lnTo>
                      <a:lnTo>
                        <a:pt x="366" y="4314"/>
                      </a:lnTo>
                      <a:lnTo>
                        <a:pt x="372" y="4308"/>
                      </a:lnTo>
                      <a:lnTo>
                        <a:pt x="378" y="4302"/>
                      </a:lnTo>
                      <a:lnTo>
                        <a:pt x="390" y="4302"/>
                      </a:lnTo>
                      <a:lnTo>
                        <a:pt x="396" y="4308"/>
                      </a:lnTo>
                      <a:lnTo>
                        <a:pt x="408" y="4314"/>
                      </a:lnTo>
                      <a:lnTo>
                        <a:pt x="414" y="4326"/>
                      </a:lnTo>
                      <a:lnTo>
                        <a:pt x="420" y="4344"/>
                      </a:lnTo>
                      <a:lnTo>
                        <a:pt x="432" y="4368"/>
                      </a:lnTo>
                      <a:lnTo>
                        <a:pt x="438" y="4392"/>
                      </a:lnTo>
                      <a:lnTo>
                        <a:pt x="444" y="4416"/>
                      </a:lnTo>
                      <a:lnTo>
                        <a:pt x="444" y="4440"/>
                      </a:lnTo>
                      <a:lnTo>
                        <a:pt x="456" y="4458"/>
                      </a:lnTo>
                      <a:lnTo>
                        <a:pt x="468" y="4476"/>
                      </a:lnTo>
                      <a:lnTo>
                        <a:pt x="486" y="4500"/>
                      </a:lnTo>
                      <a:lnTo>
                        <a:pt x="498" y="4506"/>
                      </a:lnTo>
                      <a:lnTo>
                        <a:pt x="510" y="4506"/>
                      </a:lnTo>
                      <a:lnTo>
                        <a:pt x="516" y="4500"/>
                      </a:lnTo>
                      <a:lnTo>
                        <a:pt x="522" y="4494"/>
                      </a:lnTo>
                      <a:lnTo>
                        <a:pt x="528" y="4482"/>
                      </a:lnTo>
                      <a:lnTo>
                        <a:pt x="522" y="4470"/>
                      </a:lnTo>
                      <a:lnTo>
                        <a:pt x="516" y="4458"/>
                      </a:lnTo>
                      <a:lnTo>
                        <a:pt x="504" y="4446"/>
                      </a:lnTo>
                      <a:lnTo>
                        <a:pt x="498" y="4428"/>
                      </a:lnTo>
                      <a:lnTo>
                        <a:pt x="498" y="4410"/>
                      </a:lnTo>
                      <a:lnTo>
                        <a:pt x="498" y="4398"/>
                      </a:lnTo>
                      <a:lnTo>
                        <a:pt x="498" y="4386"/>
                      </a:lnTo>
                      <a:lnTo>
                        <a:pt x="492" y="4380"/>
                      </a:lnTo>
                      <a:lnTo>
                        <a:pt x="492" y="4380"/>
                      </a:lnTo>
                      <a:lnTo>
                        <a:pt x="492" y="4368"/>
                      </a:lnTo>
                      <a:lnTo>
                        <a:pt x="492" y="4362"/>
                      </a:lnTo>
                      <a:lnTo>
                        <a:pt x="492" y="4350"/>
                      </a:lnTo>
                      <a:lnTo>
                        <a:pt x="492" y="4344"/>
                      </a:lnTo>
                      <a:lnTo>
                        <a:pt x="492" y="4338"/>
                      </a:lnTo>
                      <a:lnTo>
                        <a:pt x="486" y="4332"/>
                      </a:lnTo>
                      <a:lnTo>
                        <a:pt x="480" y="4332"/>
                      </a:lnTo>
                      <a:lnTo>
                        <a:pt x="480" y="4326"/>
                      </a:lnTo>
                      <a:lnTo>
                        <a:pt x="480" y="4320"/>
                      </a:lnTo>
                      <a:lnTo>
                        <a:pt x="480" y="4314"/>
                      </a:lnTo>
                      <a:lnTo>
                        <a:pt x="480" y="4308"/>
                      </a:lnTo>
                      <a:lnTo>
                        <a:pt x="486" y="4302"/>
                      </a:lnTo>
                      <a:lnTo>
                        <a:pt x="480" y="4296"/>
                      </a:lnTo>
                      <a:lnTo>
                        <a:pt x="480" y="4296"/>
                      </a:lnTo>
                      <a:lnTo>
                        <a:pt x="468" y="4296"/>
                      </a:lnTo>
                      <a:lnTo>
                        <a:pt x="462" y="4296"/>
                      </a:lnTo>
                      <a:lnTo>
                        <a:pt x="456" y="4296"/>
                      </a:lnTo>
                      <a:lnTo>
                        <a:pt x="450" y="4284"/>
                      </a:lnTo>
                      <a:lnTo>
                        <a:pt x="444" y="4272"/>
                      </a:lnTo>
                      <a:lnTo>
                        <a:pt x="444" y="4260"/>
                      </a:lnTo>
                      <a:lnTo>
                        <a:pt x="432" y="4248"/>
                      </a:lnTo>
                      <a:lnTo>
                        <a:pt x="426" y="4242"/>
                      </a:lnTo>
                      <a:lnTo>
                        <a:pt x="408" y="4236"/>
                      </a:lnTo>
                      <a:lnTo>
                        <a:pt x="396" y="4230"/>
                      </a:lnTo>
                      <a:lnTo>
                        <a:pt x="384" y="4224"/>
                      </a:lnTo>
                      <a:lnTo>
                        <a:pt x="384" y="4218"/>
                      </a:lnTo>
                      <a:lnTo>
                        <a:pt x="384" y="4212"/>
                      </a:lnTo>
                      <a:lnTo>
                        <a:pt x="390" y="4200"/>
                      </a:lnTo>
                      <a:lnTo>
                        <a:pt x="396" y="4194"/>
                      </a:lnTo>
                      <a:lnTo>
                        <a:pt x="402" y="4182"/>
                      </a:lnTo>
                      <a:lnTo>
                        <a:pt x="402" y="4170"/>
                      </a:lnTo>
                      <a:lnTo>
                        <a:pt x="396" y="4158"/>
                      </a:lnTo>
                      <a:lnTo>
                        <a:pt x="384" y="4152"/>
                      </a:lnTo>
                      <a:lnTo>
                        <a:pt x="372" y="4140"/>
                      </a:lnTo>
                      <a:lnTo>
                        <a:pt x="360" y="4134"/>
                      </a:lnTo>
                      <a:lnTo>
                        <a:pt x="348" y="4122"/>
                      </a:lnTo>
                      <a:lnTo>
                        <a:pt x="342" y="4116"/>
                      </a:lnTo>
                      <a:lnTo>
                        <a:pt x="342" y="4110"/>
                      </a:lnTo>
                      <a:lnTo>
                        <a:pt x="348" y="4110"/>
                      </a:lnTo>
                      <a:lnTo>
                        <a:pt x="360" y="4110"/>
                      </a:lnTo>
                      <a:lnTo>
                        <a:pt x="378" y="4110"/>
                      </a:lnTo>
                      <a:lnTo>
                        <a:pt x="390" y="4110"/>
                      </a:lnTo>
                      <a:lnTo>
                        <a:pt x="408" y="4110"/>
                      </a:lnTo>
                      <a:lnTo>
                        <a:pt x="420" y="4116"/>
                      </a:lnTo>
                      <a:lnTo>
                        <a:pt x="426" y="4116"/>
                      </a:lnTo>
                      <a:lnTo>
                        <a:pt x="438" y="4110"/>
                      </a:lnTo>
                      <a:lnTo>
                        <a:pt x="450" y="4104"/>
                      </a:lnTo>
                      <a:lnTo>
                        <a:pt x="450" y="4092"/>
                      </a:lnTo>
                      <a:lnTo>
                        <a:pt x="456" y="4080"/>
                      </a:lnTo>
                      <a:lnTo>
                        <a:pt x="450" y="4068"/>
                      </a:lnTo>
                      <a:lnTo>
                        <a:pt x="450" y="4062"/>
                      </a:lnTo>
                      <a:lnTo>
                        <a:pt x="444" y="4056"/>
                      </a:lnTo>
                      <a:lnTo>
                        <a:pt x="438" y="4050"/>
                      </a:lnTo>
                      <a:lnTo>
                        <a:pt x="432" y="4050"/>
                      </a:lnTo>
                      <a:lnTo>
                        <a:pt x="420" y="4056"/>
                      </a:lnTo>
                      <a:lnTo>
                        <a:pt x="408" y="4062"/>
                      </a:lnTo>
                      <a:lnTo>
                        <a:pt x="390" y="4068"/>
                      </a:lnTo>
                      <a:lnTo>
                        <a:pt x="378" y="4068"/>
                      </a:lnTo>
                      <a:lnTo>
                        <a:pt x="360" y="4062"/>
                      </a:lnTo>
                      <a:lnTo>
                        <a:pt x="354" y="4056"/>
                      </a:lnTo>
                      <a:lnTo>
                        <a:pt x="354" y="4050"/>
                      </a:lnTo>
                      <a:lnTo>
                        <a:pt x="360" y="4044"/>
                      </a:lnTo>
                      <a:lnTo>
                        <a:pt x="366" y="4032"/>
                      </a:lnTo>
                      <a:lnTo>
                        <a:pt x="372" y="4026"/>
                      </a:lnTo>
                      <a:lnTo>
                        <a:pt x="366" y="4014"/>
                      </a:lnTo>
                      <a:lnTo>
                        <a:pt x="360" y="4008"/>
                      </a:lnTo>
                      <a:lnTo>
                        <a:pt x="354" y="3996"/>
                      </a:lnTo>
                      <a:lnTo>
                        <a:pt x="354" y="3990"/>
                      </a:lnTo>
                      <a:lnTo>
                        <a:pt x="360" y="3990"/>
                      </a:lnTo>
                      <a:lnTo>
                        <a:pt x="372" y="3984"/>
                      </a:lnTo>
                      <a:lnTo>
                        <a:pt x="390" y="3978"/>
                      </a:lnTo>
                      <a:lnTo>
                        <a:pt x="402" y="3978"/>
                      </a:lnTo>
                      <a:lnTo>
                        <a:pt x="408" y="3972"/>
                      </a:lnTo>
                      <a:lnTo>
                        <a:pt x="408" y="3960"/>
                      </a:lnTo>
                      <a:lnTo>
                        <a:pt x="408" y="3948"/>
                      </a:lnTo>
                      <a:lnTo>
                        <a:pt x="402" y="3936"/>
                      </a:lnTo>
                      <a:lnTo>
                        <a:pt x="390" y="3930"/>
                      </a:lnTo>
                      <a:lnTo>
                        <a:pt x="378" y="3918"/>
                      </a:lnTo>
                      <a:lnTo>
                        <a:pt x="366" y="3912"/>
                      </a:lnTo>
                      <a:lnTo>
                        <a:pt x="354" y="3918"/>
                      </a:lnTo>
                      <a:lnTo>
                        <a:pt x="336" y="3918"/>
                      </a:lnTo>
                      <a:lnTo>
                        <a:pt x="324" y="3924"/>
                      </a:lnTo>
                      <a:lnTo>
                        <a:pt x="318" y="3924"/>
                      </a:lnTo>
                      <a:lnTo>
                        <a:pt x="306" y="3918"/>
                      </a:lnTo>
                      <a:lnTo>
                        <a:pt x="294" y="3912"/>
                      </a:lnTo>
                      <a:lnTo>
                        <a:pt x="282" y="3900"/>
                      </a:lnTo>
                      <a:lnTo>
                        <a:pt x="270" y="3894"/>
                      </a:lnTo>
                      <a:lnTo>
                        <a:pt x="264" y="3894"/>
                      </a:lnTo>
                      <a:lnTo>
                        <a:pt x="258" y="3900"/>
                      </a:lnTo>
                      <a:lnTo>
                        <a:pt x="252" y="3906"/>
                      </a:lnTo>
                      <a:lnTo>
                        <a:pt x="246" y="3918"/>
                      </a:lnTo>
                      <a:lnTo>
                        <a:pt x="246" y="3930"/>
                      </a:lnTo>
                      <a:lnTo>
                        <a:pt x="240" y="3936"/>
                      </a:lnTo>
                      <a:lnTo>
                        <a:pt x="234" y="3936"/>
                      </a:lnTo>
                      <a:lnTo>
                        <a:pt x="228" y="3930"/>
                      </a:lnTo>
                      <a:lnTo>
                        <a:pt x="222" y="3918"/>
                      </a:lnTo>
                      <a:lnTo>
                        <a:pt x="216" y="3906"/>
                      </a:lnTo>
                      <a:lnTo>
                        <a:pt x="204" y="3888"/>
                      </a:lnTo>
                      <a:lnTo>
                        <a:pt x="204" y="3870"/>
                      </a:lnTo>
                      <a:lnTo>
                        <a:pt x="210" y="3852"/>
                      </a:lnTo>
                      <a:lnTo>
                        <a:pt x="222" y="3840"/>
                      </a:lnTo>
                      <a:lnTo>
                        <a:pt x="234" y="3834"/>
                      </a:lnTo>
                      <a:lnTo>
                        <a:pt x="240" y="3822"/>
                      </a:lnTo>
                      <a:lnTo>
                        <a:pt x="240" y="3810"/>
                      </a:lnTo>
                      <a:lnTo>
                        <a:pt x="240" y="3804"/>
                      </a:lnTo>
                      <a:lnTo>
                        <a:pt x="234" y="3798"/>
                      </a:lnTo>
                      <a:lnTo>
                        <a:pt x="222" y="3798"/>
                      </a:lnTo>
                      <a:lnTo>
                        <a:pt x="216" y="3792"/>
                      </a:lnTo>
                      <a:lnTo>
                        <a:pt x="216" y="3786"/>
                      </a:lnTo>
                      <a:lnTo>
                        <a:pt x="216" y="3780"/>
                      </a:lnTo>
                      <a:lnTo>
                        <a:pt x="210" y="3762"/>
                      </a:lnTo>
                      <a:lnTo>
                        <a:pt x="210" y="3756"/>
                      </a:lnTo>
                      <a:lnTo>
                        <a:pt x="216" y="3750"/>
                      </a:lnTo>
                      <a:lnTo>
                        <a:pt x="228" y="3744"/>
                      </a:lnTo>
                      <a:lnTo>
                        <a:pt x="246" y="3744"/>
                      </a:lnTo>
                      <a:lnTo>
                        <a:pt x="264" y="3738"/>
                      </a:lnTo>
                      <a:lnTo>
                        <a:pt x="276" y="3738"/>
                      </a:lnTo>
                      <a:lnTo>
                        <a:pt x="294" y="3738"/>
                      </a:lnTo>
                      <a:lnTo>
                        <a:pt x="300" y="3738"/>
                      </a:lnTo>
                      <a:lnTo>
                        <a:pt x="306" y="3744"/>
                      </a:lnTo>
                      <a:lnTo>
                        <a:pt x="306" y="3750"/>
                      </a:lnTo>
                      <a:lnTo>
                        <a:pt x="306" y="3756"/>
                      </a:lnTo>
                      <a:lnTo>
                        <a:pt x="306" y="3768"/>
                      </a:lnTo>
                      <a:lnTo>
                        <a:pt x="306" y="3774"/>
                      </a:lnTo>
                      <a:lnTo>
                        <a:pt x="306" y="3780"/>
                      </a:lnTo>
                      <a:lnTo>
                        <a:pt x="306" y="3780"/>
                      </a:lnTo>
                      <a:lnTo>
                        <a:pt x="312" y="3774"/>
                      </a:lnTo>
                      <a:lnTo>
                        <a:pt x="318" y="3774"/>
                      </a:lnTo>
                      <a:lnTo>
                        <a:pt x="324" y="3774"/>
                      </a:lnTo>
                      <a:lnTo>
                        <a:pt x="330" y="3774"/>
                      </a:lnTo>
                      <a:lnTo>
                        <a:pt x="330" y="3780"/>
                      </a:lnTo>
                      <a:lnTo>
                        <a:pt x="330" y="3792"/>
                      </a:lnTo>
                      <a:lnTo>
                        <a:pt x="330" y="3798"/>
                      </a:lnTo>
                      <a:lnTo>
                        <a:pt x="330" y="3804"/>
                      </a:lnTo>
                      <a:lnTo>
                        <a:pt x="330" y="3810"/>
                      </a:lnTo>
                      <a:lnTo>
                        <a:pt x="330" y="3816"/>
                      </a:lnTo>
                      <a:lnTo>
                        <a:pt x="342" y="3816"/>
                      </a:lnTo>
                      <a:lnTo>
                        <a:pt x="348" y="3816"/>
                      </a:lnTo>
                      <a:lnTo>
                        <a:pt x="360" y="3822"/>
                      </a:lnTo>
                      <a:lnTo>
                        <a:pt x="366" y="3828"/>
                      </a:lnTo>
                      <a:lnTo>
                        <a:pt x="372" y="3834"/>
                      </a:lnTo>
                      <a:lnTo>
                        <a:pt x="378" y="3834"/>
                      </a:lnTo>
                      <a:lnTo>
                        <a:pt x="384" y="3828"/>
                      </a:lnTo>
                      <a:lnTo>
                        <a:pt x="384" y="3822"/>
                      </a:lnTo>
                      <a:lnTo>
                        <a:pt x="390" y="3810"/>
                      </a:lnTo>
                      <a:lnTo>
                        <a:pt x="390" y="3804"/>
                      </a:lnTo>
                      <a:lnTo>
                        <a:pt x="390" y="3792"/>
                      </a:lnTo>
                      <a:lnTo>
                        <a:pt x="384" y="3774"/>
                      </a:lnTo>
                      <a:lnTo>
                        <a:pt x="384" y="3756"/>
                      </a:lnTo>
                      <a:lnTo>
                        <a:pt x="384" y="3732"/>
                      </a:lnTo>
                      <a:lnTo>
                        <a:pt x="384" y="3708"/>
                      </a:lnTo>
                      <a:lnTo>
                        <a:pt x="384" y="3690"/>
                      </a:lnTo>
                      <a:lnTo>
                        <a:pt x="390" y="3678"/>
                      </a:lnTo>
                      <a:lnTo>
                        <a:pt x="396" y="3666"/>
                      </a:lnTo>
                      <a:lnTo>
                        <a:pt x="414" y="3654"/>
                      </a:lnTo>
                      <a:lnTo>
                        <a:pt x="426" y="3636"/>
                      </a:lnTo>
                      <a:lnTo>
                        <a:pt x="438" y="3624"/>
                      </a:lnTo>
                      <a:lnTo>
                        <a:pt x="444" y="3606"/>
                      </a:lnTo>
                      <a:lnTo>
                        <a:pt x="444" y="3588"/>
                      </a:lnTo>
                      <a:lnTo>
                        <a:pt x="438" y="3570"/>
                      </a:lnTo>
                      <a:lnTo>
                        <a:pt x="426" y="3564"/>
                      </a:lnTo>
                      <a:lnTo>
                        <a:pt x="414" y="3558"/>
                      </a:lnTo>
                      <a:lnTo>
                        <a:pt x="396" y="3552"/>
                      </a:lnTo>
                      <a:lnTo>
                        <a:pt x="384" y="3552"/>
                      </a:lnTo>
                      <a:lnTo>
                        <a:pt x="378" y="3546"/>
                      </a:lnTo>
                      <a:lnTo>
                        <a:pt x="372" y="3534"/>
                      </a:lnTo>
                      <a:lnTo>
                        <a:pt x="366" y="3522"/>
                      </a:lnTo>
                      <a:lnTo>
                        <a:pt x="366" y="3504"/>
                      </a:lnTo>
                      <a:lnTo>
                        <a:pt x="366" y="3492"/>
                      </a:lnTo>
                      <a:lnTo>
                        <a:pt x="360" y="3480"/>
                      </a:lnTo>
                      <a:lnTo>
                        <a:pt x="360" y="3468"/>
                      </a:lnTo>
                      <a:lnTo>
                        <a:pt x="366" y="3462"/>
                      </a:lnTo>
                      <a:lnTo>
                        <a:pt x="378" y="3450"/>
                      </a:lnTo>
                      <a:lnTo>
                        <a:pt x="390" y="3438"/>
                      </a:lnTo>
                      <a:lnTo>
                        <a:pt x="402" y="3426"/>
                      </a:lnTo>
                      <a:lnTo>
                        <a:pt x="408" y="3420"/>
                      </a:lnTo>
                      <a:lnTo>
                        <a:pt x="402" y="3414"/>
                      </a:lnTo>
                      <a:lnTo>
                        <a:pt x="396" y="3408"/>
                      </a:lnTo>
                      <a:lnTo>
                        <a:pt x="384" y="3396"/>
                      </a:lnTo>
                      <a:lnTo>
                        <a:pt x="372" y="3384"/>
                      </a:lnTo>
                      <a:lnTo>
                        <a:pt x="366" y="3378"/>
                      </a:lnTo>
                      <a:lnTo>
                        <a:pt x="366" y="3360"/>
                      </a:lnTo>
                      <a:lnTo>
                        <a:pt x="360" y="3348"/>
                      </a:lnTo>
                      <a:lnTo>
                        <a:pt x="354" y="3336"/>
                      </a:lnTo>
                      <a:lnTo>
                        <a:pt x="342" y="3324"/>
                      </a:lnTo>
                      <a:lnTo>
                        <a:pt x="330" y="3324"/>
                      </a:lnTo>
                      <a:lnTo>
                        <a:pt x="324" y="3318"/>
                      </a:lnTo>
                      <a:lnTo>
                        <a:pt x="318" y="3312"/>
                      </a:lnTo>
                      <a:lnTo>
                        <a:pt x="318" y="3306"/>
                      </a:lnTo>
                      <a:lnTo>
                        <a:pt x="324" y="3294"/>
                      </a:lnTo>
                      <a:lnTo>
                        <a:pt x="330" y="3288"/>
                      </a:lnTo>
                      <a:lnTo>
                        <a:pt x="336" y="3282"/>
                      </a:lnTo>
                      <a:lnTo>
                        <a:pt x="342" y="3276"/>
                      </a:lnTo>
                      <a:lnTo>
                        <a:pt x="348" y="3270"/>
                      </a:lnTo>
                      <a:lnTo>
                        <a:pt x="348" y="3258"/>
                      </a:lnTo>
                      <a:lnTo>
                        <a:pt x="354" y="3246"/>
                      </a:lnTo>
                      <a:lnTo>
                        <a:pt x="348" y="3222"/>
                      </a:lnTo>
                      <a:lnTo>
                        <a:pt x="336" y="3198"/>
                      </a:lnTo>
                      <a:lnTo>
                        <a:pt x="330" y="3180"/>
                      </a:lnTo>
                      <a:lnTo>
                        <a:pt x="324" y="3168"/>
                      </a:lnTo>
                      <a:lnTo>
                        <a:pt x="324" y="3162"/>
                      </a:lnTo>
                      <a:lnTo>
                        <a:pt x="330" y="3156"/>
                      </a:lnTo>
                      <a:lnTo>
                        <a:pt x="336" y="3150"/>
                      </a:lnTo>
                      <a:lnTo>
                        <a:pt x="342" y="3144"/>
                      </a:lnTo>
                      <a:lnTo>
                        <a:pt x="348" y="3138"/>
                      </a:lnTo>
                      <a:lnTo>
                        <a:pt x="348" y="3126"/>
                      </a:lnTo>
                      <a:lnTo>
                        <a:pt x="348" y="3114"/>
                      </a:lnTo>
                      <a:lnTo>
                        <a:pt x="342" y="3096"/>
                      </a:lnTo>
                      <a:lnTo>
                        <a:pt x="336" y="3084"/>
                      </a:lnTo>
                      <a:lnTo>
                        <a:pt x="324" y="3072"/>
                      </a:lnTo>
                      <a:lnTo>
                        <a:pt x="312" y="3066"/>
                      </a:lnTo>
                      <a:lnTo>
                        <a:pt x="306" y="3060"/>
                      </a:lnTo>
                      <a:lnTo>
                        <a:pt x="300" y="3060"/>
                      </a:lnTo>
                      <a:lnTo>
                        <a:pt x="294" y="3060"/>
                      </a:lnTo>
                      <a:lnTo>
                        <a:pt x="288" y="3060"/>
                      </a:lnTo>
                      <a:lnTo>
                        <a:pt x="276" y="3060"/>
                      </a:lnTo>
                      <a:lnTo>
                        <a:pt x="270" y="3066"/>
                      </a:lnTo>
                      <a:lnTo>
                        <a:pt x="270" y="3072"/>
                      </a:lnTo>
                      <a:lnTo>
                        <a:pt x="270" y="3084"/>
                      </a:lnTo>
                      <a:lnTo>
                        <a:pt x="276" y="3096"/>
                      </a:lnTo>
                      <a:lnTo>
                        <a:pt x="282" y="3114"/>
                      </a:lnTo>
                      <a:lnTo>
                        <a:pt x="282" y="3126"/>
                      </a:lnTo>
                      <a:lnTo>
                        <a:pt x="276" y="3138"/>
                      </a:lnTo>
                      <a:lnTo>
                        <a:pt x="270" y="3150"/>
                      </a:lnTo>
                      <a:lnTo>
                        <a:pt x="264" y="3162"/>
                      </a:lnTo>
                      <a:lnTo>
                        <a:pt x="252" y="3168"/>
                      </a:lnTo>
                      <a:lnTo>
                        <a:pt x="246" y="3174"/>
                      </a:lnTo>
                      <a:lnTo>
                        <a:pt x="234" y="3168"/>
                      </a:lnTo>
                      <a:lnTo>
                        <a:pt x="234" y="3162"/>
                      </a:lnTo>
                      <a:lnTo>
                        <a:pt x="228" y="3156"/>
                      </a:lnTo>
                      <a:lnTo>
                        <a:pt x="222" y="3144"/>
                      </a:lnTo>
                      <a:lnTo>
                        <a:pt x="216" y="3138"/>
                      </a:lnTo>
                      <a:lnTo>
                        <a:pt x="210" y="3138"/>
                      </a:lnTo>
                      <a:lnTo>
                        <a:pt x="204" y="3138"/>
                      </a:lnTo>
                      <a:lnTo>
                        <a:pt x="198" y="3132"/>
                      </a:lnTo>
                      <a:lnTo>
                        <a:pt x="198" y="3120"/>
                      </a:lnTo>
                      <a:lnTo>
                        <a:pt x="192" y="3108"/>
                      </a:lnTo>
                      <a:lnTo>
                        <a:pt x="192" y="3096"/>
                      </a:lnTo>
                      <a:lnTo>
                        <a:pt x="198" y="3078"/>
                      </a:lnTo>
                      <a:lnTo>
                        <a:pt x="192" y="3048"/>
                      </a:lnTo>
                      <a:lnTo>
                        <a:pt x="186" y="3012"/>
                      </a:lnTo>
                      <a:lnTo>
                        <a:pt x="180" y="2970"/>
                      </a:lnTo>
                      <a:lnTo>
                        <a:pt x="180" y="2946"/>
                      </a:lnTo>
                      <a:lnTo>
                        <a:pt x="174" y="2922"/>
                      </a:lnTo>
                      <a:lnTo>
                        <a:pt x="174" y="2898"/>
                      </a:lnTo>
                      <a:lnTo>
                        <a:pt x="180" y="2880"/>
                      </a:lnTo>
                      <a:lnTo>
                        <a:pt x="186" y="2862"/>
                      </a:lnTo>
                      <a:lnTo>
                        <a:pt x="192" y="2844"/>
                      </a:lnTo>
                      <a:lnTo>
                        <a:pt x="186" y="2826"/>
                      </a:lnTo>
                      <a:lnTo>
                        <a:pt x="180" y="2808"/>
                      </a:lnTo>
                      <a:lnTo>
                        <a:pt x="168" y="2790"/>
                      </a:lnTo>
                      <a:lnTo>
                        <a:pt x="144" y="2760"/>
                      </a:lnTo>
                      <a:lnTo>
                        <a:pt x="144" y="2724"/>
                      </a:lnTo>
                      <a:lnTo>
                        <a:pt x="144" y="2688"/>
                      </a:lnTo>
                      <a:lnTo>
                        <a:pt x="138" y="2664"/>
                      </a:lnTo>
                      <a:lnTo>
                        <a:pt x="120" y="2652"/>
                      </a:lnTo>
                      <a:lnTo>
                        <a:pt x="102" y="2622"/>
                      </a:lnTo>
                      <a:lnTo>
                        <a:pt x="84" y="2580"/>
                      </a:lnTo>
                      <a:lnTo>
                        <a:pt x="84" y="2562"/>
                      </a:lnTo>
                      <a:lnTo>
                        <a:pt x="84" y="2544"/>
                      </a:lnTo>
                      <a:lnTo>
                        <a:pt x="84" y="2532"/>
                      </a:lnTo>
                      <a:lnTo>
                        <a:pt x="90" y="2526"/>
                      </a:lnTo>
                      <a:lnTo>
                        <a:pt x="96" y="2520"/>
                      </a:lnTo>
                      <a:lnTo>
                        <a:pt x="108" y="2520"/>
                      </a:lnTo>
                      <a:lnTo>
                        <a:pt x="114" y="2520"/>
                      </a:lnTo>
                      <a:lnTo>
                        <a:pt x="126" y="2526"/>
                      </a:lnTo>
                      <a:lnTo>
                        <a:pt x="138" y="2526"/>
                      </a:lnTo>
                      <a:lnTo>
                        <a:pt x="144" y="2532"/>
                      </a:lnTo>
                      <a:lnTo>
                        <a:pt x="150" y="2532"/>
                      </a:lnTo>
                      <a:lnTo>
                        <a:pt x="156" y="2526"/>
                      </a:lnTo>
                      <a:lnTo>
                        <a:pt x="156" y="2520"/>
                      </a:lnTo>
                      <a:lnTo>
                        <a:pt x="156" y="2508"/>
                      </a:lnTo>
                      <a:lnTo>
                        <a:pt x="150" y="2496"/>
                      </a:lnTo>
                      <a:lnTo>
                        <a:pt x="150" y="2484"/>
                      </a:lnTo>
                      <a:lnTo>
                        <a:pt x="144" y="2472"/>
                      </a:lnTo>
                      <a:lnTo>
                        <a:pt x="138" y="2460"/>
                      </a:lnTo>
                      <a:lnTo>
                        <a:pt x="138" y="2442"/>
                      </a:lnTo>
                      <a:lnTo>
                        <a:pt x="144" y="2430"/>
                      </a:lnTo>
                      <a:lnTo>
                        <a:pt x="144" y="2418"/>
                      </a:lnTo>
                      <a:lnTo>
                        <a:pt x="150" y="2406"/>
                      </a:lnTo>
                      <a:lnTo>
                        <a:pt x="144" y="2382"/>
                      </a:lnTo>
                      <a:lnTo>
                        <a:pt x="144" y="2340"/>
                      </a:lnTo>
                      <a:lnTo>
                        <a:pt x="150" y="2292"/>
                      </a:lnTo>
                      <a:lnTo>
                        <a:pt x="168" y="2244"/>
                      </a:lnTo>
                      <a:lnTo>
                        <a:pt x="180" y="2202"/>
                      </a:lnTo>
                      <a:lnTo>
                        <a:pt x="174" y="2160"/>
                      </a:lnTo>
                      <a:lnTo>
                        <a:pt x="162" y="2124"/>
                      </a:lnTo>
                      <a:lnTo>
                        <a:pt x="162" y="2088"/>
                      </a:lnTo>
                      <a:lnTo>
                        <a:pt x="180" y="2058"/>
                      </a:lnTo>
                      <a:lnTo>
                        <a:pt x="192" y="2028"/>
                      </a:lnTo>
                      <a:lnTo>
                        <a:pt x="192" y="1992"/>
                      </a:lnTo>
                      <a:lnTo>
                        <a:pt x="186" y="1950"/>
                      </a:lnTo>
                      <a:lnTo>
                        <a:pt x="180" y="1908"/>
                      </a:lnTo>
                      <a:lnTo>
                        <a:pt x="168" y="1854"/>
                      </a:lnTo>
                      <a:lnTo>
                        <a:pt x="150" y="1788"/>
                      </a:lnTo>
                      <a:lnTo>
                        <a:pt x="126" y="1716"/>
                      </a:lnTo>
                      <a:lnTo>
                        <a:pt x="120" y="1668"/>
                      </a:lnTo>
                      <a:lnTo>
                        <a:pt x="120" y="1626"/>
                      </a:lnTo>
                      <a:lnTo>
                        <a:pt x="126" y="1590"/>
                      </a:lnTo>
                      <a:lnTo>
                        <a:pt x="132" y="1560"/>
                      </a:lnTo>
                      <a:lnTo>
                        <a:pt x="114" y="1530"/>
                      </a:lnTo>
                      <a:lnTo>
                        <a:pt x="96" y="1494"/>
                      </a:lnTo>
                      <a:lnTo>
                        <a:pt x="90" y="1446"/>
                      </a:lnTo>
                      <a:lnTo>
                        <a:pt x="96" y="1386"/>
                      </a:lnTo>
                      <a:lnTo>
                        <a:pt x="96" y="1332"/>
                      </a:lnTo>
                      <a:lnTo>
                        <a:pt x="102" y="1278"/>
                      </a:lnTo>
                      <a:lnTo>
                        <a:pt x="108" y="1260"/>
                      </a:lnTo>
                      <a:lnTo>
                        <a:pt x="114" y="1242"/>
                      </a:lnTo>
                      <a:lnTo>
                        <a:pt x="120" y="1236"/>
                      </a:lnTo>
                      <a:lnTo>
                        <a:pt x="126" y="1224"/>
                      </a:lnTo>
                      <a:lnTo>
                        <a:pt x="132" y="1218"/>
                      </a:lnTo>
                      <a:lnTo>
                        <a:pt x="132" y="1212"/>
                      </a:lnTo>
                      <a:lnTo>
                        <a:pt x="138" y="1206"/>
                      </a:lnTo>
                      <a:lnTo>
                        <a:pt x="138" y="1188"/>
                      </a:lnTo>
                      <a:lnTo>
                        <a:pt x="126" y="1146"/>
                      </a:lnTo>
                      <a:lnTo>
                        <a:pt x="102" y="1086"/>
                      </a:lnTo>
                      <a:lnTo>
                        <a:pt x="78" y="1032"/>
                      </a:lnTo>
                      <a:lnTo>
                        <a:pt x="66" y="990"/>
                      </a:lnTo>
                      <a:lnTo>
                        <a:pt x="72" y="960"/>
                      </a:lnTo>
                      <a:lnTo>
                        <a:pt x="90" y="936"/>
                      </a:lnTo>
                      <a:lnTo>
                        <a:pt x="108" y="900"/>
                      </a:lnTo>
                      <a:lnTo>
                        <a:pt x="114" y="852"/>
                      </a:lnTo>
                      <a:lnTo>
                        <a:pt x="108" y="804"/>
                      </a:lnTo>
                      <a:lnTo>
                        <a:pt x="90" y="774"/>
                      </a:lnTo>
                      <a:lnTo>
                        <a:pt x="72" y="744"/>
                      </a:lnTo>
                      <a:lnTo>
                        <a:pt x="60" y="708"/>
                      </a:lnTo>
                      <a:lnTo>
                        <a:pt x="66" y="666"/>
                      </a:lnTo>
                      <a:lnTo>
                        <a:pt x="78" y="612"/>
                      </a:lnTo>
                      <a:lnTo>
                        <a:pt x="90" y="564"/>
                      </a:lnTo>
                      <a:lnTo>
                        <a:pt x="96" y="522"/>
                      </a:lnTo>
                      <a:lnTo>
                        <a:pt x="84" y="480"/>
                      </a:lnTo>
                      <a:lnTo>
                        <a:pt x="72" y="450"/>
                      </a:lnTo>
                      <a:lnTo>
                        <a:pt x="72" y="420"/>
                      </a:lnTo>
                      <a:lnTo>
                        <a:pt x="78" y="396"/>
                      </a:lnTo>
                      <a:lnTo>
                        <a:pt x="78" y="354"/>
                      </a:lnTo>
                      <a:lnTo>
                        <a:pt x="60" y="300"/>
                      </a:lnTo>
                      <a:lnTo>
                        <a:pt x="48" y="258"/>
                      </a:lnTo>
                      <a:lnTo>
                        <a:pt x="36" y="216"/>
                      </a:lnTo>
                      <a:lnTo>
                        <a:pt x="24" y="174"/>
                      </a:lnTo>
                      <a:lnTo>
                        <a:pt x="18" y="120"/>
                      </a:lnTo>
                      <a:lnTo>
                        <a:pt x="12" y="96"/>
                      </a:lnTo>
                      <a:lnTo>
                        <a:pt x="0" y="72"/>
                      </a:lnTo>
                      <a:lnTo>
                        <a:pt x="0" y="78"/>
                      </a:lnTo>
                      <a:lnTo>
                        <a:pt x="60" y="54"/>
                      </a:lnTo>
                      <a:lnTo>
                        <a:pt x="10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5" name="Freeform 256">
                  <a:extLst>
                    <a:ext uri="{FF2B5EF4-FFF2-40B4-BE49-F238E27FC236}">
                      <a16:creationId xmlns:a16="http://schemas.microsoft.com/office/drawing/2014/main" id="{5D887DB5-C36D-4172-9473-E85C382309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79" y="6240"/>
                  <a:ext cx="1704" cy="4164"/>
                </a:xfrm>
                <a:custGeom>
                  <a:avLst/>
                  <a:gdLst>
                    <a:gd name="T0" fmla="*/ 504 w 1704"/>
                    <a:gd name="T1" fmla="*/ 42 h 4164"/>
                    <a:gd name="T2" fmla="*/ 696 w 1704"/>
                    <a:gd name="T3" fmla="*/ 66 h 4164"/>
                    <a:gd name="T4" fmla="*/ 774 w 1704"/>
                    <a:gd name="T5" fmla="*/ 102 h 4164"/>
                    <a:gd name="T6" fmla="*/ 924 w 1704"/>
                    <a:gd name="T7" fmla="*/ 228 h 4164"/>
                    <a:gd name="T8" fmla="*/ 1206 w 1704"/>
                    <a:gd name="T9" fmla="*/ 306 h 4164"/>
                    <a:gd name="T10" fmla="*/ 1224 w 1704"/>
                    <a:gd name="T11" fmla="*/ 456 h 4164"/>
                    <a:gd name="T12" fmla="*/ 1266 w 1704"/>
                    <a:gd name="T13" fmla="*/ 636 h 4164"/>
                    <a:gd name="T14" fmla="*/ 1518 w 1704"/>
                    <a:gd name="T15" fmla="*/ 570 h 4164"/>
                    <a:gd name="T16" fmla="*/ 1596 w 1704"/>
                    <a:gd name="T17" fmla="*/ 504 h 4164"/>
                    <a:gd name="T18" fmla="*/ 1704 w 1704"/>
                    <a:gd name="T19" fmla="*/ 498 h 4164"/>
                    <a:gd name="T20" fmla="*/ 1554 w 1704"/>
                    <a:gd name="T21" fmla="*/ 696 h 4164"/>
                    <a:gd name="T22" fmla="*/ 1506 w 1704"/>
                    <a:gd name="T23" fmla="*/ 738 h 4164"/>
                    <a:gd name="T24" fmla="*/ 1410 w 1704"/>
                    <a:gd name="T25" fmla="*/ 930 h 4164"/>
                    <a:gd name="T26" fmla="*/ 1320 w 1704"/>
                    <a:gd name="T27" fmla="*/ 1062 h 4164"/>
                    <a:gd name="T28" fmla="*/ 1356 w 1704"/>
                    <a:gd name="T29" fmla="*/ 1458 h 4164"/>
                    <a:gd name="T30" fmla="*/ 1356 w 1704"/>
                    <a:gd name="T31" fmla="*/ 1578 h 4164"/>
                    <a:gd name="T32" fmla="*/ 1452 w 1704"/>
                    <a:gd name="T33" fmla="*/ 1662 h 4164"/>
                    <a:gd name="T34" fmla="*/ 1518 w 1704"/>
                    <a:gd name="T35" fmla="*/ 1800 h 4164"/>
                    <a:gd name="T36" fmla="*/ 1584 w 1704"/>
                    <a:gd name="T37" fmla="*/ 1812 h 4164"/>
                    <a:gd name="T38" fmla="*/ 1524 w 1704"/>
                    <a:gd name="T39" fmla="*/ 1962 h 4164"/>
                    <a:gd name="T40" fmla="*/ 1506 w 1704"/>
                    <a:gd name="T41" fmla="*/ 2022 h 4164"/>
                    <a:gd name="T42" fmla="*/ 1212 w 1704"/>
                    <a:gd name="T43" fmla="*/ 2166 h 4164"/>
                    <a:gd name="T44" fmla="*/ 1086 w 1704"/>
                    <a:gd name="T45" fmla="*/ 2196 h 4164"/>
                    <a:gd name="T46" fmla="*/ 1104 w 1704"/>
                    <a:gd name="T47" fmla="*/ 2274 h 4164"/>
                    <a:gd name="T48" fmla="*/ 1104 w 1704"/>
                    <a:gd name="T49" fmla="*/ 2412 h 4164"/>
                    <a:gd name="T50" fmla="*/ 1014 w 1704"/>
                    <a:gd name="T51" fmla="*/ 2496 h 4164"/>
                    <a:gd name="T52" fmla="*/ 834 w 1704"/>
                    <a:gd name="T53" fmla="*/ 2490 h 4164"/>
                    <a:gd name="T54" fmla="*/ 828 w 1704"/>
                    <a:gd name="T55" fmla="*/ 2550 h 4164"/>
                    <a:gd name="T56" fmla="*/ 870 w 1704"/>
                    <a:gd name="T57" fmla="*/ 2640 h 4164"/>
                    <a:gd name="T58" fmla="*/ 924 w 1704"/>
                    <a:gd name="T59" fmla="*/ 2646 h 4164"/>
                    <a:gd name="T60" fmla="*/ 972 w 1704"/>
                    <a:gd name="T61" fmla="*/ 2640 h 4164"/>
                    <a:gd name="T62" fmla="*/ 996 w 1704"/>
                    <a:gd name="T63" fmla="*/ 2712 h 4164"/>
                    <a:gd name="T64" fmla="*/ 942 w 1704"/>
                    <a:gd name="T65" fmla="*/ 2706 h 4164"/>
                    <a:gd name="T66" fmla="*/ 918 w 1704"/>
                    <a:gd name="T67" fmla="*/ 2736 h 4164"/>
                    <a:gd name="T68" fmla="*/ 918 w 1704"/>
                    <a:gd name="T69" fmla="*/ 2784 h 4164"/>
                    <a:gd name="T70" fmla="*/ 894 w 1704"/>
                    <a:gd name="T71" fmla="*/ 2952 h 4164"/>
                    <a:gd name="T72" fmla="*/ 876 w 1704"/>
                    <a:gd name="T73" fmla="*/ 3030 h 4164"/>
                    <a:gd name="T74" fmla="*/ 828 w 1704"/>
                    <a:gd name="T75" fmla="*/ 3120 h 4164"/>
                    <a:gd name="T76" fmla="*/ 744 w 1704"/>
                    <a:gd name="T77" fmla="*/ 3168 h 4164"/>
                    <a:gd name="T78" fmla="*/ 864 w 1704"/>
                    <a:gd name="T79" fmla="*/ 3336 h 4164"/>
                    <a:gd name="T80" fmla="*/ 972 w 1704"/>
                    <a:gd name="T81" fmla="*/ 3426 h 4164"/>
                    <a:gd name="T82" fmla="*/ 954 w 1704"/>
                    <a:gd name="T83" fmla="*/ 3468 h 4164"/>
                    <a:gd name="T84" fmla="*/ 882 w 1704"/>
                    <a:gd name="T85" fmla="*/ 3576 h 4164"/>
                    <a:gd name="T86" fmla="*/ 834 w 1704"/>
                    <a:gd name="T87" fmla="*/ 3750 h 4164"/>
                    <a:gd name="T88" fmla="*/ 822 w 1704"/>
                    <a:gd name="T89" fmla="*/ 3840 h 4164"/>
                    <a:gd name="T90" fmla="*/ 750 w 1704"/>
                    <a:gd name="T91" fmla="*/ 3834 h 4164"/>
                    <a:gd name="T92" fmla="*/ 750 w 1704"/>
                    <a:gd name="T93" fmla="*/ 3888 h 4164"/>
                    <a:gd name="T94" fmla="*/ 726 w 1704"/>
                    <a:gd name="T95" fmla="*/ 3966 h 4164"/>
                    <a:gd name="T96" fmla="*/ 732 w 1704"/>
                    <a:gd name="T97" fmla="*/ 4020 h 4164"/>
                    <a:gd name="T98" fmla="*/ 840 w 1704"/>
                    <a:gd name="T99" fmla="*/ 4152 h 4164"/>
                    <a:gd name="T100" fmla="*/ 786 w 1704"/>
                    <a:gd name="T101" fmla="*/ 4164 h 4164"/>
                    <a:gd name="T102" fmla="*/ 468 w 1704"/>
                    <a:gd name="T103" fmla="*/ 4008 h 4164"/>
                    <a:gd name="T104" fmla="*/ 342 w 1704"/>
                    <a:gd name="T105" fmla="*/ 3660 h 4164"/>
                    <a:gd name="T106" fmla="*/ 318 w 1704"/>
                    <a:gd name="T107" fmla="*/ 3186 h 4164"/>
                    <a:gd name="T108" fmla="*/ 174 w 1704"/>
                    <a:gd name="T109" fmla="*/ 2754 h 4164"/>
                    <a:gd name="T110" fmla="*/ 96 w 1704"/>
                    <a:gd name="T111" fmla="*/ 2262 h 4164"/>
                    <a:gd name="T112" fmla="*/ 84 w 1704"/>
                    <a:gd name="T113" fmla="*/ 1938 h 4164"/>
                    <a:gd name="T114" fmla="*/ 120 w 1704"/>
                    <a:gd name="T115" fmla="*/ 1506 h 4164"/>
                    <a:gd name="T116" fmla="*/ 36 w 1704"/>
                    <a:gd name="T117" fmla="*/ 870 h 4164"/>
                    <a:gd name="T118" fmla="*/ 102 w 1704"/>
                    <a:gd name="T119" fmla="*/ 354 h 4164"/>
                    <a:gd name="T120" fmla="*/ 192 w 1704"/>
                    <a:gd name="T121" fmla="*/ 96 h 4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704" h="4164">
                      <a:moveTo>
                        <a:pt x="258" y="0"/>
                      </a:moveTo>
                      <a:lnTo>
                        <a:pt x="324" y="0"/>
                      </a:lnTo>
                      <a:lnTo>
                        <a:pt x="390" y="6"/>
                      </a:lnTo>
                      <a:lnTo>
                        <a:pt x="432" y="54"/>
                      </a:lnTo>
                      <a:lnTo>
                        <a:pt x="444" y="120"/>
                      </a:lnTo>
                      <a:lnTo>
                        <a:pt x="504" y="42"/>
                      </a:lnTo>
                      <a:lnTo>
                        <a:pt x="546" y="12"/>
                      </a:lnTo>
                      <a:lnTo>
                        <a:pt x="606" y="18"/>
                      </a:lnTo>
                      <a:lnTo>
                        <a:pt x="660" y="24"/>
                      </a:lnTo>
                      <a:lnTo>
                        <a:pt x="672" y="42"/>
                      </a:lnTo>
                      <a:lnTo>
                        <a:pt x="684" y="60"/>
                      </a:lnTo>
                      <a:lnTo>
                        <a:pt x="696" y="66"/>
                      </a:lnTo>
                      <a:lnTo>
                        <a:pt x="708" y="66"/>
                      </a:lnTo>
                      <a:lnTo>
                        <a:pt x="714" y="72"/>
                      </a:lnTo>
                      <a:lnTo>
                        <a:pt x="726" y="72"/>
                      </a:lnTo>
                      <a:lnTo>
                        <a:pt x="738" y="78"/>
                      </a:lnTo>
                      <a:lnTo>
                        <a:pt x="756" y="90"/>
                      </a:lnTo>
                      <a:lnTo>
                        <a:pt x="774" y="102"/>
                      </a:lnTo>
                      <a:lnTo>
                        <a:pt x="786" y="120"/>
                      </a:lnTo>
                      <a:lnTo>
                        <a:pt x="804" y="138"/>
                      </a:lnTo>
                      <a:lnTo>
                        <a:pt x="822" y="168"/>
                      </a:lnTo>
                      <a:lnTo>
                        <a:pt x="846" y="198"/>
                      </a:lnTo>
                      <a:lnTo>
                        <a:pt x="876" y="222"/>
                      </a:lnTo>
                      <a:lnTo>
                        <a:pt x="924" y="228"/>
                      </a:lnTo>
                      <a:lnTo>
                        <a:pt x="984" y="228"/>
                      </a:lnTo>
                      <a:lnTo>
                        <a:pt x="1026" y="234"/>
                      </a:lnTo>
                      <a:lnTo>
                        <a:pt x="1068" y="258"/>
                      </a:lnTo>
                      <a:lnTo>
                        <a:pt x="1104" y="276"/>
                      </a:lnTo>
                      <a:lnTo>
                        <a:pt x="1152" y="288"/>
                      </a:lnTo>
                      <a:lnTo>
                        <a:pt x="1206" y="306"/>
                      </a:lnTo>
                      <a:lnTo>
                        <a:pt x="1242" y="330"/>
                      </a:lnTo>
                      <a:lnTo>
                        <a:pt x="1260" y="360"/>
                      </a:lnTo>
                      <a:lnTo>
                        <a:pt x="1260" y="384"/>
                      </a:lnTo>
                      <a:lnTo>
                        <a:pt x="1248" y="408"/>
                      </a:lnTo>
                      <a:lnTo>
                        <a:pt x="1236" y="426"/>
                      </a:lnTo>
                      <a:lnTo>
                        <a:pt x="1224" y="456"/>
                      </a:lnTo>
                      <a:lnTo>
                        <a:pt x="1218" y="504"/>
                      </a:lnTo>
                      <a:lnTo>
                        <a:pt x="1212" y="546"/>
                      </a:lnTo>
                      <a:lnTo>
                        <a:pt x="1212" y="582"/>
                      </a:lnTo>
                      <a:lnTo>
                        <a:pt x="1218" y="612"/>
                      </a:lnTo>
                      <a:lnTo>
                        <a:pt x="1230" y="630"/>
                      </a:lnTo>
                      <a:lnTo>
                        <a:pt x="1266" y="636"/>
                      </a:lnTo>
                      <a:lnTo>
                        <a:pt x="1320" y="636"/>
                      </a:lnTo>
                      <a:lnTo>
                        <a:pt x="1404" y="636"/>
                      </a:lnTo>
                      <a:lnTo>
                        <a:pt x="1464" y="630"/>
                      </a:lnTo>
                      <a:lnTo>
                        <a:pt x="1500" y="624"/>
                      </a:lnTo>
                      <a:lnTo>
                        <a:pt x="1512" y="594"/>
                      </a:lnTo>
                      <a:lnTo>
                        <a:pt x="1518" y="570"/>
                      </a:lnTo>
                      <a:lnTo>
                        <a:pt x="1530" y="558"/>
                      </a:lnTo>
                      <a:lnTo>
                        <a:pt x="1536" y="546"/>
                      </a:lnTo>
                      <a:lnTo>
                        <a:pt x="1548" y="540"/>
                      </a:lnTo>
                      <a:lnTo>
                        <a:pt x="1560" y="528"/>
                      </a:lnTo>
                      <a:lnTo>
                        <a:pt x="1572" y="516"/>
                      </a:lnTo>
                      <a:lnTo>
                        <a:pt x="1596" y="504"/>
                      </a:lnTo>
                      <a:lnTo>
                        <a:pt x="1614" y="480"/>
                      </a:lnTo>
                      <a:lnTo>
                        <a:pt x="1626" y="444"/>
                      </a:lnTo>
                      <a:lnTo>
                        <a:pt x="1638" y="378"/>
                      </a:lnTo>
                      <a:lnTo>
                        <a:pt x="1686" y="426"/>
                      </a:lnTo>
                      <a:lnTo>
                        <a:pt x="1686" y="468"/>
                      </a:lnTo>
                      <a:lnTo>
                        <a:pt x="1704" y="498"/>
                      </a:lnTo>
                      <a:lnTo>
                        <a:pt x="1704" y="582"/>
                      </a:lnTo>
                      <a:lnTo>
                        <a:pt x="1662" y="594"/>
                      </a:lnTo>
                      <a:lnTo>
                        <a:pt x="1620" y="618"/>
                      </a:lnTo>
                      <a:lnTo>
                        <a:pt x="1584" y="666"/>
                      </a:lnTo>
                      <a:lnTo>
                        <a:pt x="1572" y="684"/>
                      </a:lnTo>
                      <a:lnTo>
                        <a:pt x="1554" y="696"/>
                      </a:lnTo>
                      <a:lnTo>
                        <a:pt x="1542" y="708"/>
                      </a:lnTo>
                      <a:lnTo>
                        <a:pt x="1530" y="708"/>
                      </a:lnTo>
                      <a:lnTo>
                        <a:pt x="1518" y="714"/>
                      </a:lnTo>
                      <a:lnTo>
                        <a:pt x="1512" y="720"/>
                      </a:lnTo>
                      <a:lnTo>
                        <a:pt x="1506" y="726"/>
                      </a:lnTo>
                      <a:lnTo>
                        <a:pt x="1506" y="738"/>
                      </a:lnTo>
                      <a:lnTo>
                        <a:pt x="1500" y="762"/>
                      </a:lnTo>
                      <a:lnTo>
                        <a:pt x="1476" y="792"/>
                      </a:lnTo>
                      <a:lnTo>
                        <a:pt x="1458" y="816"/>
                      </a:lnTo>
                      <a:lnTo>
                        <a:pt x="1446" y="852"/>
                      </a:lnTo>
                      <a:lnTo>
                        <a:pt x="1434" y="894"/>
                      </a:lnTo>
                      <a:lnTo>
                        <a:pt x="1410" y="930"/>
                      </a:lnTo>
                      <a:lnTo>
                        <a:pt x="1386" y="954"/>
                      </a:lnTo>
                      <a:lnTo>
                        <a:pt x="1374" y="960"/>
                      </a:lnTo>
                      <a:lnTo>
                        <a:pt x="1356" y="966"/>
                      </a:lnTo>
                      <a:lnTo>
                        <a:pt x="1332" y="984"/>
                      </a:lnTo>
                      <a:lnTo>
                        <a:pt x="1320" y="1014"/>
                      </a:lnTo>
                      <a:lnTo>
                        <a:pt x="1320" y="1062"/>
                      </a:lnTo>
                      <a:lnTo>
                        <a:pt x="1326" y="1164"/>
                      </a:lnTo>
                      <a:lnTo>
                        <a:pt x="1338" y="1254"/>
                      </a:lnTo>
                      <a:lnTo>
                        <a:pt x="1350" y="1314"/>
                      </a:lnTo>
                      <a:lnTo>
                        <a:pt x="1356" y="1362"/>
                      </a:lnTo>
                      <a:lnTo>
                        <a:pt x="1356" y="1410"/>
                      </a:lnTo>
                      <a:lnTo>
                        <a:pt x="1356" y="1458"/>
                      </a:lnTo>
                      <a:lnTo>
                        <a:pt x="1356" y="1500"/>
                      </a:lnTo>
                      <a:lnTo>
                        <a:pt x="1356" y="1518"/>
                      </a:lnTo>
                      <a:lnTo>
                        <a:pt x="1356" y="1530"/>
                      </a:lnTo>
                      <a:lnTo>
                        <a:pt x="1350" y="1542"/>
                      </a:lnTo>
                      <a:lnTo>
                        <a:pt x="1350" y="1560"/>
                      </a:lnTo>
                      <a:lnTo>
                        <a:pt x="1356" y="1578"/>
                      </a:lnTo>
                      <a:lnTo>
                        <a:pt x="1368" y="1596"/>
                      </a:lnTo>
                      <a:lnTo>
                        <a:pt x="1380" y="1608"/>
                      </a:lnTo>
                      <a:lnTo>
                        <a:pt x="1392" y="1620"/>
                      </a:lnTo>
                      <a:lnTo>
                        <a:pt x="1410" y="1626"/>
                      </a:lnTo>
                      <a:lnTo>
                        <a:pt x="1422" y="1638"/>
                      </a:lnTo>
                      <a:lnTo>
                        <a:pt x="1452" y="1662"/>
                      </a:lnTo>
                      <a:lnTo>
                        <a:pt x="1476" y="1704"/>
                      </a:lnTo>
                      <a:lnTo>
                        <a:pt x="1488" y="1752"/>
                      </a:lnTo>
                      <a:lnTo>
                        <a:pt x="1494" y="1770"/>
                      </a:lnTo>
                      <a:lnTo>
                        <a:pt x="1500" y="1788"/>
                      </a:lnTo>
                      <a:lnTo>
                        <a:pt x="1506" y="1794"/>
                      </a:lnTo>
                      <a:lnTo>
                        <a:pt x="1518" y="1800"/>
                      </a:lnTo>
                      <a:lnTo>
                        <a:pt x="1530" y="1800"/>
                      </a:lnTo>
                      <a:lnTo>
                        <a:pt x="1554" y="1794"/>
                      </a:lnTo>
                      <a:lnTo>
                        <a:pt x="1566" y="1794"/>
                      </a:lnTo>
                      <a:lnTo>
                        <a:pt x="1578" y="1800"/>
                      </a:lnTo>
                      <a:lnTo>
                        <a:pt x="1584" y="1800"/>
                      </a:lnTo>
                      <a:lnTo>
                        <a:pt x="1584" y="1812"/>
                      </a:lnTo>
                      <a:lnTo>
                        <a:pt x="1584" y="1824"/>
                      </a:lnTo>
                      <a:lnTo>
                        <a:pt x="1578" y="1842"/>
                      </a:lnTo>
                      <a:lnTo>
                        <a:pt x="1578" y="1860"/>
                      </a:lnTo>
                      <a:lnTo>
                        <a:pt x="1566" y="1908"/>
                      </a:lnTo>
                      <a:lnTo>
                        <a:pt x="1548" y="1944"/>
                      </a:lnTo>
                      <a:lnTo>
                        <a:pt x="1524" y="1962"/>
                      </a:lnTo>
                      <a:lnTo>
                        <a:pt x="1518" y="1968"/>
                      </a:lnTo>
                      <a:lnTo>
                        <a:pt x="1512" y="1974"/>
                      </a:lnTo>
                      <a:lnTo>
                        <a:pt x="1506" y="1986"/>
                      </a:lnTo>
                      <a:lnTo>
                        <a:pt x="1506" y="1992"/>
                      </a:lnTo>
                      <a:lnTo>
                        <a:pt x="1506" y="2010"/>
                      </a:lnTo>
                      <a:lnTo>
                        <a:pt x="1506" y="2022"/>
                      </a:lnTo>
                      <a:lnTo>
                        <a:pt x="1500" y="2034"/>
                      </a:lnTo>
                      <a:lnTo>
                        <a:pt x="1464" y="2070"/>
                      </a:lnTo>
                      <a:lnTo>
                        <a:pt x="1410" y="2106"/>
                      </a:lnTo>
                      <a:lnTo>
                        <a:pt x="1338" y="2130"/>
                      </a:lnTo>
                      <a:lnTo>
                        <a:pt x="1272" y="2148"/>
                      </a:lnTo>
                      <a:lnTo>
                        <a:pt x="1212" y="2166"/>
                      </a:lnTo>
                      <a:lnTo>
                        <a:pt x="1158" y="2178"/>
                      </a:lnTo>
                      <a:lnTo>
                        <a:pt x="1122" y="2178"/>
                      </a:lnTo>
                      <a:lnTo>
                        <a:pt x="1104" y="2178"/>
                      </a:lnTo>
                      <a:lnTo>
                        <a:pt x="1092" y="2178"/>
                      </a:lnTo>
                      <a:lnTo>
                        <a:pt x="1086" y="2184"/>
                      </a:lnTo>
                      <a:lnTo>
                        <a:pt x="1086" y="2196"/>
                      </a:lnTo>
                      <a:lnTo>
                        <a:pt x="1086" y="2208"/>
                      </a:lnTo>
                      <a:lnTo>
                        <a:pt x="1092" y="2220"/>
                      </a:lnTo>
                      <a:lnTo>
                        <a:pt x="1098" y="2232"/>
                      </a:lnTo>
                      <a:lnTo>
                        <a:pt x="1104" y="2244"/>
                      </a:lnTo>
                      <a:lnTo>
                        <a:pt x="1104" y="2262"/>
                      </a:lnTo>
                      <a:lnTo>
                        <a:pt x="1104" y="2274"/>
                      </a:lnTo>
                      <a:lnTo>
                        <a:pt x="1098" y="2286"/>
                      </a:lnTo>
                      <a:lnTo>
                        <a:pt x="1086" y="2304"/>
                      </a:lnTo>
                      <a:lnTo>
                        <a:pt x="1074" y="2334"/>
                      </a:lnTo>
                      <a:lnTo>
                        <a:pt x="1080" y="2364"/>
                      </a:lnTo>
                      <a:lnTo>
                        <a:pt x="1092" y="2388"/>
                      </a:lnTo>
                      <a:lnTo>
                        <a:pt x="1104" y="2412"/>
                      </a:lnTo>
                      <a:lnTo>
                        <a:pt x="1098" y="2436"/>
                      </a:lnTo>
                      <a:lnTo>
                        <a:pt x="1092" y="2454"/>
                      </a:lnTo>
                      <a:lnTo>
                        <a:pt x="1080" y="2466"/>
                      </a:lnTo>
                      <a:lnTo>
                        <a:pt x="1068" y="2478"/>
                      </a:lnTo>
                      <a:lnTo>
                        <a:pt x="1050" y="2490"/>
                      </a:lnTo>
                      <a:lnTo>
                        <a:pt x="1014" y="2496"/>
                      </a:lnTo>
                      <a:lnTo>
                        <a:pt x="978" y="2484"/>
                      </a:lnTo>
                      <a:lnTo>
                        <a:pt x="936" y="2472"/>
                      </a:lnTo>
                      <a:lnTo>
                        <a:pt x="900" y="2472"/>
                      </a:lnTo>
                      <a:lnTo>
                        <a:pt x="882" y="2472"/>
                      </a:lnTo>
                      <a:lnTo>
                        <a:pt x="864" y="2484"/>
                      </a:lnTo>
                      <a:lnTo>
                        <a:pt x="834" y="2490"/>
                      </a:lnTo>
                      <a:lnTo>
                        <a:pt x="822" y="2496"/>
                      </a:lnTo>
                      <a:lnTo>
                        <a:pt x="816" y="2502"/>
                      </a:lnTo>
                      <a:lnTo>
                        <a:pt x="816" y="2514"/>
                      </a:lnTo>
                      <a:lnTo>
                        <a:pt x="816" y="2520"/>
                      </a:lnTo>
                      <a:lnTo>
                        <a:pt x="822" y="2538"/>
                      </a:lnTo>
                      <a:lnTo>
                        <a:pt x="828" y="2550"/>
                      </a:lnTo>
                      <a:lnTo>
                        <a:pt x="840" y="2568"/>
                      </a:lnTo>
                      <a:lnTo>
                        <a:pt x="846" y="2580"/>
                      </a:lnTo>
                      <a:lnTo>
                        <a:pt x="852" y="2604"/>
                      </a:lnTo>
                      <a:lnTo>
                        <a:pt x="858" y="2622"/>
                      </a:lnTo>
                      <a:lnTo>
                        <a:pt x="864" y="2634"/>
                      </a:lnTo>
                      <a:lnTo>
                        <a:pt x="870" y="2640"/>
                      </a:lnTo>
                      <a:lnTo>
                        <a:pt x="882" y="2640"/>
                      </a:lnTo>
                      <a:lnTo>
                        <a:pt x="894" y="2634"/>
                      </a:lnTo>
                      <a:lnTo>
                        <a:pt x="900" y="2634"/>
                      </a:lnTo>
                      <a:lnTo>
                        <a:pt x="906" y="2634"/>
                      </a:lnTo>
                      <a:lnTo>
                        <a:pt x="918" y="2640"/>
                      </a:lnTo>
                      <a:lnTo>
                        <a:pt x="924" y="2646"/>
                      </a:lnTo>
                      <a:lnTo>
                        <a:pt x="930" y="2652"/>
                      </a:lnTo>
                      <a:lnTo>
                        <a:pt x="942" y="2652"/>
                      </a:lnTo>
                      <a:lnTo>
                        <a:pt x="948" y="2646"/>
                      </a:lnTo>
                      <a:lnTo>
                        <a:pt x="960" y="2634"/>
                      </a:lnTo>
                      <a:lnTo>
                        <a:pt x="966" y="2634"/>
                      </a:lnTo>
                      <a:lnTo>
                        <a:pt x="972" y="2640"/>
                      </a:lnTo>
                      <a:lnTo>
                        <a:pt x="978" y="2646"/>
                      </a:lnTo>
                      <a:lnTo>
                        <a:pt x="984" y="2664"/>
                      </a:lnTo>
                      <a:lnTo>
                        <a:pt x="990" y="2676"/>
                      </a:lnTo>
                      <a:lnTo>
                        <a:pt x="996" y="2694"/>
                      </a:lnTo>
                      <a:lnTo>
                        <a:pt x="996" y="2706"/>
                      </a:lnTo>
                      <a:lnTo>
                        <a:pt x="996" y="2712"/>
                      </a:lnTo>
                      <a:lnTo>
                        <a:pt x="996" y="2718"/>
                      </a:lnTo>
                      <a:lnTo>
                        <a:pt x="996" y="2724"/>
                      </a:lnTo>
                      <a:lnTo>
                        <a:pt x="984" y="2724"/>
                      </a:lnTo>
                      <a:lnTo>
                        <a:pt x="972" y="2724"/>
                      </a:lnTo>
                      <a:lnTo>
                        <a:pt x="960" y="2712"/>
                      </a:lnTo>
                      <a:lnTo>
                        <a:pt x="942" y="2706"/>
                      </a:lnTo>
                      <a:lnTo>
                        <a:pt x="930" y="2706"/>
                      </a:lnTo>
                      <a:lnTo>
                        <a:pt x="924" y="2706"/>
                      </a:lnTo>
                      <a:lnTo>
                        <a:pt x="918" y="2712"/>
                      </a:lnTo>
                      <a:lnTo>
                        <a:pt x="912" y="2724"/>
                      </a:lnTo>
                      <a:lnTo>
                        <a:pt x="918" y="2730"/>
                      </a:lnTo>
                      <a:lnTo>
                        <a:pt x="918" y="2736"/>
                      </a:lnTo>
                      <a:lnTo>
                        <a:pt x="924" y="2748"/>
                      </a:lnTo>
                      <a:lnTo>
                        <a:pt x="930" y="2754"/>
                      </a:lnTo>
                      <a:lnTo>
                        <a:pt x="936" y="2760"/>
                      </a:lnTo>
                      <a:lnTo>
                        <a:pt x="936" y="2766"/>
                      </a:lnTo>
                      <a:lnTo>
                        <a:pt x="930" y="2778"/>
                      </a:lnTo>
                      <a:lnTo>
                        <a:pt x="918" y="2784"/>
                      </a:lnTo>
                      <a:lnTo>
                        <a:pt x="906" y="2790"/>
                      </a:lnTo>
                      <a:lnTo>
                        <a:pt x="882" y="2820"/>
                      </a:lnTo>
                      <a:lnTo>
                        <a:pt x="876" y="2862"/>
                      </a:lnTo>
                      <a:lnTo>
                        <a:pt x="876" y="2904"/>
                      </a:lnTo>
                      <a:lnTo>
                        <a:pt x="882" y="2934"/>
                      </a:lnTo>
                      <a:lnTo>
                        <a:pt x="894" y="2952"/>
                      </a:lnTo>
                      <a:lnTo>
                        <a:pt x="894" y="2964"/>
                      </a:lnTo>
                      <a:lnTo>
                        <a:pt x="894" y="2982"/>
                      </a:lnTo>
                      <a:lnTo>
                        <a:pt x="888" y="2994"/>
                      </a:lnTo>
                      <a:lnTo>
                        <a:pt x="882" y="3000"/>
                      </a:lnTo>
                      <a:lnTo>
                        <a:pt x="876" y="3012"/>
                      </a:lnTo>
                      <a:lnTo>
                        <a:pt x="876" y="3030"/>
                      </a:lnTo>
                      <a:lnTo>
                        <a:pt x="876" y="3048"/>
                      </a:lnTo>
                      <a:lnTo>
                        <a:pt x="870" y="3072"/>
                      </a:lnTo>
                      <a:lnTo>
                        <a:pt x="864" y="3090"/>
                      </a:lnTo>
                      <a:lnTo>
                        <a:pt x="858" y="3102"/>
                      </a:lnTo>
                      <a:lnTo>
                        <a:pt x="846" y="3114"/>
                      </a:lnTo>
                      <a:lnTo>
                        <a:pt x="828" y="3120"/>
                      </a:lnTo>
                      <a:lnTo>
                        <a:pt x="816" y="3126"/>
                      </a:lnTo>
                      <a:lnTo>
                        <a:pt x="798" y="3126"/>
                      </a:lnTo>
                      <a:lnTo>
                        <a:pt x="780" y="3132"/>
                      </a:lnTo>
                      <a:lnTo>
                        <a:pt x="762" y="3138"/>
                      </a:lnTo>
                      <a:lnTo>
                        <a:pt x="750" y="3150"/>
                      </a:lnTo>
                      <a:lnTo>
                        <a:pt x="744" y="3168"/>
                      </a:lnTo>
                      <a:lnTo>
                        <a:pt x="738" y="3180"/>
                      </a:lnTo>
                      <a:lnTo>
                        <a:pt x="738" y="3204"/>
                      </a:lnTo>
                      <a:lnTo>
                        <a:pt x="750" y="3240"/>
                      </a:lnTo>
                      <a:lnTo>
                        <a:pt x="780" y="3270"/>
                      </a:lnTo>
                      <a:lnTo>
                        <a:pt x="828" y="3312"/>
                      </a:lnTo>
                      <a:lnTo>
                        <a:pt x="864" y="3336"/>
                      </a:lnTo>
                      <a:lnTo>
                        <a:pt x="894" y="3348"/>
                      </a:lnTo>
                      <a:lnTo>
                        <a:pt x="924" y="3360"/>
                      </a:lnTo>
                      <a:lnTo>
                        <a:pt x="954" y="3384"/>
                      </a:lnTo>
                      <a:lnTo>
                        <a:pt x="966" y="3402"/>
                      </a:lnTo>
                      <a:lnTo>
                        <a:pt x="972" y="3414"/>
                      </a:lnTo>
                      <a:lnTo>
                        <a:pt x="972" y="3426"/>
                      </a:lnTo>
                      <a:lnTo>
                        <a:pt x="966" y="3438"/>
                      </a:lnTo>
                      <a:lnTo>
                        <a:pt x="960" y="3444"/>
                      </a:lnTo>
                      <a:lnTo>
                        <a:pt x="954" y="3456"/>
                      </a:lnTo>
                      <a:lnTo>
                        <a:pt x="948" y="3462"/>
                      </a:lnTo>
                      <a:lnTo>
                        <a:pt x="948" y="3462"/>
                      </a:lnTo>
                      <a:lnTo>
                        <a:pt x="954" y="3468"/>
                      </a:lnTo>
                      <a:lnTo>
                        <a:pt x="954" y="3480"/>
                      </a:lnTo>
                      <a:lnTo>
                        <a:pt x="948" y="3492"/>
                      </a:lnTo>
                      <a:lnTo>
                        <a:pt x="936" y="3498"/>
                      </a:lnTo>
                      <a:lnTo>
                        <a:pt x="930" y="3510"/>
                      </a:lnTo>
                      <a:lnTo>
                        <a:pt x="912" y="3540"/>
                      </a:lnTo>
                      <a:lnTo>
                        <a:pt x="882" y="3576"/>
                      </a:lnTo>
                      <a:lnTo>
                        <a:pt x="852" y="3612"/>
                      </a:lnTo>
                      <a:lnTo>
                        <a:pt x="834" y="3630"/>
                      </a:lnTo>
                      <a:lnTo>
                        <a:pt x="828" y="3660"/>
                      </a:lnTo>
                      <a:lnTo>
                        <a:pt x="828" y="3696"/>
                      </a:lnTo>
                      <a:lnTo>
                        <a:pt x="834" y="3726"/>
                      </a:lnTo>
                      <a:lnTo>
                        <a:pt x="834" y="3750"/>
                      </a:lnTo>
                      <a:lnTo>
                        <a:pt x="840" y="3768"/>
                      </a:lnTo>
                      <a:lnTo>
                        <a:pt x="840" y="3780"/>
                      </a:lnTo>
                      <a:lnTo>
                        <a:pt x="840" y="3798"/>
                      </a:lnTo>
                      <a:lnTo>
                        <a:pt x="840" y="3816"/>
                      </a:lnTo>
                      <a:lnTo>
                        <a:pt x="834" y="3828"/>
                      </a:lnTo>
                      <a:lnTo>
                        <a:pt x="822" y="3840"/>
                      </a:lnTo>
                      <a:lnTo>
                        <a:pt x="816" y="3846"/>
                      </a:lnTo>
                      <a:lnTo>
                        <a:pt x="804" y="3852"/>
                      </a:lnTo>
                      <a:lnTo>
                        <a:pt x="786" y="3846"/>
                      </a:lnTo>
                      <a:lnTo>
                        <a:pt x="768" y="3840"/>
                      </a:lnTo>
                      <a:lnTo>
                        <a:pt x="756" y="3834"/>
                      </a:lnTo>
                      <a:lnTo>
                        <a:pt x="750" y="3834"/>
                      </a:lnTo>
                      <a:lnTo>
                        <a:pt x="744" y="3840"/>
                      </a:lnTo>
                      <a:lnTo>
                        <a:pt x="744" y="3846"/>
                      </a:lnTo>
                      <a:lnTo>
                        <a:pt x="744" y="3852"/>
                      </a:lnTo>
                      <a:lnTo>
                        <a:pt x="744" y="3864"/>
                      </a:lnTo>
                      <a:lnTo>
                        <a:pt x="750" y="3876"/>
                      </a:lnTo>
                      <a:lnTo>
                        <a:pt x="750" y="3888"/>
                      </a:lnTo>
                      <a:lnTo>
                        <a:pt x="750" y="3900"/>
                      </a:lnTo>
                      <a:lnTo>
                        <a:pt x="744" y="3918"/>
                      </a:lnTo>
                      <a:lnTo>
                        <a:pt x="744" y="3930"/>
                      </a:lnTo>
                      <a:lnTo>
                        <a:pt x="744" y="3942"/>
                      </a:lnTo>
                      <a:lnTo>
                        <a:pt x="732" y="3954"/>
                      </a:lnTo>
                      <a:lnTo>
                        <a:pt x="726" y="3966"/>
                      </a:lnTo>
                      <a:lnTo>
                        <a:pt x="714" y="3978"/>
                      </a:lnTo>
                      <a:lnTo>
                        <a:pt x="714" y="3990"/>
                      </a:lnTo>
                      <a:lnTo>
                        <a:pt x="714" y="3996"/>
                      </a:lnTo>
                      <a:lnTo>
                        <a:pt x="720" y="4008"/>
                      </a:lnTo>
                      <a:lnTo>
                        <a:pt x="726" y="4014"/>
                      </a:lnTo>
                      <a:lnTo>
                        <a:pt x="732" y="4020"/>
                      </a:lnTo>
                      <a:lnTo>
                        <a:pt x="750" y="4044"/>
                      </a:lnTo>
                      <a:lnTo>
                        <a:pt x="768" y="4074"/>
                      </a:lnTo>
                      <a:lnTo>
                        <a:pt x="798" y="4104"/>
                      </a:lnTo>
                      <a:lnTo>
                        <a:pt x="822" y="4128"/>
                      </a:lnTo>
                      <a:lnTo>
                        <a:pt x="834" y="4140"/>
                      </a:lnTo>
                      <a:lnTo>
                        <a:pt x="840" y="4152"/>
                      </a:lnTo>
                      <a:lnTo>
                        <a:pt x="834" y="4158"/>
                      </a:lnTo>
                      <a:lnTo>
                        <a:pt x="828" y="4164"/>
                      </a:lnTo>
                      <a:lnTo>
                        <a:pt x="816" y="4164"/>
                      </a:lnTo>
                      <a:lnTo>
                        <a:pt x="804" y="4164"/>
                      </a:lnTo>
                      <a:lnTo>
                        <a:pt x="792" y="4164"/>
                      </a:lnTo>
                      <a:lnTo>
                        <a:pt x="786" y="4164"/>
                      </a:lnTo>
                      <a:lnTo>
                        <a:pt x="792" y="4164"/>
                      </a:lnTo>
                      <a:lnTo>
                        <a:pt x="714" y="4140"/>
                      </a:lnTo>
                      <a:lnTo>
                        <a:pt x="612" y="4140"/>
                      </a:lnTo>
                      <a:lnTo>
                        <a:pt x="528" y="4134"/>
                      </a:lnTo>
                      <a:lnTo>
                        <a:pt x="486" y="4056"/>
                      </a:lnTo>
                      <a:lnTo>
                        <a:pt x="468" y="4008"/>
                      </a:lnTo>
                      <a:lnTo>
                        <a:pt x="402" y="3966"/>
                      </a:lnTo>
                      <a:lnTo>
                        <a:pt x="408" y="3894"/>
                      </a:lnTo>
                      <a:lnTo>
                        <a:pt x="402" y="3846"/>
                      </a:lnTo>
                      <a:lnTo>
                        <a:pt x="354" y="3798"/>
                      </a:lnTo>
                      <a:lnTo>
                        <a:pt x="354" y="3744"/>
                      </a:lnTo>
                      <a:lnTo>
                        <a:pt x="342" y="3660"/>
                      </a:lnTo>
                      <a:lnTo>
                        <a:pt x="360" y="3558"/>
                      </a:lnTo>
                      <a:lnTo>
                        <a:pt x="342" y="3480"/>
                      </a:lnTo>
                      <a:lnTo>
                        <a:pt x="354" y="3378"/>
                      </a:lnTo>
                      <a:lnTo>
                        <a:pt x="384" y="3318"/>
                      </a:lnTo>
                      <a:lnTo>
                        <a:pt x="342" y="3258"/>
                      </a:lnTo>
                      <a:lnTo>
                        <a:pt x="318" y="3186"/>
                      </a:lnTo>
                      <a:lnTo>
                        <a:pt x="312" y="3132"/>
                      </a:lnTo>
                      <a:lnTo>
                        <a:pt x="336" y="3096"/>
                      </a:lnTo>
                      <a:lnTo>
                        <a:pt x="252" y="3066"/>
                      </a:lnTo>
                      <a:lnTo>
                        <a:pt x="246" y="2892"/>
                      </a:lnTo>
                      <a:lnTo>
                        <a:pt x="204" y="2826"/>
                      </a:lnTo>
                      <a:lnTo>
                        <a:pt x="174" y="2754"/>
                      </a:lnTo>
                      <a:lnTo>
                        <a:pt x="174" y="2616"/>
                      </a:lnTo>
                      <a:lnTo>
                        <a:pt x="132" y="2568"/>
                      </a:lnTo>
                      <a:lnTo>
                        <a:pt x="132" y="2490"/>
                      </a:lnTo>
                      <a:lnTo>
                        <a:pt x="138" y="2382"/>
                      </a:lnTo>
                      <a:lnTo>
                        <a:pt x="114" y="2334"/>
                      </a:lnTo>
                      <a:lnTo>
                        <a:pt x="96" y="2262"/>
                      </a:lnTo>
                      <a:lnTo>
                        <a:pt x="132" y="2226"/>
                      </a:lnTo>
                      <a:lnTo>
                        <a:pt x="168" y="2172"/>
                      </a:lnTo>
                      <a:lnTo>
                        <a:pt x="144" y="2124"/>
                      </a:lnTo>
                      <a:lnTo>
                        <a:pt x="96" y="2076"/>
                      </a:lnTo>
                      <a:lnTo>
                        <a:pt x="72" y="2004"/>
                      </a:lnTo>
                      <a:lnTo>
                        <a:pt x="84" y="1938"/>
                      </a:lnTo>
                      <a:lnTo>
                        <a:pt x="114" y="1884"/>
                      </a:lnTo>
                      <a:lnTo>
                        <a:pt x="108" y="1812"/>
                      </a:lnTo>
                      <a:lnTo>
                        <a:pt x="120" y="1746"/>
                      </a:lnTo>
                      <a:lnTo>
                        <a:pt x="144" y="1650"/>
                      </a:lnTo>
                      <a:lnTo>
                        <a:pt x="108" y="1566"/>
                      </a:lnTo>
                      <a:lnTo>
                        <a:pt x="120" y="1506"/>
                      </a:lnTo>
                      <a:lnTo>
                        <a:pt x="72" y="1434"/>
                      </a:lnTo>
                      <a:lnTo>
                        <a:pt x="54" y="1332"/>
                      </a:lnTo>
                      <a:lnTo>
                        <a:pt x="12" y="1272"/>
                      </a:lnTo>
                      <a:lnTo>
                        <a:pt x="0" y="1140"/>
                      </a:lnTo>
                      <a:lnTo>
                        <a:pt x="12" y="984"/>
                      </a:lnTo>
                      <a:lnTo>
                        <a:pt x="36" y="870"/>
                      </a:lnTo>
                      <a:lnTo>
                        <a:pt x="78" y="738"/>
                      </a:lnTo>
                      <a:lnTo>
                        <a:pt x="126" y="612"/>
                      </a:lnTo>
                      <a:lnTo>
                        <a:pt x="96" y="528"/>
                      </a:lnTo>
                      <a:lnTo>
                        <a:pt x="66" y="456"/>
                      </a:lnTo>
                      <a:lnTo>
                        <a:pt x="66" y="396"/>
                      </a:lnTo>
                      <a:lnTo>
                        <a:pt x="102" y="354"/>
                      </a:lnTo>
                      <a:lnTo>
                        <a:pt x="168" y="294"/>
                      </a:lnTo>
                      <a:lnTo>
                        <a:pt x="210" y="228"/>
                      </a:lnTo>
                      <a:lnTo>
                        <a:pt x="192" y="162"/>
                      </a:lnTo>
                      <a:lnTo>
                        <a:pt x="150" y="138"/>
                      </a:lnTo>
                      <a:lnTo>
                        <a:pt x="150" y="138"/>
                      </a:lnTo>
                      <a:lnTo>
                        <a:pt x="192" y="96"/>
                      </a:lnTo>
                      <a:lnTo>
                        <a:pt x="228" y="72"/>
                      </a:lnTo>
                      <a:lnTo>
                        <a:pt x="25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6" name="Freeform 257">
                  <a:extLst>
                    <a:ext uri="{FF2B5EF4-FFF2-40B4-BE49-F238E27FC236}">
                      <a16:creationId xmlns:a16="http://schemas.microsoft.com/office/drawing/2014/main" id="{6C443F43-19CC-40F8-B20C-5218895406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6361" y="10560"/>
                  <a:ext cx="378" cy="264"/>
                </a:xfrm>
                <a:custGeom>
                  <a:avLst/>
                  <a:gdLst>
                    <a:gd name="T0" fmla="*/ 0 w 378"/>
                    <a:gd name="T1" fmla="*/ 0 h 264"/>
                    <a:gd name="T2" fmla="*/ 12 w 378"/>
                    <a:gd name="T3" fmla="*/ 6 h 264"/>
                    <a:gd name="T4" fmla="*/ 30 w 378"/>
                    <a:gd name="T5" fmla="*/ 18 h 264"/>
                    <a:gd name="T6" fmla="*/ 48 w 378"/>
                    <a:gd name="T7" fmla="*/ 30 h 264"/>
                    <a:gd name="T8" fmla="*/ 78 w 378"/>
                    <a:gd name="T9" fmla="*/ 54 h 264"/>
                    <a:gd name="T10" fmla="*/ 108 w 378"/>
                    <a:gd name="T11" fmla="*/ 72 h 264"/>
                    <a:gd name="T12" fmla="*/ 126 w 378"/>
                    <a:gd name="T13" fmla="*/ 90 h 264"/>
                    <a:gd name="T14" fmla="*/ 138 w 378"/>
                    <a:gd name="T15" fmla="*/ 96 h 264"/>
                    <a:gd name="T16" fmla="*/ 138 w 378"/>
                    <a:gd name="T17" fmla="*/ 102 h 264"/>
                    <a:gd name="T18" fmla="*/ 144 w 378"/>
                    <a:gd name="T19" fmla="*/ 108 h 264"/>
                    <a:gd name="T20" fmla="*/ 156 w 378"/>
                    <a:gd name="T21" fmla="*/ 114 h 264"/>
                    <a:gd name="T22" fmla="*/ 174 w 378"/>
                    <a:gd name="T23" fmla="*/ 120 h 264"/>
                    <a:gd name="T24" fmla="*/ 186 w 378"/>
                    <a:gd name="T25" fmla="*/ 132 h 264"/>
                    <a:gd name="T26" fmla="*/ 210 w 378"/>
                    <a:gd name="T27" fmla="*/ 138 h 264"/>
                    <a:gd name="T28" fmla="*/ 228 w 378"/>
                    <a:gd name="T29" fmla="*/ 150 h 264"/>
                    <a:gd name="T30" fmla="*/ 264 w 378"/>
                    <a:gd name="T31" fmla="*/ 162 h 264"/>
                    <a:gd name="T32" fmla="*/ 288 w 378"/>
                    <a:gd name="T33" fmla="*/ 174 h 264"/>
                    <a:gd name="T34" fmla="*/ 330 w 378"/>
                    <a:gd name="T35" fmla="*/ 180 h 264"/>
                    <a:gd name="T36" fmla="*/ 354 w 378"/>
                    <a:gd name="T37" fmla="*/ 180 h 264"/>
                    <a:gd name="T38" fmla="*/ 366 w 378"/>
                    <a:gd name="T39" fmla="*/ 186 h 264"/>
                    <a:gd name="T40" fmla="*/ 378 w 378"/>
                    <a:gd name="T41" fmla="*/ 192 h 264"/>
                    <a:gd name="T42" fmla="*/ 378 w 378"/>
                    <a:gd name="T43" fmla="*/ 198 h 264"/>
                    <a:gd name="T44" fmla="*/ 372 w 378"/>
                    <a:gd name="T45" fmla="*/ 210 h 264"/>
                    <a:gd name="T46" fmla="*/ 366 w 378"/>
                    <a:gd name="T47" fmla="*/ 216 h 264"/>
                    <a:gd name="T48" fmla="*/ 360 w 378"/>
                    <a:gd name="T49" fmla="*/ 228 h 264"/>
                    <a:gd name="T50" fmla="*/ 342 w 378"/>
                    <a:gd name="T51" fmla="*/ 228 h 264"/>
                    <a:gd name="T52" fmla="*/ 330 w 378"/>
                    <a:gd name="T53" fmla="*/ 234 h 264"/>
                    <a:gd name="T54" fmla="*/ 312 w 378"/>
                    <a:gd name="T55" fmla="*/ 234 h 264"/>
                    <a:gd name="T56" fmla="*/ 294 w 378"/>
                    <a:gd name="T57" fmla="*/ 234 h 264"/>
                    <a:gd name="T58" fmla="*/ 282 w 378"/>
                    <a:gd name="T59" fmla="*/ 234 h 264"/>
                    <a:gd name="T60" fmla="*/ 276 w 378"/>
                    <a:gd name="T61" fmla="*/ 240 h 264"/>
                    <a:gd name="T62" fmla="*/ 270 w 378"/>
                    <a:gd name="T63" fmla="*/ 240 h 264"/>
                    <a:gd name="T64" fmla="*/ 258 w 378"/>
                    <a:gd name="T65" fmla="*/ 240 h 264"/>
                    <a:gd name="T66" fmla="*/ 240 w 378"/>
                    <a:gd name="T67" fmla="*/ 240 h 264"/>
                    <a:gd name="T68" fmla="*/ 222 w 378"/>
                    <a:gd name="T69" fmla="*/ 234 h 264"/>
                    <a:gd name="T70" fmla="*/ 198 w 378"/>
                    <a:gd name="T71" fmla="*/ 234 h 264"/>
                    <a:gd name="T72" fmla="*/ 156 w 378"/>
                    <a:gd name="T73" fmla="*/ 234 h 264"/>
                    <a:gd name="T74" fmla="*/ 126 w 378"/>
                    <a:gd name="T75" fmla="*/ 246 h 264"/>
                    <a:gd name="T76" fmla="*/ 96 w 378"/>
                    <a:gd name="T77" fmla="*/ 258 h 264"/>
                    <a:gd name="T78" fmla="*/ 78 w 378"/>
                    <a:gd name="T79" fmla="*/ 258 h 264"/>
                    <a:gd name="T80" fmla="*/ 60 w 378"/>
                    <a:gd name="T81" fmla="*/ 264 h 264"/>
                    <a:gd name="T82" fmla="*/ 54 w 378"/>
                    <a:gd name="T83" fmla="*/ 234 h 264"/>
                    <a:gd name="T84" fmla="*/ 84 w 378"/>
                    <a:gd name="T85" fmla="*/ 210 h 264"/>
                    <a:gd name="T86" fmla="*/ 90 w 378"/>
                    <a:gd name="T87" fmla="*/ 186 h 264"/>
                    <a:gd name="T88" fmla="*/ 78 w 378"/>
                    <a:gd name="T89" fmla="*/ 156 h 264"/>
                    <a:gd name="T90" fmla="*/ 66 w 378"/>
                    <a:gd name="T91" fmla="*/ 138 h 264"/>
                    <a:gd name="T92" fmla="*/ 42 w 378"/>
                    <a:gd name="T93" fmla="*/ 114 h 264"/>
                    <a:gd name="T94" fmla="*/ 6 w 378"/>
                    <a:gd name="T95" fmla="*/ 66 h 264"/>
                    <a:gd name="T96" fmla="*/ 0 w 378"/>
                    <a:gd name="T97" fmla="*/ 0 h 264"/>
                    <a:gd name="T98" fmla="*/ 0 w 378"/>
                    <a:gd name="T99" fmla="*/ 0 h 264"/>
                    <a:gd name="T100" fmla="*/ 0 w 378"/>
                    <a:gd name="T101" fmla="*/ 0 h 264"/>
                    <a:gd name="T102" fmla="*/ 0 w 378"/>
                    <a:gd name="T103" fmla="*/ 0 h 264"/>
                    <a:gd name="T104" fmla="*/ 0 w 378"/>
                    <a:gd name="T105" fmla="*/ 0 h 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78" h="264">
                      <a:moveTo>
                        <a:pt x="0" y="0"/>
                      </a:moveTo>
                      <a:lnTo>
                        <a:pt x="12" y="6"/>
                      </a:lnTo>
                      <a:lnTo>
                        <a:pt x="30" y="18"/>
                      </a:lnTo>
                      <a:lnTo>
                        <a:pt x="48" y="30"/>
                      </a:lnTo>
                      <a:lnTo>
                        <a:pt x="78" y="54"/>
                      </a:lnTo>
                      <a:lnTo>
                        <a:pt x="108" y="72"/>
                      </a:lnTo>
                      <a:lnTo>
                        <a:pt x="126" y="90"/>
                      </a:lnTo>
                      <a:lnTo>
                        <a:pt x="138" y="96"/>
                      </a:lnTo>
                      <a:lnTo>
                        <a:pt x="138" y="102"/>
                      </a:lnTo>
                      <a:lnTo>
                        <a:pt x="144" y="108"/>
                      </a:lnTo>
                      <a:lnTo>
                        <a:pt x="156" y="114"/>
                      </a:lnTo>
                      <a:lnTo>
                        <a:pt x="174" y="120"/>
                      </a:lnTo>
                      <a:lnTo>
                        <a:pt x="186" y="132"/>
                      </a:lnTo>
                      <a:lnTo>
                        <a:pt x="210" y="138"/>
                      </a:lnTo>
                      <a:lnTo>
                        <a:pt x="228" y="150"/>
                      </a:lnTo>
                      <a:lnTo>
                        <a:pt x="264" y="162"/>
                      </a:lnTo>
                      <a:lnTo>
                        <a:pt x="288" y="174"/>
                      </a:lnTo>
                      <a:lnTo>
                        <a:pt x="330" y="180"/>
                      </a:lnTo>
                      <a:lnTo>
                        <a:pt x="354" y="180"/>
                      </a:lnTo>
                      <a:lnTo>
                        <a:pt x="366" y="186"/>
                      </a:lnTo>
                      <a:lnTo>
                        <a:pt x="378" y="192"/>
                      </a:lnTo>
                      <a:lnTo>
                        <a:pt x="378" y="198"/>
                      </a:lnTo>
                      <a:lnTo>
                        <a:pt x="372" y="210"/>
                      </a:lnTo>
                      <a:lnTo>
                        <a:pt x="366" y="216"/>
                      </a:lnTo>
                      <a:lnTo>
                        <a:pt x="360" y="228"/>
                      </a:lnTo>
                      <a:lnTo>
                        <a:pt x="342" y="228"/>
                      </a:lnTo>
                      <a:lnTo>
                        <a:pt x="330" y="234"/>
                      </a:lnTo>
                      <a:lnTo>
                        <a:pt x="312" y="234"/>
                      </a:lnTo>
                      <a:lnTo>
                        <a:pt x="294" y="234"/>
                      </a:lnTo>
                      <a:lnTo>
                        <a:pt x="282" y="234"/>
                      </a:lnTo>
                      <a:lnTo>
                        <a:pt x="276" y="240"/>
                      </a:lnTo>
                      <a:lnTo>
                        <a:pt x="270" y="240"/>
                      </a:lnTo>
                      <a:lnTo>
                        <a:pt x="258" y="240"/>
                      </a:lnTo>
                      <a:lnTo>
                        <a:pt x="240" y="240"/>
                      </a:lnTo>
                      <a:lnTo>
                        <a:pt x="222" y="234"/>
                      </a:lnTo>
                      <a:lnTo>
                        <a:pt x="198" y="234"/>
                      </a:lnTo>
                      <a:lnTo>
                        <a:pt x="156" y="234"/>
                      </a:lnTo>
                      <a:lnTo>
                        <a:pt x="126" y="246"/>
                      </a:lnTo>
                      <a:lnTo>
                        <a:pt x="96" y="258"/>
                      </a:lnTo>
                      <a:lnTo>
                        <a:pt x="78" y="258"/>
                      </a:lnTo>
                      <a:lnTo>
                        <a:pt x="60" y="264"/>
                      </a:lnTo>
                      <a:lnTo>
                        <a:pt x="54" y="234"/>
                      </a:lnTo>
                      <a:lnTo>
                        <a:pt x="84" y="210"/>
                      </a:lnTo>
                      <a:lnTo>
                        <a:pt x="90" y="186"/>
                      </a:lnTo>
                      <a:lnTo>
                        <a:pt x="78" y="156"/>
                      </a:lnTo>
                      <a:lnTo>
                        <a:pt x="66" y="138"/>
                      </a:lnTo>
                      <a:lnTo>
                        <a:pt x="42" y="114"/>
                      </a:lnTo>
                      <a:lnTo>
                        <a:pt x="6" y="66"/>
                      </a:lnTo>
                      <a:lnTo>
                        <a:pt x="0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7" name="Freeform 258">
                  <a:extLst>
                    <a:ext uri="{FF2B5EF4-FFF2-40B4-BE49-F238E27FC236}">
                      <a16:creationId xmlns:a16="http://schemas.microsoft.com/office/drawing/2014/main" id="{65E0C823-A8F8-43BB-8837-E438129058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577" y="10446"/>
                  <a:ext cx="306" cy="396"/>
                </a:xfrm>
                <a:custGeom>
                  <a:avLst/>
                  <a:gdLst>
                    <a:gd name="T0" fmla="*/ 168 w 306"/>
                    <a:gd name="T1" fmla="*/ 0 h 396"/>
                    <a:gd name="T2" fmla="*/ 186 w 306"/>
                    <a:gd name="T3" fmla="*/ 24 h 396"/>
                    <a:gd name="T4" fmla="*/ 192 w 306"/>
                    <a:gd name="T5" fmla="*/ 60 h 396"/>
                    <a:gd name="T6" fmla="*/ 198 w 306"/>
                    <a:gd name="T7" fmla="*/ 90 h 396"/>
                    <a:gd name="T8" fmla="*/ 216 w 306"/>
                    <a:gd name="T9" fmla="*/ 114 h 396"/>
                    <a:gd name="T10" fmla="*/ 222 w 306"/>
                    <a:gd name="T11" fmla="*/ 180 h 396"/>
                    <a:gd name="T12" fmla="*/ 282 w 306"/>
                    <a:gd name="T13" fmla="*/ 252 h 396"/>
                    <a:gd name="T14" fmla="*/ 306 w 306"/>
                    <a:gd name="T15" fmla="*/ 300 h 396"/>
                    <a:gd name="T16" fmla="*/ 270 w 306"/>
                    <a:gd name="T17" fmla="*/ 348 h 396"/>
                    <a:gd name="T18" fmla="*/ 252 w 306"/>
                    <a:gd name="T19" fmla="*/ 384 h 396"/>
                    <a:gd name="T20" fmla="*/ 210 w 306"/>
                    <a:gd name="T21" fmla="*/ 396 h 396"/>
                    <a:gd name="T22" fmla="*/ 138 w 306"/>
                    <a:gd name="T23" fmla="*/ 390 h 396"/>
                    <a:gd name="T24" fmla="*/ 60 w 306"/>
                    <a:gd name="T25" fmla="*/ 390 h 396"/>
                    <a:gd name="T26" fmla="*/ 18 w 306"/>
                    <a:gd name="T27" fmla="*/ 366 h 396"/>
                    <a:gd name="T28" fmla="*/ 0 w 306"/>
                    <a:gd name="T29" fmla="*/ 342 h 396"/>
                    <a:gd name="T30" fmla="*/ 6 w 306"/>
                    <a:gd name="T31" fmla="*/ 324 h 396"/>
                    <a:gd name="T32" fmla="*/ 30 w 306"/>
                    <a:gd name="T33" fmla="*/ 312 h 396"/>
                    <a:gd name="T34" fmla="*/ 66 w 306"/>
                    <a:gd name="T35" fmla="*/ 312 h 396"/>
                    <a:gd name="T36" fmla="*/ 114 w 306"/>
                    <a:gd name="T37" fmla="*/ 306 h 396"/>
                    <a:gd name="T38" fmla="*/ 132 w 306"/>
                    <a:gd name="T39" fmla="*/ 306 h 396"/>
                    <a:gd name="T40" fmla="*/ 144 w 306"/>
                    <a:gd name="T41" fmla="*/ 324 h 396"/>
                    <a:gd name="T42" fmla="*/ 162 w 306"/>
                    <a:gd name="T43" fmla="*/ 342 h 396"/>
                    <a:gd name="T44" fmla="*/ 180 w 306"/>
                    <a:gd name="T45" fmla="*/ 342 h 396"/>
                    <a:gd name="T46" fmla="*/ 210 w 306"/>
                    <a:gd name="T47" fmla="*/ 330 h 396"/>
                    <a:gd name="T48" fmla="*/ 234 w 306"/>
                    <a:gd name="T49" fmla="*/ 318 h 396"/>
                    <a:gd name="T50" fmla="*/ 246 w 306"/>
                    <a:gd name="T51" fmla="*/ 306 h 396"/>
                    <a:gd name="T52" fmla="*/ 246 w 306"/>
                    <a:gd name="T53" fmla="*/ 294 h 396"/>
                    <a:gd name="T54" fmla="*/ 228 w 306"/>
                    <a:gd name="T55" fmla="*/ 276 h 396"/>
                    <a:gd name="T56" fmla="*/ 168 w 306"/>
                    <a:gd name="T57" fmla="*/ 252 h 396"/>
                    <a:gd name="T58" fmla="*/ 102 w 306"/>
                    <a:gd name="T59" fmla="*/ 222 h 396"/>
                    <a:gd name="T60" fmla="*/ 102 w 306"/>
                    <a:gd name="T61" fmla="*/ 198 h 396"/>
                    <a:gd name="T62" fmla="*/ 120 w 306"/>
                    <a:gd name="T63" fmla="*/ 186 h 396"/>
                    <a:gd name="T64" fmla="*/ 132 w 306"/>
                    <a:gd name="T65" fmla="*/ 174 h 396"/>
                    <a:gd name="T66" fmla="*/ 126 w 306"/>
                    <a:gd name="T67" fmla="*/ 156 h 396"/>
                    <a:gd name="T68" fmla="*/ 108 w 306"/>
                    <a:gd name="T69" fmla="*/ 138 h 396"/>
                    <a:gd name="T70" fmla="*/ 84 w 306"/>
                    <a:gd name="T71" fmla="*/ 144 h 396"/>
                    <a:gd name="T72" fmla="*/ 60 w 306"/>
                    <a:gd name="T73" fmla="*/ 150 h 396"/>
                    <a:gd name="T74" fmla="*/ 48 w 306"/>
                    <a:gd name="T75" fmla="*/ 132 h 396"/>
                    <a:gd name="T76" fmla="*/ 42 w 306"/>
                    <a:gd name="T77" fmla="*/ 102 h 396"/>
                    <a:gd name="T78" fmla="*/ 48 w 306"/>
                    <a:gd name="T79" fmla="*/ 72 h 396"/>
                    <a:gd name="T80" fmla="*/ 60 w 306"/>
                    <a:gd name="T81" fmla="*/ 60 h 396"/>
                    <a:gd name="T82" fmla="*/ 78 w 306"/>
                    <a:gd name="T83" fmla="*/ 48 h 396"/>
                    <a:gd name="T84" fmla="*/ 96 w 306"/>
                    <a:gd name="T85" fmla="*/ 24 h 396"/>
                    <a:gd name="T86" fmla="*/ 108 w 306"/>
                    <a:gd name="T87" fmla="*/ 18 h 396"/>
                    <a:gd name="T88" fmla="*/ 126 w 306"/>
                    <a:gd name="T89" fmla="*/ 18 h 396"/>
                    <a:gd name="T90" fmla="*/ 150 w 306"/>
                    <a:gd name="T91" fmla="*/ 6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306" h="396">
                      <a:moveTo>
                        <a:pt x="162" y="0"/>
                      </a:moveTo>
                      <a:lnTo>
                        <a:pt x="168" y="0"/>
                      </a:lnTo>
                      <a:lnTo>
                        <a:pt x="180" y="12"/>
                      </a:lnTo>
                      <a:lnTo>
                        <a:pt x="186" y="24"/>
                      </a:lnTo>
                      <a:lnTo>
                        <a:pt x="192" y="42"/>
                      </a:lnTo>
                      <a:lnTo>
                        <a:pt x="192" y="60"/>
                      </a:lnTo>
                      <a:lnTo>
                        <a:pt x="192" y="78"/>
                      </a:lnTo>
                      <a:lnTo>
                        <a:pt x="198" y="90"/>
                      </a:lnTo>
                      <a:lnTo>
                        <a:pt x="204" y="102"/>
                      </a:lnTo>
                      <a:lnTo>
                        <a:pt x="216" y="114"/>
                      </a:lnTo>
                      <a:lnTo>
                        <a:pt x="216" y="114"/>
                      </a:lnTo>
                      <a:lnTo>
                        <a:pt x="222" y="180"/>
                      </a:lnTo>
                      <a:lnTo>
                        <a:pt x="258" y="228"/>
                      </a:lnTo>
                      <a:lnTo>
                        <a:pt x="282" y="252"/>
                      </a:lnTo>
                      <a:lnTo>
                        <a:pt x="294" y="270"/>
                      </a:lnTo>
                      <a:lnTo>
                        <a:pt x="306" y="300"/>
                      </a:lnTo>
                      <a:lnTo>
                        <a:pt x="300" y="324"/>
                      </a:lnTo>
                      <a:lnTo>
                        <a:pt x="270" y="348"/>
                      </a:lnTo>
                      <a:lnTo>
                        <a:pt x="276" y="378"/>
                      </a:lnTo>
                      <a:lnTo>
                        <a:pt x="252" y="384"/>
                      </a:lnTo>
                      <a:lnTo>
                        <a:pt x="228" y="390"/>
                      </a:lnTo>
                      <a:lnTo>
                        <a:pt x="210" y="396"/>
                      </a:lnTo>
                      <a:lnTo>
                        <a:pt x="180" y="396"/>
                      </a:lnTo>
                      <a:lnTo>
                        <a:pt x="138" y="390"/>
                      </a:lnTo>
                      <a:lnTo>
                        <a:pt x="90" y="390"/>
                      </a:lnTo>
                      <a:lnTo>
                        <a:pt x="60" y="390"/>
                      </a:lnTo>
                      <a:lnTo>
                        <a:pt x="42" y="378"/>
                      </a:lnTo>
                      <a:lnTo>
                        <a:pt x="18" y="366"/>
                      </a:lnTo>
                      <a:lnTo>
                        <a:pt x="6" y="354"/>
                      </a:lnTo>
                      <a:lnTo>
                        <a:pt x="0" y="342"/>
                      </a:lnTo>
                      <a:lnTo>
                        <a:pt x="0" y="330"/>
                      </a:lnTo>
                      <a:lnTo>
                        <a:pt x="6" y="324"/>
                      </a:lnTo>
                      <a:lnTo>
                        <a:pt x="18" y="318"/>
                      </a:lnTo>
                      <a:lnTo>
                        <a:pt x="30" y="312"/>
                      </a:lnTo>
                      <a:lnTo>
                        <a:pt x="42" y="312"/>
                      </a:lnTo>
                      <a:lnTo>
                        <a:pt x="66" y="312"/>
                      </a:lnTo>
                      <a:lnTo>
                        <a:pt x="90" y="312"/>
                      </a:lnTo>
                      <a:lnTo>
                        <a:pt x="114" y="306"/>
                      </a:lnTo>
                      <a:lnTo>
                        <a:pt x="126" y="300"/>
                      </a:lnTo>
                      <a:lnTo>
                        <a:pt x="132" y="306"/>
                      </a:lnTo>
                      <a:lnTo>
                        <a:pt x="144" y="312"/>
                      </a:lnTo>
                      <a:lnTo>
                        <a:pt x="144" y="324"/>
                      </a:lnTo>
                      <a:lnTo>
                        <a:pt x="156" y="336"/>
                      </a:lnTo>
                      <a:lnTo>
                        <a:pt x="162" y="342"/>
                      </a:lnTo>
                      <a:lnTo>
                        <a:pt x="168" y="342"/>
                      </a:lnTo>
                      <a:lnTo>
                        <a:pt x="180" y="342"/>
                      </a:lnTo>
                      <a:lnTo>
                        <a:pt x="198" y="336"/>
                      </a:lnTo>
                      <a:lnTo>
                        <a:pt x="210" y="330"/>
                      </a:lnTo>
                      <a:lnTo>
                        <a:pt x="222" y="324"/>
                      </a:lnTo>
                      <a:lnTo>
                        <a:pt x="234" y="318"/>
                      </a:lnTo>
                      <a:lnTo>
                        <a:pt x="246" y="312"/>
                      </a:lnTo>
                      <a:lnTo>
                        <a:pt x="246" y="306"/>
                      </a:lnTo>
                      <a:lnTo>
                        <a:pt x="252" y="300"/>
                      </a:lnTo>
                      <a:lnTo>
                        <a:pt x="246" y="294"/>
                      </a:lnTo>
                      <a:lnTo>
                        <a:pt x="240" y="282"/>
                      </a:lnTo>
                      <a:lnTo>
                        <a:pt x="228" y="276"/>
                      </a:lnTo>
                      <a:lnTo>
                        <a:pt x="216" y="270"/>
                      </a:lnTo>
                      <a:lnTo>
                        <a:pt x="168" y="252"/>
                      </a:lnTo>
                      <a:lnTo>
                        <a:pt x="114" y="228"/>
                      </a:lnTo>
                      <a:lnTo>
                        <a:pt x="102" y="222"/>
                      </a:lnTo>
                      <a:lnTo>
                        <a:pt x="96" y="210"/>
                      </a:lnTo>
                      <a:lnTo>
                        <a:pt x="102" y="198"/>
                      </a:lnTo>
                      <a:lnTo>
                        <a:pt x="108" y="192"/>
                      </a:lnTo>
                      <a:lnTo>
                        <a:pt x="120" y="186"/>
                      </a:lnTo>
                      <a:lnTo>
                        <a:pt x="126" y="180"/>
                      </a:lnTo>
                      <a:lnTo>
                        <a:pt x="132" y="174"/>
                      </a:lnTo>
                      <a:lnTo>
                        <a:pt x="132" y="168"/>
                      </a:lnTo>
                      <a:lnTo>
                        <a:pt x="126" y="156"/>
                      </a:lnTo>
                      <a:lnTo>
                        <a:pt x="114" y="144"/>
                      </a:lnTo>
                      <a:lnTo>
                        <a:pt x="108" y="138"/>
                      </a:lnTo>
                      <a:lnTo>
                        <a:pt x="96" y="144"/>
                      </a:lnTo>
                      <a:lnTo>
                        <a:pt x="84" y="144"/>
                      </a:lnTo>
                      <a:lnTo>
                        <a:pt x="72" y="150"/>
                      </a:lnTo>
                      <a:lnTo>
                        <a:pt x="60" y="150"/>
                      </a:lnTo>
                      <a:lnTo>
                        <a:pt x="54" y="144"/>
                      </a:lnTo>
                      <a:lnTo>
                        <a:pt x="48" y="132"/>
                      </a:lnTo>
                      <a:lnTo>
                        <a:pt x="42" y="114"/>
                      </a:lnTo>
                      <a:lnTo>
                        <a:pt x="42" y="102"/>
                      </a:lnTo>
                      <a:lnTo>
                        <a:pt x="48" y="84"/>
                      </a:lnTo>
                      <a:lnTo>
                        <a:pt x="48" y="72"/>
                      </a:lnTo>
                      <a:lnTo>
                        <a:pt x="54" y="66"/>
                      </a:lnTo>
                      <a:lnTo>
                        <a:pt x="60" y="60"/>
                      </a:lnTo>
                      <a:lnTo>
                        <a:pt x="72" y="54"/>
                      </a:lnTo>
                      <a:lnTo>
                        <a:pt x="78" y="48"/>
                      </a:lnTo>
                      <a:lnTo>
                        <a:pt x="90" y="36"/>
                      </a:lnTo>
                      <a:lnTo>
                        <a:pt x="96" y="24"/>
                      </a:lnTo>
                      <a:lnTo>
                        <a:pt x="102" y="24"/>
                      </a:lnTo>
                      <a:lnTo>
                        <a:pt x="108" y="18"/>
                      </a:lnTo>
                      <a:lnTo>
                        <a:pt x="120" y="18"/>
                      </a:lnTo>
                      <a:lnTo>
                        <a:pt x="126" y="18"/>
                      </a:lnTo>
                      <a:lnTo>
                        <a:pt x="138" y="12"/>
                      </a:lnTo>
                      <a:lnTo>
                        <a:pt x="150" y="6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8" name="Freeform 259">
                  <a:extLst>
                    <a:ext uri="{FF2B5EF4-FFF2-40B4-BE49-F238E27FC236}">
                      <a16:creationId xmlns:a16="http://schemas.microsoft.com/office/drawing/2014/main" id="{D805174C-4FC6-42CB-9453-9D3117B48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503" y="3570"/>
                  <a:ext cx="300" cy="186"/>
                </a:xfrm>
                <a:custGeom>
                  <a:avLst/>
                  <a:gdLst>
                    <a:gd name="T0" fmla="*/ 126 w 300"/>
                    <a:gd name="T1" fmla="*/ 0 h 186"/>
                    <a:gd name="T2" fmla="*/ 162 w 300"/>
                    <a:gd name="T3" fmla="*/ 0 h 186"/>
                    <a:gd name="T4" fmla="*/ 198 w 300"/>
                    <a:gd name="T5" fmla="*/ 6 h 186"/>
                    <a:gd name="T6" fmla="*/ 228 w 300"/>
                    <a:gd name="T7" fmla="*/ 6 h 186"/>
                    <a:gd name="T8" fmla="*/ 246 w 300"/>
                    <a:gd name="T9" fmla="*/ 6 h 186"/>
                    <a:gd name="T10" fmla="*/ 264 w 300"/>
                    <a:gd name="T11" fmla="*/ 6 h 186"/>
                    <a:gd name="T12" fmla="*/ 276 w 300"/>
                    <a:gd name="T13" fmla="*/ 12 h 186"/>
                    <a:gd name="T14" fmla="*/ 288 w 300"/>
                    <a:gd name="T15" fmla="*/ 18 h 186"/>
                    <a:gd name="T16" fmla="*/ 294 w 300"/>
                    <a:gd name="T17" fmla="*/ 30 h 186"/>
                    <a:gd name="T18" fmla="*/ 300 w 300"/>
                    <a:gd name="T19" fmla="*/ 48 h 186"/>
                    <a:gd name="T20" fmla="*/ 294 w 300"/>
                    <a:gd name="T21" fmla="*/ 66 h 186"/>
                    <a:gd name="T22" fmla="*/ 288 w 300"/>
                    <a:gd name="T23" fmla="*/ 84 h 186"/>
                    <a:gd name="T24" fmla="*/ 282 w 300"/>
                    <a:gd name="T25" fmla="*/ 96 h 186"/>
                    <a:gd name="T26" fmla="*/ 270 w 300"/>
                    <a:gd name="T27" fmla="*/ 108 h 186"/>
                    <a:gd name="T28" fmla="*/ 264 w 300"/>
                    <a:gd name="T29" fmla="*/ 120 h 186"/>
                    <a:gd name="T30" fmla="*/ 258 w 300"/>
                    <a:gd name="T31" fmla="*/ 138 h 186"/>
                    <a:gd name="T32" fmla="*/ 240 w 300"/>
                    <a:gd name="T33" fmla="*/ 156 h 186"/>
                    <a:gd name="T34" fmla="*/ 216 w 300"/>
                    <a:gd name="T35" fmla="*/ 180 h 186"/>
                    <a:gd name="T36" fmla="*/ 174 w 300"/>
                    <a:gd name="T37" fmla="*/ 186 h 186"/>
                    <a:gd name="T38" fmla="*/ 120 w 300"/>
                    <a:gd name="T39" fmla="*/ 180 h 186"/>
                    <a:gd name="T40" fmla="*/ 108 w 300"/>
                    <a:gd name="T41" fmla="*/ 180 h 186"/>
                    <a:gd name="T42" fmla="*/ 90 w 300"/>
                    <a:gd name="T43" fmla="*/ 174 h 186"/>
                    <a:gd name="T44" fmla="*/ 78 w 300"/>
                    <a:gd name="T45" fmla="*/ 174 h 186"/>
                    <a:gd name="T46" fmla="*/ 66 w 300"/>
                    <a:gd name="T47" fmla="*/ 168 h 186"/>
                    <a:gd name="T48" fmla="*/ 48 w 300"/>
                    <a:gd name="T49" fmla="*/ 156 h 186"/>
                    <a:gd name="T50" fmla="*/ 30 w 300"/>
                    <a:gd name="T51" fmla="*/ 144 h 186"/>
                    <a:gd name="T52" fmla="*/ 18 w 300"/>
                    <a:gd name="T53" fmla="*/ 132 h 186"/>
                    <a:gd name="T54" fmla="*/ 6 w 300"/>
                    <a:gd name="T55" fmla="*/ 126 h 186"/>
                    <a:gd name="T56" fmla="*/ 0 w 300"/>
                    <a:gd name="T57" fmla="*/ 114 h 186"/>
                    <a:gd name="T58" fmla="*/ 0 w 300"/>
                    <a:gd name="T59" fmla="*/ 108 h 186"/>
                    <a:gd name="T60" fmla="*/ 6 w 300"/>
                    <a:gd name="T61" fmla="*/ 96 h 186"/>
                    <a:gd name="T62" fmla="*/ 18 w 300"/>
                    <a:gd name="T63" fmla="*/ 90 h 186"/>
                    <a:gd name="T64" fmla="*/ 30 w 300"/>
                    <a:gd name="T65" fmla="*/ 78 h 186"/>
                    <a:gd name="T66" fmla="*/ 54 w 300"/>
                    <a:gd name="T67" fmla="*/ 60 h 186"/>
                    <a:gd name="T68" fmla="*/ 66 w 300"/>
                    <a:gd name="T69" fmla="*/ 42 h 186"/>
                    <a:gd name="T70" fmla="*/ 84 w 300"/>
                    <a:gd name="T71" fmla="*/ 24 h 186"/>
                    <a:gd name="T72" fmla="*/ 102 w 300"/>
                    <a:gd name="T73" fmla="*/ 6 h 186"/>
                    <a:gd name="T74" fmla="*/ 126 w 300"/>
                    <a:gd name="T75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00" h="186">
                      <a:moveTo>
                        <a:pt x="126" y="0"/>
                      </a:moveTo>
                      <a:lnTo>
                        <a:pt x="162" y="0"/>
                      </a:lnTo>
                      <a:lnTo>
                        <a:pt x="198" y="6"/>
                      </a:lnTo>
                      <a:lnTo>
                        <a:pt x="228" y="6"/>
                      </a:lnTo>
                      <a:lnTo>
                        <a:pt x="246" y="6"/>
                      </a:lnTo>
                      <a:lnTo>
                        <a:pt x="264" y="6"/>
                      </a:lnTo>
                      <a:lnTo>
                        <a:pt x="276" y="12"/>
                      </a:lnTo>
                      <a:lnTo>
                        <a:pt x="288" y="18"/>
                      </a:lnTo>
                      <a:lnTo>
                        <a:pt x="294" y="30"/>
                      </a:lnTo>
                      <a:lnTo>
                        <a:pt x="300" y="48"/>
                      </a:lnTo>
                      <a:lnTo>
                        <a:pt x="294" y="66"/>
                      </a:lnTo>
                      <a:lnTo>
                        <a:pt x="288" y="84"/>
                      </a:lnTo>
                      <a:lnTo>
                        <a:pt x="282" y="96"/>
                      </a:lnTo>
                      <a:lnTo>
                        <a:pt x="270" y="108"/>
                      </a:lnTo>
                      <a:lnTo>
                        <a:pt x="264" y="120"/>
                      </a:lnTo>
                      <a:lnTo>
                        <a:pt x="258" y="138"/>
                      </a:lnTo>
                      <a:lnTo>
                        <a:pt x="240" y="156"/>
                      </a:lnTo>
                      <a:lnTo>
                        <a:pt x="216" y="180"/>
                      </a:lnTo>
                      <a:lnTo>
                        <a:pt x="174" y="186"/>
                      </a:lnTo>
                      <a:lnTo>
                        <a:pt x="120" y="180"/>
                      </a:lnTo>
                      <a:lnTo>
                        <a:pt x="108" y="180"/>
                      </a:lnTo>
                      <a:lnTo>
                        <a:pt x="90" y="174"/>
                      </a:lnTo>
                      <a:lnTo>
                        <a:pt x="78" y="174"/>
                      </a:lnTo>
                      <a:lnTo>
                        <a:pt x="66" y="168"/>
                      </a:lnTo>
                      <a:lnTo>
                        <a:pt x="48" y="156"/>
                      </a:lnTo>
                      <a:lnTo>
                        <a:pt x="30" y="144"/>
                      </a:lnTo>
                      <a:lnTo>
                        <a:pt x="18" y="132"/>
                      </a:lnTo>
                      <a:lnTo>
                        <a:pt x="6" y="126"/>
                      </a:lnTo>
                      <a:lnTo>
                        <a:pt x="0" y="114"/>
                      </a:lnTo>
                      <a:lnTo>
                        <a:pt x="0" y="108"/>
                      </a:lnTo>
                      <a:lnTo>
                        <a:pt x="6" y="96"/>
                      </a:lnTo>
                      <a:lnTo>
                        <a:pt x="18" y="90"/>
                      </a:lnTo>
                      <a:lnTo>
                        <a:pt x="30" y="78"/>
                      </a:lnTo>
                      <a:lnTo>
                        <a:pt x="54" y="60"/>
                      </a:lnTo>
                      <a:lnTo>
                        <a:pt x="66" y="42"/>
                      </a:lnTo>
                      <a:lnTo>
                        <a:pt x="84" y="24"/>
                      </a:lnTo>
                      <a:lnTo>
                        <a:pt x="102" y="6"/>
                      </a:lnTo>
                      <a:lnTo>
                        <a:pt x="126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39" name="Freeform 260">
                  <a:extLst>
                    <a:ext uri="{FF2B5EF4-FFF2-40B4-BE49-F238E27FC236}">
                      <a16:creationId xmlns:a16="http://schemas.microsoft.com/office/drawing/2014/main" id="{88E7DE8B-35E8-4165-BF5C-04F024CBF9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911" y="10722"/>
                  <a:ext cx="78" cy="48"/>
                </a:xfrm>
                <a:custGeom>
                  <a:avLst/>
                  <a:gdLst>
                    <a:gd name="T0" fmla="*/ 48 w 78"/>
                    <a:gd name="T1" fmla="*/ 0 h 48"/>
                    <a:gd name="T2" fmla="*/ 66 w 78"/>
                    <a:gd name="T3" fmla="*/ 6 h 48"/>
                    <a:gd name="T4" fmla="*/ 72 w 78"/>
                    <a:gd name="T5" fmla="*/ 12 h 48"/>
                    <a:gd name="T6" fmla="*/ 78 w 78"/>
                    <a:gd name="T7" fmla="*/ 18 h 48"/>
                    <a:gd name="T8" fmla="*/ 72 w 78"/>
                    <a:gd name="T9" fmla="*/ 24 h 48"/>
                    <a:gd name="T10" fmla="*/ 66 w 78"/>
                    <a:gd name="T11" fmla="*/ 30 h 48"/>
                    <a:gd name="T12" fmla="*/ 54 w 78"/>
                    <a:gd name="T13" fmla="*/ 42 h 48"/>
                    <a:gd name="T14" fmla="*/ 36 w 78"/>
                    <a:gd name="T15" fmla="*/ 42 h 48"/>
                    <a:gd name="T16" fmla="*/ 18 w 78"/>
                    <a:gd name="T17" fmla="*/ 48 h 48"/>
                    <a:gd name="T18" fmla="*/ 12 w 78"/>
                    <a:gd name="T19" fmla="*/ 42 h 48"/>
                    <a:gd name="T20" fmla="*/ 0 w 78"/>
                    <a:gd name="T21" fmla="*/ 42 h 48"/>
                    <a:gd name="T22" fmla="*/ 0 w 78"/>
                    <a:gd name="T23" fmla="*/ 30 h 48"/>
                    <a:gd name="T24" fmla="*/ 0 w 78"/>
                    <a:gd name="T25" fmla="*/ 24 h 48"/>
                    <a:gd name="T26" fmla="*/ 6 w 78"/>
                    <a:gd name="T27" fmla="*/ 18 h 48"/>
                    <a:gd name="T28" fmla="*/ 12 w 78"/>
                    <a:gd name="T29" fmla="*/ 12 h 48"/>
                    <a:gd name="T30" fmla="*/ 18 w 78"/>
                    <a:gd name="T31" fmla="*/ 6 h 48"/>
                    <a:gd name="T32" fmla="*/ 30 w 78"/>
                    <a:gd name="T33" fmla="*/ 0 h 48"/>
                    <a:gd name="T34" fmla="*/ 48 w 78"/>
                    <a:gd name="T3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8" h="48">
                      <a:moveTo>
                        <a:pt x="48" y="0"/>
                      </a:moveTo>
                      <a:lnTo>
                        <a:pt x="66" y="6"/>
                      </a:lnTo>
                      <a:lnTo>
                        <a:pt x="72" y="12"/>
                      </a:lnTo>
                      <a:lnTo>
                        <a:pt x="78" y="18"/>
                      </a:lnTo>
                      <a:lnTo>
                        <a:pt x="72" y="24"/>
                      </a:lnTo>
                      <a:lnTo>
                        <a:pt x="66" y="30"/>
                      </a:lnTo>
                      <a:lnTo>
                        <a:pt x="54" y="42"/>
                      </a:lnTo>
                      <a:lnTo>
                        <a:pt x="36" y="42"/>
                      </a:lnTo>
                      <a:lnTo>
                        <a:pt x="18" y="48"/>
                      </a:lnTo>
                      <a:lnTo>
                        <a:pt x="12" y="42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0" y="24"/>
                      </a:lnTo>
                      <a:lnTo>
                        <a:pt x="6" y="18"/>
                      </a:lnTo>
                      <a:lnTo>
                        <a:pt x="12" y="12"/>
                      </a:lnTo>
                      <a:lnTo>
                        <a:pt x="18" y="6"/>
                      </a:lnTo>
                      <a:lnTo>
                        <a:pt x="30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0" name="Freeform 261">
                  <a:extLst>
                    <a:ext uri="{FF2B5EF4-FFF2-40B4-BE49-F238E27FC236}">
                      <a16:creationId xmlns:a16="http://schemas.microsoft.com/office/drawing/2014/main" id="{ADDAB14E-DFBD-4F67-9116-8259FD0B66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665" y="10212"/>
                  <a:ext cx="144" cy="96"/>
                </a:xfrm>
                <a:custGeom>
                  <a:avLst/>
                  <a:gdLst>
                    <a:gd name="T0" fmla="*/ 66 w 144"/>
                    <a:gd name="T1" fmla="*/ 0 h 96"/>
                    <a:gd name="T2" fmla="*/ 78 w 144"/>
                    <a:gd name="T3" fmla="*/ 6 h 96"/>
                    <a:gd name="T4" fmla="*/ 96 w 144"/>
                    <a:gd name="T5" fmla="*/ 6 h 96"/>
                    <a:gd name="T6" fmla="*/ 114 w 144"/>
                    <a:gd name="T7" fmla="*/ 6 h 96"/>
                    <a:gd name="T8" fmla="*/ 126 w 144"/>
                    <a:gd name="T9" fmla="*/ 12 h 96"/>
                    <a:gd name="T10" fmla="*/ 138 w 144"/>
                    <a:gd name="T11" fmla="*/ 12 h 96"/>
                    <a:gd name="T12" fmla="*/ 144 w 144"/>
                    <a:gd name="T13" fmla="*/ 18 h 96"/>
                    <a:gd name="T14" fmla="*/ 144 w 144"/>
                    <a:gd name="T15" fmla="*/ 30 h 96"/>
                    <a:gd name="T16" fmla="*/ 132 w 144"/>
                    <a:gd name="T17" fmla="*/ 42 h 96"/>
                    <a:gd name="T18" fmla="*/ 120 w 144"/>
                    <a:gd name="T19" fmla="*/ 54 h 96"/>
                    <a:gd name="T20" fmla="*/ 102 w 144"/>
                    <a:gd name="T21" fmla="*/ 66 h 96"/>
                    <a:gd name="T22" fmla="*/ 78 w 144"/>
                    <a:gd name="T23" fmla="*/ 72 h 96"/>
                    <a:gd name="T24" fmla="*/ 60 w 144"/>
                    <a:gd name="T25" fmla="*/ 84 h 96"/>
                    <a:gd name="T26" fmla="*/ 48 w 144"/>
                    <a:gd name="T27" fmla="*/ 90 h 96"/>
                    <a:gd name="T28" fmla="*/ 36 w 144"/>
                    <a:gd name="T29" fmla="*/ 90 h 96"/>
                    <a:gd name="T30" fmla="*/ 24 w 144"/>
                    <a:gd name="T31" fmla="*/ 96 h 96"/>
                    <a:gd name="T32" fmla="*/ 12 w 144"/>
                    <a:gd name="T33" fmla="*/ 96 h 96"/>
                    <a:gd name="T34" fmla="*/ 6 w 144"/>
                    <a:gd name="T35" fmla="*/ 96 h 96"/>
                    <a:gd name="T36" fmla="*/ 0 w 144"/>
                    <a:gd name="T37" fmla="*/ 90 h 96"/>
                    <a:gd name="T38" fmla="*/ 6 w 144"/>
                    <a:gd name="T39" fmla="*/ 90 h 96"/>
                    <a:gd name="T40" fmla="*/ 6 w 144"/>
                    <a:gd name="T41" fmla="*/ 84 h 96"/>
                    <a:gd name="T42" fmla="*/ 6 w 144"/>
                    <a:gd name="T43" fmla="*/ 72 h 96"/>
                    <a:gd name="T44" fmla="*/ 0 w 144"/>
                    <a:gd name="T45" fmla="*/ 66 h 96"/>
                    <a:gd name="T46" fmla="*/ 0 w 144"/>
                    <a:gd name="T47" fmla="*/ 60 h 96"/>
                    <a:gd name="T48" fmla="*/ 0 w 144"/>
                    <a:gd name="T49" fmla="*/ 54 h 96"/>
                    <a:gd name="T50" fmla="*/ 6 w 144"/>
                    <a:gd name="T51" fmla="*/ 48 h 96"/>
                    <a:gd name="T52" fmla="*/ 12 w 144"/>
                    <a:gd name="T53" fmla="*/ 42 h 96"/>
                    <a:gd name="T54" fmla="*/ 18 w 144"/>
                    <a:gd name="T55" fmla="*/ 36 h 96"/>
                    <a:gd name="T56" fmla="*/ 18 w 144"/>
                    <a:gd name="T57" fmla="*/ 24 h 96"/>
                    <a:gd name="T58" fmla="*/ 12 w 144"/>
                    <a:gd name="T59" fmla="*/ 18 h 96"/>
                    <a:gd name="T60" fmla="*/ 12 w 144"/>
                    <a:gd name="T61" fmla="*/ 12 h 96"/>
                    <a:gd name="T62" fmla="*/ 18 w 144"/>
                    <a:gd name="T63" fmla="*/ 6 h 96"/>
                    <a:gd name="T64" fmla="*/ 30 w 144"/>
                    <a:gd name="T65" fmla="*/ 6 h 96"/>
                    <a:gd name="T66" fmla="*/ 48 w 144"/>
                    <a:gd name="T67" fmla="*/ 6 h 96"/>
                    <a:gd name="T68" fmla="*/ 66 w 144"/>
                    <a:gd name="T69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4" h="96">
                      <a:moveTo>
                        <a:pt x="66" y="0"/>
                      </a:moveTo>
                      <a:lnTo>
                        <a:pt x="78" y="6"/>
                      </a:lnTo>
                      <a:lnTo>
                        <a:pt x="96" y="6"/>
                      </a:lnTo>
                      <a:lnTo>
                        <a:pt x="114" y="6"/>
                      </a:lnTo>
                      <a:lnTo>
                        <a:pt x="126" y="12"/>
                      </a:lnTo>
                      <a:lnTo>
                        <a:pt x="138" y="12"/>
                      </a:lnTo>
                      <a:lnTo>
                        <a:pt x="144" y="18"/>
                      </a:lnTo>
                      <a:lnTo>
                        <a:pt x="144" y="30"/>
                      </a:lnTo>
                      <a:lnTo>
                        <a:pt x="132" y="42"/>
                      </a:lnTo>
                      <a:lnTo>
                        <a:pt x="120" y="54"/>
                      </a:lnTo>
                      <a:lnTo>
                        <a:pt x="102" y="66"/>
                      </a:lnTo>
                      <a:lnTo>
                        <a:pt x="78" y="72"/>
                      </a:lnTo>
                      <a:lnTo>
                        <a:pt x="60" y="84"/>
                      </a:lnTo>
                      <a:lnTo>
                        <a:pt x="48" y="90"/>
                      </a:lnTo>
                      <a:lnTo>
                        <a:pt x="36" y="90"/>
                      </a:lnTo>
                      <a:lnTo>
                        <a:pt x="24" y="96"/>
                      </a:lnTo>
                      <a:lnTo>
                        <a:pt x="12" y="96"/>
                      </a:lnTo>
                      <a:lnTo>
                        <a:pt x="6" y="96"/>
                      </a:lnTo>
                      <a:lnTo>
                        <a:pt x="0" y="90"/>
                      </a:lnTo>
                      <a:lnTo>
                        <a:pt x="6" y="90"/>
                      </a:lnTo>
                      <a:lnTo>
                        <a:pt x="6" y="84"/>
                      </a:lnTo>
                      <a:lnTo>
                        <a:pt x="6" y="72"/>
                      </a:lnTo>
                      <a:lnTo>
                        <a:pt x="0" y="66"/>
                      </a:lnTo>
                      <a:lnTo>
                        <a:pt x="0" y="60"/>
                      </a:lnTo>
                      <a:lnTo>
                        <a:pt x="0" y="54"/>
                      </a:lnTo>
                      <a:lnTo>
                        <a:pt x="6" y="48"/>
                      </a:lnTo>
                      <a:lnTo>
                        <a:pt x="12" y="42"/>
                      </a:lnTo>
                      <a:lnTo>
                        <a:pt x="18" y="36"/>
                      </a:lnTo>
                      <a:lnTo>
                        <a:pt x="18" y="24"/>
                      </a:lnTo>
                      <a:lnTo>
                        <a:pt x="12" y="18"/>
                      </a:lnTo>
                      <a:lnTo>
                        <a:pt x="12" y="12"/>
                      </a:lnTo>
                      <a:lnTo>
                        <a:pt x="18" y="6"/>
                      </a:lnTo>
                      <a:lnTo>
                        <a:pt x="30" y="6"/>
                      </a:lnTo>
                      <a:lnTo>
                        <a:pt x="48" y="6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1" name="Freeform 262">
                  <a:extLst>
                    <a:ext uri="{FF2B5EF4-FFF2-40B4-BE49-F238E27FC236}">
                      <a16:creationId xmlns:a16="http://schemas.microsoft.com/office/drawing/2014/main" id="{38B8951E-A642-4DC2-9EB7-E8C3EE99F5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527" y="10200"/>
                  <a:ext cx="162" cy="138"/>
                </a:xfrm>
                <a:custGeom>
                  <a:avLst/>
                  <a:gdLst>
                    <a:gd name="T0" fmla="*/ 78 w 162"/>
                    <a:gd name="T1" fmla="*/ 0 h 138"/>
                    <a:gd name="T2" fmla="*/ 96 w 162"/>
                    <a:gd name="T3" fmla="*/ 6 h 138"/>
                    <a:gd name="T4" fmla="*/ 120 w 162"/>
                    <a:gd name="T5" fmla="*/ 12 h 138"/>
                    <a:gd name="T6" fmla="*/ 144 w 162"/>
                    <a:gd name="T7" fmla="*/ 24 h 138"/>
                    <a:gd name="T8" fmla="*/ 162 w 162"/>
                    <a:gd name="T9" fmla="*/ 36 h 138"/>
                    <a:gd name="T10" fmla="*/ 162 w 162"/>
                    <a:gd name="T11" fmla="*/ 48 h 138"/>
                    <a:gd name="T12" fmla="*/ 162 w 162"/>
                    <a:gd name="T13" fmla="*/ 54 h 138"/>
                    <a:gd name="T14" fmla="*/ 156 w 162"/>
                    <a:gd name="T15" fmla="*/ 66 h 138"/>
                    <a:gd name="T16" fmla="*/ 144 w 162"/>
                    <a:gd name="T17" fmla="*/ 72 h 138"/>
                    <a:gd name="T18" fmla="*/ 132 w 162"/>
                    <a:gd name="T19" fmla="*/ 78 h 138"/>
                    <a:gd name="T20" fmla="*/ 120 w 162"/>
                    <a:gd name="T21" fmla="*/ 84 h 138"/>
                    <a:gd name="T22" fmla="*/ 114 w 162"/>
                    <a:gd name="T23" fmla="*/ 84 h 138"/>
                    <a:gd name="T24" fmla="*/ 102 w 162"/>
                    <a:gd name="T25" fmla="*/ 90 h 138"/>
                    <a:gd name="T26" fmla="*/ 90 w 162"/>
                    <a:gd name="T27" fmla="*/ 96 h 138"/>
                    <a:gd name="T28" fmla="*/ 78 w 162"/>
                    <a:gd name="T29" fmla="*/ 114 h 138"/>
                    <a:gd name="T30" fmla="*/ 60 w 162"/>
                    <a:gd name="T31" fmla="*/ 126 h 138"/>
                    <a:gd name="T32" fmla="*/ 42 w 162"/>
                    <a:gd name="T33" fmla="*/ 138 h 138"/>
                    <a:gd name="T34" fmla="*/ 24 w 162"/>
                    <a:gd name="T35" fmla="*/ 138 h 138"/>
                    <a:gd name="T36" fmla="*/ 12 w 162"/>
                    <a:gd name="T37" fmla="*/ 138 h 138"/>
                    <a:gd name="T38" fmla="*/ 6 w 162"/>
                    <a:gd name="T39" fmla="*/ 132 h 138"/>
                    <a:gd name="T40" fmla="*/ 0 w 162"/>
                    <a:gd name="T41" fmla="*/ 126 h 138"/>
                    <a:gd name="T42" fmla="*/ 6 w 162"/>
                    <a:gd name="T43" fmla="*/ 120 h 138"/>
                    <a:gd name="T44" fmla="*/ 12 w 162"/>
                    <a:gd name="T45" fmla="*/ 114 h 138"/>
                    <a:gd name="T46" fmla="*/ 24 w 162"/>
                    <a:gd name="T47" fmla="*/ 102 h 138"/>
                    <a:gd name="T48" fmla="*/ 36 w 162"/>
                    <a:gd name="T49" fmla="*/ 84 h 138"/>
                    <a:gd name="T50" fmla="*/ 54 w 162"/>
                    <a:gd name="T51" fmla="*/ 72 h 138"/>
                    <a:gd name="T52" fmla="*/ 60 w 162"/>
                    <a:gd name="T53" fmla="*/ 60 h 138"/>
                    <a:gd name="T54" fmla="*/ 60 w 162"/>
                    <a:gd name="T55" fmla="*/ 48 h 138"/>
                    <a:gd name="T56" fmla="*/ 60 w 162"/>
                    <a:gd name="T57" fmla="*/ 36 h 138"/>
                    <a:gd name="T58" fmla="*/ 60 w 162"/>
                    <a:gd name="T59" fmla="*/ 24 h 138"/>
                    <a:gd name="T60" fmla="*/ 60 w 162"/>
                    <a:gd name="T61" fmla="*/ 12 h 138"/>
                    <a:gd name="T62" fmla="*/ 60 w 162"/>
                    <a:gd name="T63" fmla="*/ 12 h 138"/>
                    <a:gd name="T64" fmla="*/ 66 w 162"/>
                    <a:gd name="T65" fmla="*/ 6 h 138"/>
                    <a:gd name="T66" fmla="*/ 78 w 162"/>
                    <a:gd name="T67" fmla="*/ 0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62" h="138">
                      <a:moveTo>
                        <a:pt x="78" y="0"/>
                      </a:moveTo>
                      <a:lnTo>
                        <a:pt x="96" y="6"/>
                      </a:lnTo>
                      <a:lnTo>
                        <a:pt x="120" y="12"/>
                      </a:lnTo>
                      <a:lnTo>
                        <a:pt x="144" y="24"/>
                      </a:lnTo>
                      <a:lnTo>
                        <a:pt x="162" y="36"/>
                      </a:lnTo>
                      <a:lnTo>
                        <a:pt x="162" y="48"/>
                      </a:lnTo>
                      <a:lnTo>
                        <a:pt x="162" y="54"/>
                      </a:lnTo>
                      <a:lnTo>
                        <a:pt x="156" y="66"/>
                      </a:lnTo>
                      <a:lnTo>
                        <a:pt x="144" y="72"/>
                      </a:lnTo>
                      <a:lnTo>
                        <a:pt x="132" y="78"/>
                      </a:lnTo>
                      <a:lnTo>
                        <a:pt x="120" y="84"/>
                      </a:lnTo>
                      <a:lnTo>
                        <a:pt x="114" y="84"/>
                      </a:lnTo>
                      <a:lnTo>
                        <a:pt x="102" y="90"/>
                      </a:lnTo>
                      <a:lnTo>
                        <a:pt x="90" y="96"/>
                      </a:lnTo>
                      <a:lnTo>
                        <a:pt x="78" y="114"/>
                      </a:lnTo>
                      <a:lnTo>
                        <a:pt x="60" y="126"/>
                      </a:lnTo>
                      <a:lnTo>
                        <a:pt x="42" y="138"/>
                      </a:lnTo>
                      <a:lnTo>
                        <a:pt x="24" y="138"/>
                      </a:lnTo>
                      <a:lnTo>
                        <a:pt x="12" y="138"/>
                      </a:lnTo>
                      <a:lnTo>
                        <a:pt x="6" y="132"/>
                      </a:lnTo>
                      <a:lnTo>
                        <a:pt x="0" y="126"/>
                      </a:lnTo>
                      <a:lnTo>
                        <a:pt x="6" y="120"/>
                      </a:lnTo>
                      <a:lnTo>
                        <a:pt x="12" y="114"/>
                      </a:lnTo>
                      <a:lnTo>
                        <a:pt x="24" y="102"/>
                      </a:lnTo>
                      <a:lnTo>
                        <a:pt x="36" y="84"/>
                      </a:lnTo>
                      <a:lnTo>
                        <a:pt x="54" y="72"/>
                      </a:lnTo>
                      <a:lnTo>
                        <a:pt x="60" y="60"/>
                      </a:lnTo>
                      <a:lnTo>
                        <a:pt x="60" y="48"/>
                      </a:lnTo>
                      <a:lnTo>
                        <a:pt x="60" y="36"/>
                      </a:lnTo>
                      <a:lnTo>
                        <a:pt x="60" y="24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6" y="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2" name="Freeform 263">
                  <a:extLst>
                    <a:ext uri="{FF2B5EF4-FFF2-40B4-BE49-F238E27FC236}">
                      <a16:creationId xmlns:a16="http://schemas.microsoft.com/office/drawing/2014/main" id="{0E8BA456-2C75-4183-9BB9-3409E2661C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391" y="10854"/>
                  <a:ext cx="162" cy="102"/>
                </a:xfrm>
                <a:custGeom>
                  <a:avLst/>
                  <a:gdLst>
                    <a:gd name="T0" fmla="*/ 150 w 162"/>
                    <a:gd name="T1" fmla="*/ 0 h 102"/>
                    <a:gd name="T2" fmla="*/ 156 w 162"/>
                    <a:gd name="T3" fmla="*/ 6 h 102"/>
                    <a:gd name="T4" fmla="*/ 162 w 162"/>
                    <a:gd name="T5" fmla="*/ 12 h 102"/>
                    <a:gd name="T6" fmla="*/ 162 w 162"/>
                    <a:gd name="T7" fmla="*/ 24 h 102"/>
                    <a:gd name="T8" fmla="*/ 162 w 162"/>
                    <a:gd name="T9" fmla="*/ 36 h 102"/>
                    <a:gd name="T10" fmla="*/ 150 w 162"/>
                    <a:gd name="T11" fmla="*/ 42 h 102"/>
                    <a:gd name="T12" fmla="*/ 144 w 162"/>
                    <a:gd name="T13" fmla="*/ 54 h 102"/>
                    <a:gd name="T14" fmla="*/ 132 w 162"/>
                    <a:gd name="T15" fmla="*/ 60 h 102"/>
                    <a:gd name="T16" fmla="*/ 120 w 162"/>
                    <a:gd name="T17" fmla="*/ 66 h 102"/>
                    <a:gd name="T18" fmla="*/ 108 w 162"/>
                    <a:gd name="T19" fmla="*/ 78 h 102"/>
                    <a:gd name="T20" fmla="*/ 90 w 162"/>
                    <a:gd name="T21" fmla="*/ 84 h 102"/>
                    <a:gd name="T22" fmla="*/ 72 w 162"/>
                    <a:gd name="T23" fmla="*/ 96 h 102"/>
                    <a:gd name="T24" fmla="*/ 54 w 162"/>
                    <a:gd name="T25" fmla="*/ 102 h 102"/>
                    <a:gd name="T26" fmla="*/ 48 w 162"/>
                    <a:gd name="T27" fmla="*/ 102 h 102"/>
                    <a:gd name="T28" fmla="*/ 36 w 162"/>
                    <a:gd name="T29" fmla="*/ 96 h 102"/>
                    <a:gd name="T30" fmla="*/ 24 w 162"/>
                    <a:gd name="T31" fmla="*/ 90 h 102"/>
                    <a:gd name="T32" fmla="*/ 12 w 162"/>
                    <a:gd name="T33" fmla="*/ 84 h 102"/>
                    <a:gd name="T34" fmla="*/ 6 w 162"/>
                    <a:gd name="T35" fmla="*/ 78 h 102"/>
                    <a:gd name="T36" fmla="*/ 0 w 162"/>
                    <a:gd name="T37" fmla="*/ 66 h 102"/>
                    <a:gd name="T38" fmla="*/ 0 w 162"/>
                    <a:gd name="T39" fmla="*/ 60 h 102"/>
                    <a:gd name="T40" fmla="*/ 12 w 162"/>
                    <a:gd name="T41" fmla="*/ 54 h 102"/>
                    <a:gd name="T42" fmla="*/ 24 w 162"/>
                    <a:gd name="T43" fmla="*/ 48 h 102"/>
                    <a:gd name="T44" fmla="*/ 42 w 162"/>
                    <a:gd name="T45" fmla="*/ 42 h 102"/>
                    <a:gd name="T46" fmla="*/ 66 w 162"/>
                    <a:gd name="T47" fmla="*/ 30 h 102"/>
                    <a:gd name="T48" fmla="*/ 84 w 162"/>
                    <a:gd name="T49" fmla="*/ 24 h 102"/>
                    <a:gd name="T50" fmla="*/ 96 w 162"/>
                    <a:gd name="T51" fmla="*/ 24 h 102"/>
                    <a:gd name="T52" fmla="*/ 114 w 162"/>
                    <a:gd name="T53" fmla="*/ 18 h 102"/>
                    <a:gd name="T54" fmla="*/ 126 w 162"/>
                    <a:gd name="T55" fmla="*/ 12 h 102"/>
                    <a:gd name="T56" fmla="*/ 138 w 162"/>
                    <a:gd name="T57" fmla="*/ 6 h 102"/>
                    <a:gd name="T58" fmla="*/ 150 w 162"/>
                    <a:gd name="T59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62" h="102">
                      <a:moveTo>
                        <a:pt x="150" y="0"/>
                      </a:moveTo>
                      <a:lnTo>
                        <a:pt x="156" y="6"/>
                      </a:lnTo>
                      <a:lnTo>
                        <a:pt x="162" y="12"/>
                      </a:lnTo>
                      <a:lnTo>
                        <a:pt x="162" y="24"/>
                      </a:lnTo>
                      <a:lnTo>
                        <a:pt x="162" y="36"/>
                      </a:lnTo>
                      <a:lnTo>
                        <a:pt x="150" y="42"/>
                      </a:lnTo>
                      <a:lnTo>
                        <a:pt x="144" y="54"/>
                      </a:lnTo>
                      <a:lnTo>
                        <a:pt x="132" y="60"/>
                      </a:lnTo>
                      <a:lnTo>
                        <a:pt x="120" y="66"/>
                      </a:lnTo>
                      <a:lnTo>
                        <a:pt x="108" y="78"/>
                      </a:lnTo>
                      <a:lnTo>
                        <a:pt x="90" y="84"/>
                      </a:lnTo>
                      <a:lnTo>
                        <a:pt x="72" y="96"/>
                      </a:lnTo>
                      <a:lnTo>
                        <a:pt x="54" y="102"/>
                      </a:lnTo>
                      <a:lnTo>
                        <a:pt x="48" y="102"/>
                      </a:lnTo>
                      <a:lnTo>
                        <a:pt x="36" y="96"/>
                      </a:lnTo>
                      <a:lnTo>
                        <a:pt x="24" y="90"/>
                      </a:lnTo>
                      <a:lnTo>
                        <a:pt x="12" y="84"/>
                      </a:lnTo>
                      <a:lnTo>
                        <a:pt x="6" y="78"/>
                      </a:lnTo>
                      <a:lnTo>
                        <a:pt x="0" y="66"/>
                      </a:lnTo>
                      <a:lnTo>
                        <a:pt x="0" y="60"/>
                      </a:lnTo>
                      <a:lnTo>
                        <a:pt x="12" y="54"/>
                      </a:lnTo>
                      <a:lnTo>
                        <a:pt x="24" y="48"/>
                      </a:lnTo>
                      <a:lnTo>
                        <a:pt x="42" y="42"/>
                      </a:lnTo>
                      <a:lnTo>
                        <a:pt x="66" y="30"/>
                      </a:lnTo>
                      <a:lnTo>
                        <a:pt x="84" y="24"/>
                      </a:lnTo>
                      <a:lnTo>
                        <a:pt x="96" y="24"/>
                      </a:lnTo>
                      <a:lnTo>
                        <a:pt x="114" y="18"/>
                      </a:lnTo>
                      <a:lnTo>
                        <a:pt x="126" y="12"/>
                      </a:lnTo>
                      <a:lnTo>
                        <a:pt x="138" y="6"/>
                      </a:lnTo>
                      <a:lnTo>
                        <a:pt x="15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3" name="Freeform 264">
                  <a:extLst>
                    <a:ext uri="{FF2B5EF4-FFF2-40B4-BE49-F238E27FC236}">
                      <a16:creationId xmlns:a16="http://schemas.microsoft.com/office/drawing/2014/main" id="{4F2B894F-7026-45FB-A3FC-37471408CE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163" y="10842"/>
                  <a:ext cx="60" cy="42"/>
                </a:xfrm>
                <a:custGeom>
                  <a:avLst/>
                  <a:gdLst>
                    <a:gd name="T0" fmla="*/ 24 w 60"/>
                    <a:gd name="T1" fmla="*/ 0 h 42"/>
                    <a:gd name="T2" fmla="*/ 42 w 60"/>
                    <a:gd name="T3" fmla="*/ 6 h 42"/>
                    <a:gd name="T4" fmla="*/ 54 w 60"/>
                    <a:gd name="T5" fmla="*/ 6 h 42"/>
                    <a:gd name="T6" fmla="*/ 60 w 60"/>
                    <a:gd name="T7" fmla="*/ 12 h 42"/>
                    <a:gd name="T8" fmla="*/ 60 w 60"/>
                    <a:gd name="T9" fmla="*/ 24 h 42"/>
                    <a:gd name="T10" fmla="*/ 54 w 60"/>
                    <a:gd name="T11" fmla="*/ 30 h 42"/>
                    <a:gd name="T12" fmla="*/ 48 w 60"/>
                    <a:gd name="T13" fmla="*/ 36 h 42"/>
                    <a:gd name="T14" fmla="*/ 36 w 60"/>
                    <a:gd name="T15" fmla="*/ 42 h 42"/>
                    <a:gd name="T16" fmla="*/ 24 w 60"/>
                    <a:gd name="T17" fmla="*/ 42 h 42"/>
                    <a:gd name="T18" fmla="*/ 12 w 60"/>
                    <a:gd name="T19" fmla="*/ 42 h 42"/>
                    <a:gd name="T20" fmla="*/ 6 w 60"/>
                    <a:gd name="T21" fmla="*/ 36 h 42"/>
                    <a:gd name="T22" fmla="*/ 0 w 60"/>
                    <a:gd name="T23" fmla="*/ 30 h 42"/>
                    <a:gd name="T24" fmla="*/ 6 w 60"/>
                    <a:gd name="T25" fmla="*/ 24 h 42"/>
                    <a:gd name="T26" fmla="*/ 6 w 60"/>
                    <a:gd name="T27" fmla="*/ 18 h 42"/>
                    <a:gd name="T28" fmla="*/ 12 w 60"/>
                    <a:gd name="T29" fmla="*/ 12 h 42"/>
                    <a:gd name="T30" fmla="*/ 18 w 60"/>
                    <a:gd name="T31" fmla="*/ 6 h 42"/>
                    <a:gd name="T32" fmla="*/ 24 w 60"/>
                    <a:gd name="T33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" h="42">
                      <a:moveTo>
                        <a:pt x="24" y="0"/>
                      </a:moveTo>
                      <a:lnTo>
                        <a:pt x="42" y="6"/>
                      </a:lnTo>
                      <a:lnTo>
                        <a:pt x="54" y="6"/>
                      </a:lnTo>
                      <a:lnTo>
                        <a:pt x="60" y="12"/>
                      </a:lnTo>
                      <a:lnTo>
                        <a:pt x="60" y="24"/>
                      </a:lnTo>
                      <a:lnTo>
                        <a:pt x="54" y="30"/>
                      </a:lnTo>
                      <a:lnTo>
                        <a:pt x="48" y="36"/>
                      </a:lnTo>
                      <a:lnTo>
                        <a:pt x="36" y="42"/>
                      </a:lnTo>
                      <a:lnTo>
                        <a:pt x="24" y="42"/>
                      </a:lnTo>
                      <a:lnTo>
                        <a:pt x="12" y="42"/>
                      </a:lnTo>
                      <a:lnTo>
                        <a:pt x="6" y="36"/>
                      </a:lnTo>
                      <a:lnTo>
                        <a:pt x="0" y="30"/>
                      </a:lnTo>
                      <a:lnTo>
                        <a:pt x="6" y="24"/>
                      </a:lnTo>
                      <a:lnTo>
                        <a:pt x="6" y="18"/>
                      </a:lnTo>
                      <a:lnTo>
                        <a:pt x="12" y="12"/>
                      </a:lnTo>
                      <a:lnTo>
                        <a:pt x="18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4" name="Freeform 265">
                  <a:extLst>
                    <a:ext uri="{FF2B5EF4-FFF2-40B4-BE49-F238E27FC236}">
                      <a16:creationId xmlns:a16="http://schemas.microsoft.com/office/drawing/2014/main" id="{745B759B-5A69-4223-824F-01D34301C8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217" y="10944"/>
                  <a:ext cx="48" cy="48"/>
                </a:xfrm>
                <a:custGeom>
                  <a:avLst/>
                  <a:gdLst>
                    <a:gd name="T0" fmla="*/ 36 w 48"/>
                    <a:gd name="T1" fmla="*/ 0 h 48"/>
                    <a:gd name="T2" fmla="*/ 42 w 48"/>
                    <a:gd name="T3" fmla="*/ 0 h 48"/>
                    <a:gd name="T4" fmla="*/ 48 w 48"/>
                    <a:gd name="T5" fmla="*/ 6 h 48"/>
                    <a:gd name="T6" fmla="*/ 48 w 48"/>
                    <a:gd name="T7" fmla="*/ 12 h 48"/>
                    <a:gd name="T8" fmla="*/ 48 w 48"/>
                    <a:gd name="T9" fmla="*/ 24 h 48"/>
                    <a:gd name="T10" fmla="*/ 42 w 48"/>
                    <a:gd name="T11" fmla="*/ 30 h 48"/>
                    <a:gd name="T12" fmla="*/ 30 w 48"/>
                    <a:gd name="T13" fmla="*/ 36 h 48"/>
                    <a:gd name="T14" fmla="*/ 24 w 48"/>
                    <a:gd name="T15" fmla="*/ 42 h 48"/>
                    <a:gd name="T16" fmla="*/ 12 w 48"/>
                    <a:gd name="T17" fmla="*/ 48 h 48"/>
                    <a:gd name="T18" fmla="*/ 6 w 48"/>
                    <a:gd name="T19" fmla="*/ 42 h 48"/>
                    <a:gd name="T20" fmla="*/ 0 w 48"/>
                    <a:gd name="T21" fmla="*/ 36 h 48"/>
                    <a:gd name="T22" fmla="*/ 0 w 48"/>
                    <a:gd name="T23" fmla="*/ 24 h 48"/>
                    <a:gd name="T24" fmla="*/ 0 w 48"/>
                    <a:gd name="T25" fmla="*/ 18 h 48"/>
                    <a:gd name="T26" fmla="*/ 0 w 48"/>
                    <a:gd name="T27" fmla="*/ 6 h 48"/>
                    <a:gd name="T28" fmla="*/ 6 w 48"/>
                    <a:gd name="T29" fmla="*/ 0 h 48"/>
                    <a:gd name="T30" fmla="*/ 24 w 48"/>
                    <a:gd name="T31" fmla="*/ 0 h 48"/>
                    <a:gd name="T32" fmla="*/ 36 w 48"/>
                    <a:gd name="T33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8" h="48">
                      <a:moveTo>
                        <a:pt x="36" y="0"/>
                      </a:moveTo>
                      <a:lnTo>
                        <a:pt x="42" y="0"/>
                      </a:lnTo>
                      <a:lnTo>
                        <a:pt x="48" y="6"/>
                      </a:lnTo>
                      <a:lnTo>
                        <a:pt x="48" y="12"/>
                      </a:lnTo>
                      <a:lnTo>
                        <a:pt x="48" y="24"/>
                      </a:lnTo>
                      <a:lnTo>
                        <a:pt x="42" y="30"/>
                      </a:lnTo>
                      <a:lnTo>
                        <a:pt x="30" y="36"/>
                      </a:lnTo>
                      <a:lnTo>
                        <a:pt x="24" y="42"/>
                      </a:lnTo>
                      <a:lnTo>
                        <a:pt x="12" y="48"/>
                      </a:lnTo>
                      <a:lnTo>
                        <a:pt x="6" y="42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24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5" name="Freeform 266">
                  <a:extLst>
                    <a:ext uri="{FF2B5EF4-FFF2-40B4-BE49-F238E27FC236}">
                      <a16:creationId xmlns:a16="http://schemas.microsoft.com/office/drawing/2014/main" id="{AA1DFA9F-E42F-4F0E-8D83-47CCCB839C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91" y="10740"/>
                  <a:ext cx="48" cy="42"/>
                </a:xfrm>
                <a:custGeom>
                  <a:avLst/>
                  <a:gdLst>
                    <a:gd name="T0" fmla="*/ 12 w 48"/>
                    <a:gd name="T1" fmla="*/ 0 h 42"/>
                    <a:gd name="T2" fmla="*/ 30 w 48"/>
                    <a:gd name="T3" fmla="*/ 0 h 42"/>
                    <a:gd name="T4" fmla="*/ 36 w 48"/>
                    <a:gd name="T5" fmla="*/ 6 h 42"/>
                    <a:gd name="T6" fmla="*/ 42 w 48"/>
                    <a:gd name="T7" fmla="*/ 12 h 42"/>
                    <a:gd name="T8" fmla="*/ 48 w 48"/>
                    <a:gd name="T9" fmla="*/ 24 h 42"/>
                    <a:gd name="T10" fmla="*/ 48 w 48"/>
                    <a:gd name="T11" fmla="*/ 30 h 42"/>
                    <a:gd name="T12" fmla="*/ 42 w 48"/>
                    <a:gd name="T13" fmla="*/ 36 h 42"/>
                    <a:gd name="T14" fmla="*/ 36 w 48"/>
                    <a:gd name="T15" fmla="*/ 42 h 42"/>
                    <a:gd name="T16" fmla="*/ 30 w 48"/>
                    <a:gd name="T17" fmla="*/ 42 h 42"/>
                    <a:gd name="T18" fmla="*/ 18 w 48"/>
                    <a:gd name="T19" fmla="*/ 42 h 42"/>
                    <a:gd name="T20" fmla="*/ 6 w 48"/>
                    <a:gd name="T21" fmla="*/ 36 h 42"/>
                    <a:gd name="T22" fmla="*/ 0 w 48"/>
                    <a:gd name="T23" fmla="*/ 24 h 42"/>
                    <a:gd name="T24" fmla="*/ 0 w 48"/>
                    <a:gd name="T25" fmla="*/ 18 h 42"/>
                    <a:gd name="T26" fmla="*/ 0 w 48"/>
                    <a:gd name="T27" fmla="*/ 6 h 42"/>
                    <a:gd name="T28" fmla="*/ 6 w 48"/>
                    <a:gd name="T29" fmla="*/ 0 h 42"/>
                    <a:gd name="T30" fmla="*/ 12 w 48"/>
                    <a:gd name="T31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8" h="42">
                      <a:moveTo>
                        <a:pt x="12" y="0"/>
                      </a:moveTo>
                      <a:lnTo>
                        <a:pt x="30" y="0"/>
                      </a:lnTo>
                      <a:lnTo>
                        <a:pt x="36" y="6"/>
                      </a:lnTo>
                      <a:lnTo>
                        <a:pt x="42" y="12"/>
                      </a:lnTo>
                      <a:lnTo>
                        <a:pt x="48" y="24"/>
                      </a:lnTo>
                      <a:lnTo>
                        <a:pt x="48" y="30"/>
                      </a:lnTo>
                      <a:lnTo>
                        <a:pt x="42" y="36"/>
                      </a:lnTo>
                      <a:lnTo>
                        <a:pt x="36" y="42"/>
                      </a:lnTo>
                      <a:lnTo>
                        <a:pt x="30" y="42"/>
                      </a:lnTo>
                      <a:lnTo>
                        <a:pt x="18" y="42"/>
                      </a:lnTo>
                      <a:lnTo>
                        <a:pt x="6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6" name="Freeform 267">
                  <a:extLst>
                    <a:ext uri="{FF2B5EF4-FFF2-40B4-BE49-F238E27FC236}">
                      <a16:creationId xmlns:a16="http://schemas.microsoft.com/office/drawing/2014/main" id="{6064A356-E9EF-48E1-8214-F2036616E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11" y="10662"/>
                  <a:ext cx="72" cy="78"/>
                </a:xfrm>
                <a:custGeom>
                  <a:avLst/>
                  <a:gdLst>
                    <a:gd name="T0" fmla="*/ 24 w 72"/>
                    <a:gd name="T1" fmla="*/ 0 h 78"/>
                    <a:gd name="T2" fmla="*/ 30 w 72"/>
                    <a:gd name="T3" fmla="*/ 0 h 78"/>
                    <a:gd name="T4" fmla="*/ 48 w 72"/>
                    <a:gd name="T5" fmla="*/ 12 h 78"/>
                    <a:gd name="T6" fmla="*/ 60 w 72"/>
                    <a:gd name="T7" fmla="*/ 24 h 78"/>
                    <a:gd name="T8" fmla="*/ 66 w 72"/>
                    <a:gd name="T9" fmla="*/ 36 h 78"/>
                    <a:gd name="T10" fmla="*/ 72 w 72"/>
                    <a:gd name="T11" fmla="*/ 48 h 78"/>
                    <a:gd name="T12" fmla="*/ 72 w 72"/>
                    <a:gd name="T13" fmla="*/ 54 h 78"/>
                    <a:gd name="T14" fmla="*/ 72 w 72"/>
                    <a:gd name="T15" fmla="*/ 66 h 78"/>
                    <a:gd name="T16" fmla="*/ 66 w 72"/>
                    <a:gd name="T17" fmla="*/ 72 h 78"/>
                    <a:gd name="T18" fmla="*/ 66 w 72"/>
                    <a:gd name="T19" fmla="*/ 78 h 78"/>
                    <a:gd name="T20" fmla="*/ 60 w 72"/>
                    <a:gd name="T21" fmla="*/ 78 h 78"/>
                    <a:gd name="T22" fmla="*/ 48 w 72"/>
                    <a:gd name="T23" fmla="*/ 72 h 78"/>
                    <a:gd name="T24" fmla="*/ 36 w 72"/>
                    <a:gd name="T25" fmla="*/ 66 h 78"/>
                    <a:gd name="T26" fmla="*/ 24 w 72"/>
                    <a:gd name="T27" fmla="*/ 54 h 78"/>
                    <a:gd name="T28" fmla="*/ 12 w 72"/>
                    <a:gd name="T29" fmla="*/ 48 h 78"/>
                    <a:gd name="T30" fmla="*/ 0 w 72"/>
                    <a:gd name="T31" fmla="*/ 36 h 78"/>
                    <a:gd name="T32" fmla="*/ 0 w 72"/>
                    <a:gd name="T33" fmla="*/ 24 h 78"/>
                    <a:gd name="T34" fmla="*/ 6 w 72"/>
                    <a:gd name="T35" fmla="*/ 18 h 78"/>
                    <a:gd name="T36" fmla="*/ 12 w 72"/>
                    <a:gd name="T37" fmla="*/ 6 h 78"/>
                    <a:gd name="T38" fmla="*/ 12 w 72"/>
                    <a:gd name="T39" fmla="*/ 0 h 78"/>
                    <a:gd name="T40" fmla="*/ 24 w 72"/>
                    <a:gd name="T41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2" h="78">
                      <a:moveTo>
                        <a:pt x="24" y="0"/>
                      </a:moveTo>
                      <a:lnTo>
                        <a:pt x="30" y="0"/>
                      </a:lnTo>
                      <a:lnTo>
                        <a:pt x="48" y="12"/>
                      </a:lnTo>
                      <a:lnTo>
                        <a:pt x="60" y="24"/>
                      </a:lnTo>
                      <a:lnTo>
                        <a:pt x="66" y="36"/>
                      </a:lnTo>
                      <a:lnTo>
                        <a:pt x="72" y="48"/>
                      </a:lnTo>
                      <a:lnTo>
                        <a:pt x="72" y="54"/>
                      </a:lnTo>
                      <a:lnTo>
                        <a:pt x="72" y="66"/>
                      </a:lnTo>
                      <a:lnTo>
                        <a:pt x="66" y="72"/>
                      </a:lnTo>
                      <a:lnTo>
                        <a:pt x="66" y="78"/>
                      </a:lnTo>
                      <a:lnTo>
                        <a:pt x="60" y="78"/>
                      </a:lnTo>
                      <a:lnTo>
                        <a:pt x="48" y="72"/>
                      </a:lnTo>
                      <a:lnTo>
                        <a:pt x="36" y="66"/>
                      </a:lnTo>
                      <a:lnTo>
                        <a:pt x="24" y="54"/>
                      </a:lnTo>
                      <a:lnTo>
                        <a:pt x="12" y="48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6" y="18"/>
                      </a:lnTo>
                      <a:lnTo>
                        <a:pt x="12" y="6"/>
                      </a:lnTo>
                      <a:lnTo>
                        <a:pt x="12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7" name="Freeform 268">
                  <a:extLst>
                    <a:ext uri="{FF2B5EF4-FFF2-40B4-BE49-F238E27FC236}">
                      <a16:creationId xmlns:a16="http://schemas.microsoft.com/office/drawing/2014/main" id="{16C798AF-EB2A-43ED-9000-742DF6BE4C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61" y="10560"/>
                  <a:ext cx="102" cy="72"/>
                </a:xfrm>
                <a:custGeom>
                  <a:avLst/>
                  <a:gdLst>
                    <a:gd name="T0" fmla="*/ 6 w 102"/>
                    <a:gd name="T1" fmla="*/ 0 h 72"/>
                    <a:gd name="T2" fmla="*/ 24 w 102"/>
                    <a:gd name="T3" fmla="*/ 0 h 72"/>
                    <a:gd name="T4" fmla="*/ 42 w 102"/>
                    <a:gd name="T5" fmla="*/ 6 h 72"/>
                    <a:gd name="T6" fmla="*/ 48 w 102"/>
                    <a:gd name="T7" fmla="*/ 6 h 72"/>
                    <a:gd name="T8" fmla="*/ 60 w 102"/>
                    <a:gd name="T9" fmla="*/ 12 h 72"/>
                    <a:gd name="T10" fmla="*/ 72 w 102"/>
                    <a:gd name="T11" fmla="*/ 24 h 72"/>
                    <a:gd name="T12" fmla="*/ 78 w 102"/>
                    <a:gd name="T13" fmla="*/ 30 h 72"/>
                    <a:gd name="T14" fmla="*/ 90 w 102"/>
                    <a:gd name="T15" fmla="*/ 42 h 72"/>
                    <a:gd name="T16" fmla="*/ 96 w 102"/>
                    <a:gd name="T17" fmla="*/ 48 h 72"/>
                    <a:gd name="T18" fmla="*/ 102 w 102"/>
                    <a:gd name="T19" fmla="*/ 60 h 72"/>
                    <a:gd name="T20" fmla="*/ 102 w 102"/>
                    <a:gd name="T21" fmla="*/ 66 h 72"/>
                    <a:gd name="T22" fmla="*/ 102 w 102"/>
                    <a:gd name="T23" fmla="*/ 72 h 72"/>
                    <a:gd name="T24" fmla="*/ 96 w 102"/>
                    <a:gd name="T25" fmla="*/ 72 h 72"/>
                    <a:gd name="T26" fmla="*/ 90 w 102"/>
                    <a:gd name="T27" fmla="*/ 72 h 72"/>
                    <a:gd name="T28" fmla="*/ 72 w 102"/>
                    <a:gd name="T29" fmla="*/ 72 h 72"/>
                    <a:gd name="T30" fmla="*/ 54 w 102"/>
                    <a:gd name="T31" fmla="*/ 66 h 72"/>
                    <a:gd name="T32" fmla="*/ 36 w 102"/>
                    <a:gd name="T33" fmla="*/ 54 h 72"/>
                    <a:gd name="T34" fmla="*/ 24 w 102"/>
                    <a:gd name="T35" fmla="*/ 42 h 72"/>
                    <a:gd name="T36" fmla="*/ 12 w 102"/>
                    <a:gd name="T37" fmla="*/ 36 h 72"/>
                    <a:gd name="T38" fmla="*/ 0 w 102"/>
                    <a:gd name="T39" fmla="*/ 24 h 72"/>
                    <a:gd name="T40" fmla="*/ 0 w 102"/>
                    <a:gd name="T41" fmla="*/ 12 h 72"/>
                    <a:gd name="T42" fmla="*/ 0 w 102"/>
                    <a:gd name="T43" fmla="*/ 6 h 72"/>
                    <a:gd name="T44" fmla="*/ 0 w 102"/>
                    <a:gd name="T45" fmla="*/ 0 h 72"/>
                    <a:gd name="T46" fmla="*/ 6 w 102"/>
                    <a:gd name="T47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2" h="72">
                      <a:moveTo>
                        <a:pt x="6" y="0"/>
                      </a:moveTo>
                      <a:lnTo>
                        <a:pt x="24" y="0"/>
                      </a:lnTo>
                      <a:lnTo>
                        <a:pt x="42" y="6"/>
                      </a:lnTo>
                      <a:lnTo>
                        <a:pt x="48" y="6"/>
                      </a:lnTo>
                      <a:lnTo>
                        <a:pt x="60" y="12"/>
                      </a:lnTo>
                      <a:lnTo>
                        <a:pt x="72" y="24"/>
                      </a:lnTo>
                      <a:lnTo>
                        <a:pt x="78" y="30"/>
                      </a:lnTo>
                      <a:lnTo>
                        <a:pt x="90" y="42"/>
                      </a:lnTo>
                      <a:lnTo>
                        <a:pt x="96" y="48"/>
                      </a:lnTo>
                      <a:lnTo>
                        <a:pt x="102" y="60"/>
                      </a:lnTo>
                      <a:lnTo>
                        <a:pt x="102" y="66"/>
                      </a:lnTo>
                      <a:lnTo>
                        <a:pt x="102" y="72"/>
                      </a:lnTo>
                      <a:lnTo>
                        <a:pt x="96" y="72"/>
                      </a:lnTo>
                      <a:lnTo>
                        <a:pt x="90" y="72"/>
                      </a:lnTo>
                      <a:lnTo>
                        <a:pt x="72" y="72"/>
                      </a:lnTo>
                      <a:lnTo>
                        <a:pt x="54" y="66"/>
                      </a:lnTo>
                      <a:lnTo>
                        <a:pt x="36" y="54"/>
                      </a:lnTo>
                      <a:lnTo>
                        <a:pt x="24" y="42"/>
                      </a:lnTo>
                      <a:lnTo>
                        <a:pt x="12" y="36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8" name="Freeform 269">
                  <a:extLst>
                    <a:ext uri="{FF2B5EF4-FFF2-40B4-BE49-F238E27FC236}">
                      <a16:creationId xmlns:a16="http://schemas.microsoft.com/office/drawing/2014/main" id="{234D7AD7-5F2B-4F7E-85F2-6E6876795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73" y="10458"/>
                  <a:ext cx="66" cy="54"/>
                </a:xfrm>
                <a:custGeom>
                  <a:avLst/>
                  <a:gdLst>
                    <a:gd name="T0" fmla="*/ 24 w 66"/>
                    <a:gd name="T1" fmla="*/ 0 h 54"/>
                    <a:gd name="T2" fmla="*/ 30 w 66"/>
                    <a:gd name="T3" fmla="*/ 6 h 54"/>
                    <a:gd name="T4" fmla="*/ 48 w 66"/>
                    <a:gd name="T5" fmla="*/ 18 h 54"/>
                    <a:gd name="T6" fmla="*/ 60 w 66"/>
                    <a:gd name="T7" fmla="*/ 36 h 54"/>
                    <a:gd name="T8" fmla="*/ 66 w 66"/>
                    <a:gd name="T9" fmla="*/ 42 h 54"/>
                    <a:gd name="T10" fmla="*/ 66 w 66"/>
                    <a:gd name="T11" fmla="*/ 48 h 54"/>
                    <a:gd name="T12" fmla="*/ 60 w 66"/>
                    <a:gd name="T13" fmla="*/ 54 h 54"/>
                    <a:gd name="T14" fmla="*/ 48 w 66"/>
                    <a:gd name="T15" fmla="*/ 54 h 54"/>
                    <a:gd name="T16" fmla="*/ 36 w 66"/>
                    <a:gd name="T17" fmla="*/ 54 h 54"/>
                    <a:gd name="T18" fmla="*/ 18 w 66"/>
                    <a:gd name="T19" fmla="*/ 48 h 54"/>
                    <a:gd name="T20" fmla="*/ 6 w 66"/>
                    <a:gd name="T21" fmla="*/ 42 h 54"/>
                    <a:gd name="T22" fmla="*/ 0 w 66"/>
                    <a:gd name="T23" fmla="*/ 30 h 54"/>
                    <a:gd name="T24" fmla="*/ 0 w 66"/>
                    <a:gd name="T25" fmla="*/ 24 h 54"/>
                    <a:gd name="T26" fmla="*/ 0 w 66"/>
                    <a:gd name="T27" fmla="*/ 12 h 54"/>
                    <a:gd name="T28" fmla="*/ 6 w 66"/>
                    <a:gd name="T29" fmla="*/ 6 h 54"/>
                    <a:gd name="T30" fmla="*/ 18 w 66"/>
                    <a:gd name="T31" fmla="*/ 6 h 54"/>
                    <a:gd name="T32" fmla="*/ 24 w 66"/>
                    <a:gd name="T33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6" h="54">
                      <a:moveTo>
                        <a:pt x="24" y="0"/>
                      </a:moveTo>
                      <a:lnTo>
                        <a:pt x="30" y="6"/>
                      </a:lnTo>
                      <a:lnTo>
                        <a:pt x="48" y="18"/>
                      </a:lnTo>
                      <a:lnTo>
                        <a:pt x="60" y="36"/>
                      </a:lnTo>
                      <a:lnTo>
                        <a:pt x="66" y="42"/>
                      </a:lnTo>
                      <a:lnTo>
                        <a:pt x="66" y="48"/>
                      </a:lnTo>
                      <a:lnTo>
                        <a:pt x="60" y="54"/>
                      </a:lnTo>
                      <a:lnTo>
                        <a:pt x="48" y="54"/>
                      </a:lnTo>
                      <a:lnTo>
                        <a:pt x="36" y="54"/>
                      </a:lnTo>
                      <a:lnTo>
                        <a:pt x="18" y="48"/>
                      </a:lnTo>
                      <a:lnTo>
                        <a:pt x="6" y="42"/>
                      </a:lnTo>
                      <a:lnTo>
                        <a:pt x="0" y="30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8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49" name="Freeform 270">
                  <a:extLst>
                    <a:ext uri="{FF2B5EF4-FFF2-40B4-BE49-F238E27FC236}">
                      <a16:creationId xmlns:a16="http://schemas.microsoft.com/office/drawing/2014/main" id="{7B0C1C80-A2C7-42B4-8443-5818AF4123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69" y="10392"/>
                  <a:ext cx="90" cy="48"/>
                </a:xfrm>
                <a:custGeom>
                  <a:avLst/>
                  <a:gdLst>
                    <a:gd name="T0" fmla="*/ 66 w 90"/>
                    <a:gd name="T1" fmla="*/ 0 h 48"/>
                    <a:gd name="T2" fmla="*/ 72 w 90"/>
                    <a:gd name="T3" fmla="*/ 0 h 48"/>
                    <a:gd name="T4" fmla="*/ 84 w 90"/>
                    <a:gd name="T5" fmla="*/ 6 h 48"/>
                    <a:gd name="T6" fmla="*/ 90 w 90"/>
                    <a:gd name="T7" fmla="*/ 6 h 48"/>
                    <a:gd name="T8" fmla="*/ 90 w 90"/>
                    <a:gd name="T9" fmla="*/ 12 h 48"/>
                    <a:gd name="T10" fmla="*/ 84 w 90"/>
                    <a:gd name="T11" fmla="*/ 24 h 48"/>
                    <a:gd name="T12" fmla="*/ 78 w 90"/>
                    <a:gd name="T13" fmla="*/ 36 h 48"/>
                    <a:gd name="T14" fmla="*/ 66 w 90"/>
                    <a:gd name="T15" fmla="*/ 42 h 48"/>
                    <a:gd name="T16" fmla="*/ 54 w 90"/>
                    <a:gd name="T17" fmla="*/ 48 h 48"/>
                    <a:gd name="T18" fmla="*/ 36 w 90"/>
                    <a:gd name="T19" fmla="*/ 48 h 48"/>
                    <a:gd name="T20" fmla="*/ 24 w 90"/>
                    <a:gd name="T21" fmla="*/ 48 h 48"/>
                    <a:gd name="T22" fmla="*/ 12 w 90"/>
                    <a:gd name="T23" fmla="*/ 48 h 48"/>
                    <a:gd name="T24" fmla="*/ 6 w 90"/>
                    <a:gd name="T25" fmla="*/ 42 h 48"/>
                    <a:gd name="T26" fmla="*/ 0 w 90"/>
                    <a:gd name="T27" fmla="*/ 36 h 48"/>
                    <a:gd name="T28" fmla="*/ 6 w 90"/>
                    <a:gd name="T29" fmla="*/ 30 h 48"/>
                    <a:gd name="T30" fmla="*/ 12 w 90"/>
                    <a:gd name="T31" fmla="*/ 18 h 48"/>
                    <a:gd name="T32" fmla="*/ 24 w 90"/>
                    <a:gd name="T33" fmla="*/ 6 h 48"/>
                    <a:gd name="T34" fmla="*/ 42 w 90"/>
                    <a:gd name="T35" fmla="*/ 0 h 48"/>
                    <a:gd name="T36" fmla="*/ 66 w 90"/>
                    <a:gd name="T3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0" h="48">
                      <a:moveTo>
                        <a:pt x="66" y="0"/>
                      </a:moveTo>
                      <a:lnTo>
                        <a:pt x="72" y="0"/>
                      </a:lnTo>
                      <a:lnTo>
                        <a:pt x="84" y="6"/>
                      </a:lnTo>
                      <a:lnTo>
                        <a:pt x="90" y="6"/>
                      </a:lnTo>
                      <a:lnTo>
                        <a:pt x="90" y="12"/>
                      </a:lnTo>
                      <a:lnTo>
                        <a:pt x="84" y="24"/>
                      </a:lnTo>
                      <a:lnTo>
                        <a:pt x="78" y="36"/>
                      </a:lnTo>
                      <a:lnTo>
                        <a:pt x="66" y="42"/>
                      </a:lnTo>
                      <a:lnTo>
                        <a:pt x="54" y="48"/>
                      </a:lnTo>
                      <a:lnTo>
                        <a:pt x="36" y="48"/>
                      </a:lnTo>
                      <a:lnTo>
                        <a:pt x="24" y="48"/>
                      </a:lnTo>
                      <a:lnTo>
                        <a:pt x="12" y="48"/>
                      </a:lnTo>
                      <a:lnTo>
                        <a:pt x="6" y="42"/>
                      </a:lnTo>
                      <a:lnTo>
                        <a:pt x="0" y="36"/>
                      </a:lnTo>
                      <a:lnTo>
                        <a:pt x="6" y="30"/>
                      </a:lnTo>
                      <a:lnTo>
                        <a:pt x="12" y="18"/>
                      </a:lnTo>
                      <a:lnTo>
                        <a:pt x="24" y="6"/>
                      </a:lnTo>
                      <a:lnTo>
                        <a:pt x="42" y="0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0" name="Freeform 271">
                  <a:extLst>
                    <a:ext uri="{FF2B5EF4-FFF2-40B4-BE49-F238E27FC236}">
                      <a16:creationId xmlns:a16="http://schemas.microsoft.com/office/drawing/2014/main" id="{A4502BE9-5B58-4E94-ADF3-D7627C2ACB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85" y="9906"/>
                  <a:ext cx="66" cy="96"/>
                </a:xfrm>
                <a:custGeom>
                  <a:avLst/>
                  <a:gdLst>
                    <a:gd name="T0" fmla="*/ 18 w 66"/>
                    <a:gd name="T1" fmla="*/ 0 h 96"/>
                    <a:gd name="T2" fmla="*/ 30 w 66"/>
                    <a:gd name="T3" fmla="*/ 6 h 96"/>
                    <a:gd name="T4" fmla="*/ 42 w 66"/>
                    <a:gd name="T5" fmla="*/ 18 h 96"/>
                    <a:gd name="T6" fmla="*/ 48 w 66"/>
                    <a:gd name="T7" fmla="*/ 30 h 96"/>
                    <a:gd name="T8" fmla="*/ 60 w 66"/>
                    <a:gd name="T9" fmla="*/ 42 h 96"/>
                    <a:gd name="T10" fmla="*/ 66 w 66"/>
                    <a:gd name="T11" fmla="*/ 54 h 96"/>
                    <a:gd name="T12" fmla="*/ 66 w 66"/>
                    <a:gd name="T13" fmla="*/ 66 h 96"/>
                    <a:gd name="T14" fmla="*/ 60 w 66"/>
                    <a:gd name="T15" fmla="*/ 84 h 96"/>
                    <a:gd name="T16" fmla="*/ 54 w 66"/>
                    <a:gd name="T17" fmla="*/ 96 h 96"/>
                    <a:gd name="T18" fmla="*/ 48 w 66"/>
                    <a:gd name="T19" fmla="*/ 96 h 96"/>
                    <a:gd name="T20" fmla="*/ 42 w 66"/>
                    <a:gd name="T21" fmla="*/ 96 h 96"/>
                    <a:gd name="T22" fmla="*/ 36 w 66"/>
                    <a:gd name="T23" fmla="*/ 84 h 96"/>
                    <a:gd name="T24" fmla="*/ 24 w 66"/>
                    <a:gd name="T25" fmla="*/ 72 h 96"/>
                    <a:gd name="T26" fmla="*/ 12 w 66"/>
                    <a:gd name="T27" fmla="*/ 60 h 96"/>
                    <a:gd name="T28" fmla="*/ 6 w 66"/>
                    <a:gd name="T29" fmla="*/ 54 h 96"/>
                    <a:gd name="T30" fmla="*/ 6 w 66"/>
                    <a:gd name="T31" fmla="*/ 42 h 96"/>
                    <a:gd name="T32" fmla="*/ 0 w 66"/>
                    <a:gd name="T33" fmla="*/ 30 h 96"/>
                    <a:gd name="T34" fmla="*/ 6 w 66"/>
                    <a:gd name="T35" fmla="*/ 18 h 96"/>
                    <a:gd name="T36" fmla="*/ 6 w 66"/>
                    <a:gd name="T37" fmla="*/ 12 h 96"/>
                    <a:gd name="T38" fmla="*/ 12 w 66"/>
                    <a:gd name="T39" fmla="*/ 6 h 96"/>
                    <a:gd name="T40" fmla="*/ 18 w 66"/>
                    <a:gd name="T41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6" h="96">
                      <a:moveTo>
                        <a:pt x="18" y="0"/>
                      </a:moveTo>
                      <a:lnTo>
                        <a:pt x="30" y="6"/>
                      </a:lnTo>
                      <a:lnTo>
                        <a:pt x="42" y="18"/>
                      </a:lnTo>
                      <a:lnTo>
                        <a:pt x="48" y="30"/>
                      </a:lnTo>
                      <a:lnTo>
                        <a:pt x="60" y="42"/>
                      </a:lnTo>
                      <a:lnTo>
                        <a:pt x="66" y="54"/>
                      </a:lnTo>
                      <a:lnTo>
                        <a:pt x="66" y="66"/>
                      </a:lnTo>
                      <a:lnTo>
                        <a:pt x="60" y="84"/>
                      </a:lnTo>
                      <a:lnTo>
                        <a:pt x="54" y="96"/>
                      </a:lnTo>
                      <a:lnTo>
                        <a:pt x="48" y="96"/>
                      </a:lnTo>
                      <a:lnTo>
                        <a:pt x="42" y="96"/>
                      </a:lnTo>
                      <a:lnTo>
                        <a:pt x="36" y="84"/>
                      </a:lnTo>
                      <a:lnTo>
                        <a:pt x="24" y="72"/>
                      </a:lnTo>
                      <a:lnTo>
                        <a:pt x="12" y="60"/>
                      </a:lnTo>
                      <a:lnTo>
                        <a:pt x="6" y="54"/>
                      </a:lnTo>
                      <a:lnTo>
                        <a:pt x="6" y="42"/>
                      </a:lnTo>
                      <a:lnTo>
                        <a:pt x="0" y="30"/>
                      </a:lnTo>
                      <a:lnTo>
                        <a:pt x="6" y="18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1" name="Freeform 272">
                  <a:extLst>
                    <a:ext uri="{FF2B5EF4-FFF2-40B4-BE49-F238E27FC236}">
                      <a16:creationId xmlns:a16="http://schemas.microsoft.com/office/drawing/2014/main" id="{DB7CFD3B-0E73-45CB-9195-44AA42CBBC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03" y="9756"/>
                  <a:ext cx="54" cy="60"/>
                </a:xfrm>
                <a:custGeom>
                  <a:avLst/>
                  <a:gdLst>
                    <a:gd name="T0" fmla="*/ 30 w 54"/>
                    <a:gd name="T1" fmla="*/ 0 h 60"/>
                    <a:gd name="T2" fmla="*/ 42 w 54"/>
                    <a:gd name="T3" fmla="*/ 6 h 60"/>
                    <a:gd name="T4" fmla="*/ 54 w 54"/>
                    <a:gd name="T5" fmla="*/ 18 h 60"/>
                    <a:gd name="T6" fmla="*/ 54 w 54"/>
                    <a:gd name="T7" fmla="*/ 30 h 60"/>
                    <a:gd name="T8" fmla="*/ 48 w 54"/>
                    <a:gd name="T9" fmla="*/ 36 h 60"/>
                    <a:gd name="T10" fmla="*/ 42 w 54"/>
                    <a:gd name="T11" fmla="*/ 42 h 60"/>
                    <a:gd name="T12" fmla="*/ 36 w 54"/>
                    <a:gd name="T13" fmla="*/ 54 h 60"/>
                    <a:gd name="T14" fmla="*/ 24 w 54"/>
                    <a:gd name="T15" fmla="*/ 60 h 60"/>
                    <a:gd name="T16" fmla="*/ 12 w 54"/>
                    <a:gd name="T17" fmla="*/ 60 h 60"/>
                    <a:gd name="T18" fmla="*/ 6 w 54"/>
                    <a:gd name="T19" fmla="*/ 54 h 60"/>
                    <a:gd name="T20" fmla="*/ 0 w 54"/>
                    <a:gd name="T21" fmla="*/ 48 h 60"/>
                    <a:gd name="T22" fmla="*/ 0 w 54"/>
                    <a:gd name="T23" fmla="*/ 36 h 60"/>
                    <a:gd name="T24" fmla="*/ 0 w 54"/>
                    <a:gd name="T25" fmla="*/ 24 h 60"/>
                    <a:gd name="T26" fmla="*/ 6 w 54"/>
                    <a:gd name="T27" fmla="*/ 18 h 60"/>
                    <a:gd name="T28" fmla="*/ 12 w 54"/>
                    <a:gd name="T29" fmla="*/ 6 h 60"/>
                    <a:gd name="T30" fmla="*/ 24 w 54"/>
                    <a:gd name="T31" fmla="*/ 0 h 60"/>
                    <a:gd name="T32" fmla="*/ 30 w 54"/>
                    <a:gd name="T3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4" h="60">
                      <a:moveTo>
                        <a:pt x="30" y="0"/>
                      </a:moveTo>
                      <a:lnTo>
                        <a:pt x="42" y="6"/>
                      </a:lnTo>
                      <a:lnTo>
                        <a:pt x="54" y="18"/>
                      </a:lnTo>
                      <a:lnTo>
                        <a:pt x="54" y="30"/>
                      </a:lnTo>
                      <a:lnTo>
                        <a:pt x="48" y="36"/>
                      </a:lnTo>
                      <a:lnTo>
                        <a:pt x="42" y="42"/>
                      </a:lnTo>
                      <a:lnTo>
                        <a:pt x="36" y="54"/>
                      </a:lnTo>
                      <a:lnTo>
                        <a:pt x="24" y="60"/>
                      </a:lnTo>
                      <a:lnTo>
                        <a:pt x="12" y="60"/>
                      </a:lnTo>
                      <a:lnTo>
                        <a:pt x="6" y="54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6" y="18"/>
                      </a:lnTo>
                      <a:lnTo>
                        <a:pt x="12" y="6"/>
                      </a:lnTo>
                      <a:lnTo>
                        <a:pt x="24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2" name="Freeform 273">
                  <a:extLst>
                    <a:ext uri="{FF2B5EF4-FFF2-40B4-BE49-F238E27FC236}">
                      <a16:creationId xmlns:a16="http://schemas.microsoft.com/office/drawing/2014/main" id="{9E2263A1-15E1-43E7-AA06-0A67D9D633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69" y="8958"/>
                  <a:ext cx="84" cy="192"/>
                </a:xfrm>
                <a:custGeom>
                  <a:avLst/>
                  <a:gdLst>
                    <a:gd name="T0" fmla="*/ 18 w 84"/>
                    <a:gd name="T1" fmla="*/ 0 h 192"/>
                    <a:gd name="T2" fmla="*/ 30 w 84"/>
                    <a:gd name="T3" fmla="*/ 0 h 192"/>
                    <a:gd name="T4" fmla="*/ 42 w 84"/>
                    <a:gd name="T5" fmla="*/ 0 h 192"/>
                    <a:gd name="T6" fmla="*/ 60 w 84"/>
                    <a:gd name="T7" fmla="*/ 6 h 192"/>
                    <a:gd name="T8" fmla="*/ 72 w 84"/>
                    <a:gd name="T9" fmla="*/ 6 h 192"/>
                    <a:gd name="T10" fmla="*/ 78 w 84"/>
                    <a:gd name="T11" fmla="*/ 18 h 192"/>
                    <a:gd name="T12" fmla="*/ 84 w 84"/>
                    <a:gd name="T13" fmla="*/ 24 h 192"/>
                    <a:gd name="T14" fmla="*/ 84 w 84"/>
                    <a:gd name="T15" fmla="*/ 36 h 192"/>
                    <a:gd name="T16" fmla="*/ 84 w 84"/>
                    <a:gd name="T17" fmla="*/ 42 h 192"/>
                    <a:gd name="T18" fmla="*/ 78 w 84"/>
                    <a:gd name="T19" fmla="*/ 54 h 192"/>
                    <a:gd name="T20" fmla="*/ 72 w 84"/>
                    <a:gd name="T21" fmla="*/ 60 h 192"/>
                    <a:gd name="T22" fmla="*/ 66 w 84"/>
                    <a:gd name="T23" fmla="*/ 60 h 192"/>
                    <a:gd name="T24" fmla="*/ 60 w 84"/>
                    <a:gd name="T25" fmla="*/ 66 h 192"/>
                    <a:gd name="T26" fmla="*/ 54 w 84"/>
                    <a:gd name="T27" fmla="*/ 72 h 192"/>
                    <a:gd name="T28" fmla="*/ 60 w 84"/>
                    <a:gd name="T29" fmla="*/ 78 h 192"/>
                    <a:gd name="T30" fmla="*/ 66 w 84"/>
                    <a:gd name="T31" fmla="*/ 90 h 192"/>
                    <a:gd name="T32" fmla="*/ 72 w 84"/>
                    <a:gd name="T33" fmla="*/ 102 h 192"/>
                    <a:gd name="T34" fmla="*/ 72 w 84"/>
                    <a:gd name="T35" fmla="*/ 120 h 192"/>
                    <a:gd name="T36" fmla="*/ 72 w 84"/>
                    <a:gd name="T37" fmla="*/ 138 h 192"/>
                    <a:gd name="T38" fmla="*/ 72 w 84"/>
                    <a:gd name="T39" fmla="*/ 156 h 192"/>
                    <a:gd name="T40" fmla="*/ 72 w 84"/>
                    <a:gd name="T41" fmla="*/ 168 h 192"/>
                    <a:gd name="T42" fmla="*/ 66 w 84"/>
                    <a:gd name="T43" fmla="*/ 174 h 192"/>
                    <a:gd name="T44" fmla="*/ 60 w 84"/>
                    <a:gd name="T45" fmla="*/ 186 h 192"/>
                    <a:gd name="T46" fmla="*/ 48 w 84"/>
                    <a:gd name="T47" fmla="*/ 186 h 192"/>
                    <a:gd name="T48" fmla="*/ 36 w 84"/>
                    <a:gd name="T49" fmla="*/ 192 h 192"/>
                    <a:gd name="T50" fmla="*/ 24 w 84"/>
                    <a:gd name="T51" fmla="*/ 186 h 192"/>
                    <a:gd name="T52" fmla="*/ 18 w 84"/>
                    <a:gd name="T53" fmla="*/ 168 h 192"/>
                    <a:gd name="T54" fmla="*/ 12 w 84"/>
                    <a:gd name="T55" fmla="*/ 138 h 192"/>
                    <a:gd name="T56" fmla="*/ 12 w 84"/>
                    <a:gd name="T57" fmla="*/ 102 h 192"/>
                    <a:gd name="T58" fmla="*/ 6 w 84"/>
                    <a:gd name="T59" fmla="*/ 72 h 192"/>
                    <a:gd name="T60" fmla="*/ 0 w 84"/>
                    <a:gd name="T61" fmla="*/ 60 h 192"/>
                    <a:gd name="T62" fmla="*/ 0 w 84"/>
                    <a:gd name="T63" fmla="*/ 48 h 192"/>
                    <a:gd name="T64" fmla="*/ 0 w 84"/>
                    <a:gd name="T65" fmla="*/ 42 h 192"/>
                    <a:gd name="T66" fmla="*/ 0 w 84"/>
                    <a:gd name="T67" fmla="*/ 36 h 192"/>
                    <a:gd name="T68" fmla="*/ 6 w 84"/>
                    <a:gd name="T69" fmla="*/ 24 h 192"/>
                    <a:gd name="T70" fmla="*/ 6 w 84"/>
                    <a:gd name="T71" fmla="*/ 18 h 192"/>
                    <a:gd name="T72" fmla="*/ 6 w 84"/>
                    <a:gd name="T73" fmla="*/ 6 h 192"/>
                    <a:gd name="T74" fmla="*/ 12 w 84"/>
                    <a:gd name="T75" fmla="*/ 0 h 192"/>
                    <a:gd name="T76" fmla="*/ 18 w 84"/>
                    <a:gd name="T77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84" h="192">
                      <a:moveTo>
                        <a:pt x="18" y="0"/>
                      </a:moveTo>
                      <a:lnTo>
                        <a:pt x="30" y="0"/>
                      </a:lnTo>
                      <a:lnTo>
                        <a:pt x="42" y="0"/>
                      </a:lnTo>
                      <a:lnTo>
                        <a:pt x="60" y="6"/>
                      </a:lnTo>
                      <a:lnTo>
                        <a:pt x="72" y="6"/>
                      </a:lnTo>
                      <a:lnTo>
                        <a:pt x="78" y="18"/>
                      </a:lnTo>
                      <a:lnTo>
                        <a:pt x="84" y="24"/>
                      </a:lnTo>
                      <a:lnTo>
                        <a:pt x="84" y="36"/>
                      </a:lnTo>
                      <a:lnTo>
                        <a:pt x="84" y="42"/>
                      </a:lnTo>
                      <a:lnTo>
                        <a:pt x="78" y="54"/>
                      </a:lnTo>
                      <a:lnTo>
                        <a:pt x="72" y="60"/>
                      </a:lnTo>
                      <a:lnTo>
                        <a:pt x="66" y="60"/>
                      </a:lnTo>
                      <a:lnTo>
                        <a:pt x="60" y="66"/>
                      </a:lnTo>
                      <a:lnTo>
                        <a:pt x="54" y="72"/>
                      </a:lnTo>
                      <a:lnTo>
                        <a:pt x="60" y="78"/>
                      </a:lnTo>
                      <a:lnTo>
                        <a:pt x="66" y="90"/>
                      </a:lnTo>
                      <a:lnTo>
                        <a:pt x="72" y="102"/>
                      </a:lnTo>
                      <a:lnTo>
                        <a:pt x="72" y="120"/>
                      </a:lnTo>
                      <a:lnTo>
                        <a:pt x="72" y="138"/>
                      </a:lnTo>
                      <a:lnTo>
                        <a:pt x="72" y="156"/>
                      </a:lnTo>
                      <a:lnTo>
                        <a:pt x="72" y="168"/>
                      </a:lnTo>
                      <a:lnTo>
                        <a:pt x="66" y="174"/>
                      </a:lnTo>
                      <a:lnTo>
                        <a:pt x="60" y="186"/>
                      </a:lnTo>
                      <a:lnTo>
                        <a:pt x="48" y="186"/>
                      </a:lnTo>
                      <a:lnTo>
                        <a:pt x="36" y="192"/>
                      </a:lnTo>
                      <a:lnTo>
                        <a:pt x="24" y="186"/>
                      </a:lnTo>
                      <a:lnTo>
                        <a:pt x="18" y="168"/>
                      </a:lnTo>
                      <a:lnTo>
                        <a:pt x="12" y="138"/>
                      </a:lnTo>
                      <a:lnTo>
                        <a:pt x="12" y="102"/>
                      </a:lnTo>
                      <a:lnTo>
                        <a:pt x="6" y="72"/>
                      </a:lnTo>
                      <a:lnTo>
                        <a:pt x="0" y="60"/>
                      </a:lnTo>
                      <a:lnTo>
                        <a:pt x="0" y="48"/>
                      </a:lnTo>
                      <a:lnTo>
                        <a:pt x="0" y="42"/>
                      </a:lnTo>
                      <a:lnTo>
                        <a:pt x="0" y="36"/>
                      </a:lnTo>
                      <a:lnTo>
                        <a:pt x="6" y="24"/>
                      </a:lnTo>
                      <a:lnTo>
                        <a:pt x="6" y="18"/>
                      </a:lnTo>
                      <a:lnTo>
                        <a:pt x="6" y="6"/>
                      </a:lnTo>
                      <a:lnTo>
                        <a:pt x="12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3" name="Freeform 274">
                  <a:extLst>
                    <a:ext uri="{FF2B5EF4-FFF2-40B4-BE49-F238E27FC236}">
                      <a16:creationId xmlns:a16="http://schemas.microsoft.com/office/drawing/2014/main" id="{774E20DE-D5C7-4FAB-8AE2-E5F5EAA46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03" y="9210"/>
                  <a:ext cx="60" cy="54"/>
                </a:xfrm>
                <a:custGeom>
                  <a:avLst/>
                  <a:gdLst>
                    <a:gd name="T0" fmla="*/ 30 w 60"/>
                    <a:gd name="T1" fmla="*/ 0 h 54"/>
                    <a:gd name="T2" fmla="*/ 36 w 60"/>
                    <a:gd name="T3" fmla="*/ 6 h 54"/>
                    <a:gd name="T4" fmla="*/ 42 w 60"/>
                    <a:gd name="T5" fmla="*/ 12 h 54"/>
                    <a:gd name="T6" fmla="*/ 54 w 60"/>
                    <a:gd name="T7" fmla="*/ 18 h 54"/>
                    <a:gd name="T8" fmla="*/ 54 w 60"/>
                    <a:gd name="T9" fmla="*/ 24 h 54"/>
                    <a:gd name="T10" fmla="*/ 60 w 60"/>
                    <a:gd name="T11" fmla="*/ 36 h 54"/>
                    <a:gd name="T12" fmla="*/ 54 w 60"/>
                    <a:gd name="T13" fmla="*/ 42 h 54"/>
                    <a:gd name="T14" fmla="*/ 48 w 60"/>
                    <a:gd name="T15" fmla="*/ 48 h 54"/>
                    <a:gd name="T16" fmla="*/ 36 w 60"/>
                    <a:gd name="T17" fmla="*/ 54 h 54"/>
                    <a:gd name="T18" fmla="*/ 24 w 60"/>
                    <a:gd name="T19" fmla="*/ 48 h 54"/>
                    <a:gd name="T20" fmla="*/ 12 w 60"/>
                    <a:gd name="T21" fmla="*/ 42 h 54"/>
                    <a:gd name="T22" fmla="*/ 6 w 60"/>
                    <a:gd name="T23" fmla="*/ 36 h 54"/>
                    <a:gd name="T24" fmla="*/ 0 w 60"/>
                    <a:gd name="T25" fmla="*/ 30 h 54"/>
                    <a:gd name="T26" fmla="*/ 0 w 60"/>
                    <a:gd name="T27" fmla="*/ 18 h 54"/>
                    <a:gd name="T28" fmla="*/ 6 w 60"/>
                    <a:gd name="T29" fmla="*/ 12 h 54"/>
                    <a:gd name="T30" fmla="*/ 18 w 60"/>
                    <a:gd name="T31" fmla="*/ 0 h 54"/>
                    <a:gd name="T32" fmla="*/ 30 w 60"/>
                    <a:gd name="T33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" h="54">
                      <a:moveTo>
                        <a:pt x="30" y="0"/>
                      </a:moveTo>
                      <a:lnTo>
                        <a:pt x="36" y="6"/>
                      </a:lnTo>
                      <a:lnTo>
                        <a:pt x="42" y="12"/>
                      </a:lnTo>
                      <a:lnTo>
                        <a:pt x="54" y="18"/>
                      </a:lnTo>
                      <a:lnTo>
                        <a:pt x="54" y="24"/>
                      </a:lnTo>
                      <a:lnTo>
                        <a:pt x="60" y="36"/>
                      </a:lnTo>
                      <a:lnTo>
                        <a:pt x="54" y="42"/>
                      </a:lnTo>
                      <a:lnTo>
                        <a:pt x="48" y="48"/>
                      </a:lnTo>
                      <a:lnTo>
                        <a:pt x="36" y="54"/>
                      </a:lnTo>
                      <a:lnTo>
                        <a:pt x="24" y="48"/>
                      </a:lnTo>
                      <a:lnTo>
                        <a:pt x="12" y="42"/>
                      </a:lnTo>
                      <a:lnTo>
                        <a:pt x="6" y="36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18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4" name="Freeform 275">
                  <a:extLst>
                    <a:ext uri="{FF2B5EF4-FFF2-40B4-BE49-F238E27FC236}">
                      <a16:creationId xmlns:a16="http://schemas.microsoft.com/office/drawing/2014/main" id="{B7A75DFA-DEE4-4F19-92D9-733BDCA085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97" y="9330"/>
                  <a:ext cx="66" cy="48"/>
                </a:xfrm>
                <a:custGeom>
                  <a:avLst/>
                  <a:gdLst>
                    <a:gd name="T0" fmla="*/ 36 w 66"/>
                    <a:gd name="T1" fmla="*/ 0 h 48"/>
                    <a:gd name="T2" fmla="*/ 48 w 66"/>
                    <a:gd name="T3" fmla="*/ 0 h 48"/>
                    <a:gd name="T4" fmla="*/ 60 w 66"/>
                    <a:gd name="T5" fmla="*/ 12 h 48"/>
                    <a:gd name="T6" fmla="*/ 66 w 66"/>
                    <a:gd name="T7" fmla="*/ 18 h 48"/>
                    <a:gd name="T8" fmla="*/ 66 w 66"/>
                    <a:gd name="T9" fmla="*/ 30 h 48"/>
                    <a:gd name="T10" fmla="*/ 66 w 66"/>
                    <a:gd name="T11" fmla="*/ 36 h 48"/>
                    <a:gd name="T12" fmla="*/ 54 w 66"/>
                    <a:gd name="T13" fmla="*/ 42 h 48"/>
                    <a:gd name="T14" fmla="*/ 42 w 66"/>
                    <a:gd name="T15" fmla="*/ 48 h 48"/>
                    <a:gd name="T16" fmla="*/ 30 w 66"/>
                    <a:gd name="T17" fmla="*/ 48 h 48"/>
                    <a:gd name="T18" fmla="*/ 18 w 66"/>
                    <a:gd name="T19" fmla="*/ 42 h 48"/>
                    <a:gd name="T20" fmla="*/ 12 w 66"/>
                    <a:gd name="T21" fmla="*/ 36 h 48"/>
                    <a:gd name="T22" fmla="*/ 6 w 66"/>
                    <a:gd name="T23" fmla="*/ 24 h 48"/>
                    <a:gd name="T24" fmla="*/ 0 w 66"/>
                    <a:gd name="T25" fmla="*/ 18 h 48"/>
                    <a:gd name="T26" fmla="*/ 0 w 66"/>
                    <a:gd name="T27" fmla="*/ 12 h 48"/>
                    <a:gd name="T28" fmla="*/ 12 w 66"/>
                    <a:gd name="T29" fmla="*/ 6 h 48"/>
                    <a:gd name="T30" fmla="*/ 24 w 66"/>
                    <a:gd name="T31" fmla="*/ 0 h 48"/>
                    <a:gd name="T32" fmla="*/ 36 w 66"/>
                    <a:gd name="T33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6" h="48">
                      <a:moveTo>
                        <a:pt x="36" y="0"/>
                      </a:moveTo>
                      <a:lnTo>
                        <a:pt x="48" y="0"/>
                      </a:lnTo>
                      <a:lnTo>
                        <a:pt x="60" y="12"/>
                      </a:lnTo>
                      <a:lnTo>
                        <a:pt x="66" y="18"/>
                      </a:lnTo>
                      <a:lnTo>
                        <a:pt x="66" y="30"/>
                      </a:lnTo>
                      <a:lnTo>
                        <a:pt x="66" y="36"/>
                      </a:lnTo>
                      <a:lnTo>
                        <a:pt x="54" y="42"/>
                      </a:lnTo>
                      <a:lnTo>
                        <a:pt x="42" y="48"/>
                      </a:lnTo>
                      <a:lnTo>
                        <a:pt x="30" y="48"/>
                      </a:lnTo>
                      <a:lnTo>
                        <a:pt x="18" y="42"/>
                      </a:lnTo>
                      <a:lnTo>
                        <a:pt x="12" y="36"/>
                      </a:lnTo>
                      <a:lnTo>
                        <a:pt x="6" y="24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12" y="6"/>
                      </a:lnTo>
                      <a:lnTo>
                        <a:pt x="24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5" name="Freeform 276">
                  <a:extLst>
                    <a:ext uri="{FF2B5EF4-FFF2-40B4-BE49-F238E27FC236}">
                      <a16:creationId xmlns:a16="http://schemas.microsoft.com/office/drawing/2014/main" id="{06777262-9936-4E11-A542-B6D0630193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45" y="3570"/>
                  <a:ext cx="84" cy="132"/>
                </a:xfrm>
                <a:custGeom>
                  <a:avLst/>
                  <a:gdLst>
                    <a:gd name="T0" fmla="*/ 12 w 84"/>
                    <a:gd name="T1" fmla="*/ 0 h 132"/>
                    <a:gd name="T2" fmla="*/ 18 w 84"/>
                    <a:gd name="T3" fmla="*/ 0 h 132"/>
                    <a:gd name="T4" fmla="*/ 30 w 84"/>
                    <a:gd name="T5" fmla="*/ 6 h 132"/>
                    <a:gd name="T6" fmla="*/ 42 w 84"/>
                    <a:gd name="T7" fmla="*/ 12 h 132"/>
                    <a:gd name="T8" fmla="*/ 54 w 84"/>
                    <a:gd name="T9" fmla="*/ 18 h 132"/>
                    <a:gd name="T10" fmla="*/ 60 w 84"/>
                    <a:gd name="T11" fmla="*/ 24 h 132"/>
                    <a:gd name="T12" fmla="*/ 66 w 84"/>
                    <a:gd name="T13" fmla="*/ 30 h 132"/>
                    <a:gd name="T14" fmla="*/ 78 w 84"/>
                    <a:gd name="T15" fmla="*/ 36 h 132"/>
                    <a:gd name="T16" fmla="*/ 78 w 84"/>
                    <a:gd name="T17" fmla="*/ 48 h 132"/>
                    <a:gd name="T18" fmla="*/ 84 w 84"/>
                    <a:gd name="T19" fmla="*/ 60 h 132"/>
                    <a:gd name="T20" fmla="*/ 78 w 84"/>
                    <a:gd name="T21" fmla="*/ 84 h 132"/>
                    <a:gd name="T22" fmla="*/ 66 w 84"/>
                    <a:gd name="T23" fmla="*/ 102 h 132"/>
                    <a:gd name="T24" fmla="*/ 54 w 84"/>
                    <a:gd name="T25" fmla="*/ 120 h 132"/>
                    <a:gd name="T26" fmla="*/ 36 w 84"/>
                    <a:gd name="T27" fmla="*/ 132 h 132"/>
                    <a:gd name="T28" fmla="*/ 24 w 84"/>
                    <a:gd name="T29" fmla="*/ 132 h 132"/>
                    <a:gd name="T30" fmla="*/ 12 w 84"/>
                    <a:gd name="T31" fmla="*/ 126 h 132"/>
                    <a:gd name="T32" fmla="*/ 0 w 84"/>
                    <a:gd name="T33" fmla="*/ 120 h 132"/>
                    <a:gd name="T34" fmla="*/ 0 w 84"/>
                    <a:gd name="T35" fmla="*/ 108 h 132"/>
                    <a:gd name="T36" fmla="*/ 0 w 84"/>
                    <a:gd name="T37" fmla="*/ 96 h 132"/>
                    <a:gd name="T38" fmla="*/ 6 w 84"/>
                    <a:gd name="T39" fmla="*/ 90 h 132"/>
                    <a:gd name="T40" fmla="*/ 12 w 84"/>
                    <a:gd name="T41" fmla="*/ 78 h 132"/>
                    <a:gd name="T42" fmla="*/ 18 w 84"/>
                    <a:gd name="T43" fmla="*/ 72 h 132"/>
                    <a:gd name="T44" fmla="*/ 24 w 84"/>
                    <a:gd name="T45" fmla="*/ 66 h 132"/>
                    <a:gd name="T46" fmla="*/ 24 w 84"/>
                    <a:gd name="T47" fmla="*/ 54 h 132"/>
                    <a:gd name="T48" fmla="*/ 18 w 84"/>
                    <a:gd name="T49" fmla="*/ 42 h 132"/>
                    <a:gd name="T50" fmla="*/ 6 w 84"/>
                    <a:gd name="T51" fmla="*/ 30 h 132"/>
                    <a:gd name="T52" fmla="*/ 0 w 84"/>
                    <a:gd name="T53" fmla="*/ 18 h 132"/>
                    <a:gd name="T54" fmla="*/ 0 w 84"/>
                    <a:gd name="T55" fmla="*/ 6 h 132"/>
                    <a:gd name="T56" fmla="*/ 0 w 84"/>
                    <a:gd name="T57" fmla="*/ 0 h 132"/>
                    <a:gd name="T58" fmla="*/ 12 w 84"/>
                    <a:gd name="T59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84" h="132">
                      <a:moveTo>
                        <a:pt x="12" y="0"/>
                      </a:moveTo>
                      <a:lnTo>
                        <a:pt x="18" y="0"/>
                      </a:lnTo>
                      <a:lnTo>
                        <a:pt x="30" y="6"/>
                      </a:lnTo>
                      <a:lnTo>
                        <a:pt x="42" y="12"/>
                      </a:lnTo>
                      <a:lnTo>
                        <a:pt x="54" y="18"/>
                      </a:lnTo>
                      <a:lnTo>
                        <a:pt x="60" y="24"/>
                      </a:lnTo>
                      <a:lnTo>
                        <a:pt x="66" y="30"/>
                      </a:lnTo>
                      <a:lnTo>
                        <a:pt x="78" y="36"/>
                      </a:lnTo>
                      <a:lnTo>
                        <a:pt x="78" y="48"/>
                      </a:lnTo>
                      <a:lnTo>
                        <a:pt x="84" y="60"/>
                      </a:lnTo>
                      <a:lnTo>
                        <a:pt x="78" y="84"/>
                      </a:lnTo>
                      <a:lnTo>
                        <a:pt x="66" y="102"/>
                      </a:lnTo>
                      <a:lnTo>
                        <a:pt x="54" y="120"/>
                      </a:lnTo>
                      <a:lnTo>
                        <a:pt x="36" y="132"/>
                      </a:lnTo>
                      <a:lnTo>
                        <a:pt x="24" y="132"/>
                      </a:lnTo>
                      <a:lnTo>
                        <a:pt x="12" y="126"/>
                      </a:lnTo>
                      <a:lnTo>
                        <a:pt x="0" y="120"/>
                      </a:lnTo>
                      <a:lnTo>
                        <a:pt x="0" y="108"/>
                      </a:lnTo>
                      <a:lnTo>
                        <a:pt x="0" y="96"/>
                      </a:lnTo>
                      <a:lnTo>
                        <a:pt x="6" y="90"/>
                      </a:lnTo>
                      <a:lnTo>
                        <a:pt x="12" y="78"/>
                      </a:lnTo>
                      <a:lnTo>
                        <a:pt x="18" y="72"/>
                      </a:lnTo>
                      <a:lnTo>
                        <a:pt x="24" y="66"/>
                      </a:lnTo>
                      <a:lnTo>
                        <a:pt x="24" y="54"/>
                      </a:lnTo>
                      <a:lnTo>
                        <a:pt x="18" y="42"/>
                      </a:lnTo>
                      <a:lnTo>
                        <a:pt x="6" y="30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6" name="Freeform 277">
                  <a:extLst>
                    <a:ext uri="{FF2B5EF4-FFF2-40B4-BE49-F238E27FC236}">
                      <a16:creationId xmlns:a16="http://schemas.microsoft.com/office/drawing/2014/main" id="{FF485078-11CF-48E0-98B6-D17610C2E9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379" y="10404"/>
                  <a:ext cx="210" cy="120"/>
                </a:xfrm>
                <a:custGeom>
                  <a:avLst/>
                  <a:gdLst>
                    <a:gd name="T0" fmla="*/ 120 w 210"/>
                    <a:gd name="T1" fmla="*/ 0 h 120"/>
                    <a:gd name="T2" fmla="*/ 168 w 210"/>
                    <a:gd name="T3" fmla="*/ 0 h 120"/>
                    <a:gd name="T4" fmla="*/ 180 w 210"/>
                    <a:gd name="T5" fmla="*/ 0 h 120"/>
                    <a:gd name="T6" fmla="*/ 180 w 210"/>
                    <a:gd name="T7" fmla="*/ 0 h 120"/>
                    <a:gd name="T8" fmla="*/ 186 w 210"/>
                    <a:gd name="T9" fmla="*/ 0 h 120"/>
                    <a:gd name="T10" fmla="*/ 186 w 210"/>
                    <a:gd name="T11" fmla="*/ 0 h 120"/>
                    <a:gd name="T12" fmla="*/ 186 w 210"/>
                    <a:gd name="T13" fmla="*/ 6 h 120"/>
                    <a:gd name="T14" fmla="*/ 186 w 210"/>
                    <a:gd name="T15" fmla="*/ 12 h 120"/>
                    <a:gd name="T16" fmla="*/ 186 w 210"/>
                    <a:gd name="T17" fmla="*/ 18 h 120"/>
                    <a:gd name="T18" fmla="*/ 186 w 210"/>
                    <a:gd name="T19" fmla="*/ 30 h 120"/>
                    <a:gd name="T20" fmla="*/ 192 w 210"/>
                    <a:gd name="T21" fmla="*/ 48 h 120"/>
                    <a:gd name="T22" fmla="*/ 198 w 210"/>
                    <a:gd name="T23" fmla="*/ 72 h 120"/>
                    <a:gd name="T24" fmla="*/ 210 w 210"/>
                    <a:gd name="T25" fmla="*/ 102 h 120"/>
                    <a:gd name="T26" fmla="*/ 198 w 210"/>
                    <a:gd name="T27" fmla="*/ 120 h 120"/>
                    <a:gd name="T28" fmla="*/ 180 w 210"/>
                    <a:gd name="T29" fmla="*/ 120 h 120"/>
                    <a:gd name="T30" fmla="*/ 150 w 210"/>
                    <a:gd name="T31" fmla="*/ 114 h 120"/>
                    <a:gd name="T32" fmla="*/ 120 w 210"/>
                    <a:gd name="T33" fmla="*/ 102 h 120"/>
                    <a:gd name="T34" fmla="*/ 84 w 210"/>
                    <a:gd name="T35" fmla="*/ 90 h 120"/>
                    <a:gd name="T36" fmla="*/ 60 w 210"/>
                    <a:gd name="T37" fmla="*/ 84 h 120"/>
                    <a:gd name="T38" fmla="*/ 42 w 210"/>
                    <a:gd name="T39" fmla="*/ 72 h 120"/>
                    <a:gd name="T40" fmla="*/ 24 w 210"/>
                    <a:gd name="T41" fmla="*/ 66 h 120"/>
                    <a:gd name="T42" fmla="*/ 12 w 210"/>
                    <a:gd name="T43" fmla="*/ 54 h 120"/>
                    <a:gd name="T44" fmla="*/ 6 w 210"/>
                    <a:gd name="T45" fmla="*/ 42 h 120"/>
                    <a:gd name="T46" fmla="*/ 0 w 210"/>
                    <a:gd name="T47" fmla="*/ 30 h 120"/>
                    <a:gd name="T48" fmla="*/ 0 w 210"/>
                    <a:gd name="T49" fmla="*/ 18 h 120"/>
                    <a:gd name="T50" fmla="*/ 12 w 210"/>
                    <a:gd name="T51" fmla="*/ 12 h 120"/>
                    <a:gd name="T52" fmla="*/ 24 w 210"/>
                    <a:gd name="T53" fmla="*/ 12 h 120"/>
                    <a:gd name="T54" fmla="*/ 72 w 210"/>
                    <a:gd name="T55" fmla="*/ 6 h 120"/>
                    <a:gd name="T56" fmla="*/ 120 w 210"/>
                    <a:gd name="T57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10" h="120">
                      <a:moveTo>
                        <a:pt x="120" y="0"/>
                      </a:moveTo>
                      <a:lnTo>
                        <a:pt x="168" y="0"/>
                      </a:lnTo>
                      <a:lnTo>
                        <a:pt x="180" y="0"/>
                      </a:lnTo>
                      <a:lnTo>
                        <a:pt x="180" y="0"/>
                      </a:lnTo>
                      <a:lnTo>
                        <a:pt x="186" y="0"/>
                      </a:lnTo>
                      <a:lnTo>
                        <a:pt x="186" y="0"/>
                      </a:lnTo>
                      <a:lnTo>
                        <a:pt x="186" y="6"/>
                      </a:lnTo>
                      <a:lnTo>
                        <a:pt x="186" y="12"/>
                      </a:lnTo>
                      <a:lnTo>
                        <a:pt x="186" y="18"/>
                      </a:lnTo>
                      <a:lnTo>
                        <a:pt x="186" y="30"/>
                      </a:lnTo>
                      <a:lnTo>
                        <a:pt x="192" y="48"/>
                      </a:lnTo>
                      <a:lnTo>
                        <a:pt x="198" y="72"/>
                      </a:lnTo>
                      <a:lnTo>
                        <a:pt x="210" y="102"/>
                      </a:lnTo>
                      <a:lnTo>
                        <a:pt x="198" y="120"/>
                      </a:lnTo>
                      <a:lnTo>
                        <a:pt x="180" y="120"/>
                      </a:lnTo>
                      <a:lnTo>
                        <a:pt x="150" y="114"/>
                      </a:lnTo>
                      <a:lnTo>
                        <a:pt x="120" y="102"/>
                      </a:lnTo>
                      <a:lnTo>
                        <a:pt x="84" y="90"/>
                      </a:lnTo>
                      <a:lnTo>
                        <a:pt x="60" y="84"/>
                      </a:lnTo>
                      <a:lnTo>
                        <a:pt x="42" y="72"/>
                      </a:lnTo>
                      <a:lnTo>
                        <a:pt x="24" y="66"/>
                      </a:lnTo>
                      <a:lnTo>
                        <a:pt x="12" y="54"/>
                      </a:lnTo>
                      <a:lnTo>
                        <a:pt x="6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12" y="12"/>
                      </a:lnTo>
                      <a:lnTo>
                        <a:pt x="24" y="12"/>
                      </a:lnTo>
                      <a:lnTo>
                        <a:pt x="72" y="6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7" name="Freeform 280">
                  <a:extLst>
                    <a:ext uri="{FF2B5EF4-FFF2-40B4-BE49-F238E27FC236}">
                      <a16:creationId xmlns:a16="http://schemas.microsoft.com/office/drawing/2014/main" id="{1B9A6C73-CBD2-4A05-AA45-3EBF21A981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769" y="1770"/>
                  <a:ext cx="252" cy="126"/>
                </a:xfrm>
                <a:custGeom>
                  <a:avLst/>
                  <a:gdLst>
                    <a:gd name="T0" fmla="*/ 234 w 252"/>
                    <a:gd name="T1" fmla="*/ 114 h 126"/>
                    <a:gd name="T2" fmla="*/ 234 w 252"/>
                    <a:gd name="T3" fmla="*/ 114 h 126"/>
                    <a:gd name="T4" fmla="*/ 234 w 252"/>
                    <a:gd name="T5" fmla="*/ 114 h 126"/>
                    <a:gd name="T6" fmla="*/ 234 w 252"/>
                    <a:gd name="T7" fmla="*/ 114 h 126"/>
                    <a:gd name="T8" fmla="*/ 0 w 252"/>
                    <a:gd name="T9" fmla="*/ 72 h 126"/>
                    <a:gd name="T10" fmla="*/ 0 w 252"/>
                    <a:gd name="T11" fmla="*/ 72 h 126"/>
                    <a:gd name="T12" fmla="*/ 0 w 252"/>
                    <a:gd name="T13" fmla="*/ 72 h 126"/>
                    <a:gd name="T14" fmla="*/ 0 w 252"/>
                    <a:gd name="T15" fmla="*/ 72 h 126"/>
                    <a:gd name="T16" fmla="*/ 66 w 252"/>
                    <a:gd name="T17" fmla="*/ 0 h 126"/>
                    <a:gd name="T18" fmla="*/ 108 w 252"/>
                    <a:gd name="T19" fmla="*/ 0 h 126"/>
                    <a:gd name="T20" fmla="*/ 174 w 252"/>
                    <a:gd name="T21" fmla="*/ 18 h 126"/>
                    <a:gd name="T22" fmla="*/ 234 w 252"/>
                    <a:gd name="T23" fmla="*/ 42 h 126"/>
                    <a:gd name="T24" fmla="*/ 252 w 252"/>
                    <a:gd name="T25" fmla="*/ 90 h 126"/>
                    <a:gd name="T26" fmla="*/ 234 w 252"/>
                    <a:gd name="T27" fmla="*/ 114 h 126"/>
                    <a:gd name="T28" fmla="*/ 228 w 252"/>
                    <a:gd name="T29" fmla="*/ 108 h 126"/>
                    <a:gd name="T30" fmla="*/ 216 w 252"/>
                    <a:gd name="T31" fmla="*/ 108 h 126"/>
                    <a:gd name="T32" fmla="*/ 204 w 252"/>
                    <a:gd name="T33" fmla="*/ 114 h 126"/>
                    <a:gd name="T34" fmla="*/ 192 w 252"/>
                    <a:gd name="T35" fmla="*/ 120 h 126"/>
                    <a:gd name="T36" fmla="*/ 180 w 252"/>
                    <a:gd name="T37" fmla="*/ 126 h 126"/>
                    <a:gd name="T38" fmla="*/ 168 w 252"/>
                    <a:gd name="T39" fmla="*/ 126 h 126"/>
                    <a:gd name="T40" fmla="*/ 162 w 252"/>
                    <a:gd name="T41" fmla="*/ 126 h 126"/>
                    <a:gd name="T42" fmla="*/ 150 w 252"/>
                    <a:gd name="T43" fmla="*/ 120 h 126"/>
                    <a:gd name="T44" fmla="*/ 132 w 252"/>
                    <a:gd name="T45" fmla="*/ 108 h 126"/>
                    <a:gd name="T46" fmla="*/ 90 w 252"/>
                    <a:gd name="T47" fmla="*/ 90 h 126"/>
                    <a:gd name="T48" fmla="*/ 42 w 252"/>
                    <a:gd name="T49" fmla="*/ 84 h 126"/>
                    <a:gd name="T50" fmla="*/ 0 w 252"/>
                    <a:gd name="T51" fmla="*/ 72 h 126"/>
                    <a:gd name="T52" fmla="*/ 66 w 252"/>
                    <a:gd name="T5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52" h="126">
                      <a:moveTo>
                        <a:pt x="234" y="114"/>
                      </a:moveTo>
                      <a:lnTo>
                        <a:pt x="234" y="114"/>
                      </a:lnTo>
                      <a:lnTo>
                        <a:pt x="234" y="114"/>
                      </a:lnTo>
                      <a:lnTo>
                        <a:pt x="234" y="114"/>
                      </a:lnTo>
                      <a:close/>
                      <a:moveTo>
                        <a:pt x="0" y="72"/>
                      </a:move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close/>
                      <a:moveTo>
                        <a:pt x="66" y="0"/>
                      </a:moveTo>
                      <a:lnTo>
                        <a:pt x="108" y="0"/>
                      </a:lnTo>
                      <a:lnTo>
                        <a:pt x="174" y="18"/>
                      </a:lnTo>
                      <a:lnTo>
                        <a:pt x="234" y="42"/>
                      </a:lnTo>
                      <a:lnTo>
                        <a:pt x="252" y="90"/>
                      </a:lnTo>
                      <a:lnTo>
                        <a:pt x="234" y="114"/>
                      </a:lnTo>
                      <a:lnTo>
                        <a:pt x="228" y="108"/>
                      </a:lnTo>
                      <a:lnTo>
                        <a:pt x="216" y="108"/>
                      </a:lnTo>
                      <a:lnTo>
                        <a:pt x="204" y="114"/>
                      </a:lnTo>
                      <a:lnTo>
                        <a:pt x="192" y="120"/>
                      </a:lnTo>
                      <a:lnTo>
                        <a:pt x="180" y="126"/>
                      </a:lnTo>
                      <a:lnTo>
                        <a:pt x="168" y="126"/>
                      </a:lnTo>
                      <a:lnTo>
                        <a:pt x="162" y="126"/>
                      </a:lnTo>
                      <a:lnTo>
                        <a:pt x="150" y="120"/>
                      </a:lnTo>
                      <a:lnTo>
                        <a:pt x="132" y="108"/>
                      </a:lnTo>
                      <a:lnTo>
                        <a:pt x="90" y="90"/>
                      </a:lnTo>
                      <a:lnTo>
                        <a:pt x="42" y="84"/>
                      </a:lnTo>
                      <a:lnTo>
                        <a:pt x="0" y="72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8" name="Freeform 281">
                  <a:extLst>
                    <a:ext uri="{FF2B5EF4-FFF2-40B4-BE49-F238E27FC236}">
                      <a16:creationId xmlns:a16="http://schemas.microsoft.com/office/drawing/2014/main" id="{2F009ABF-BBE9-47DE-9F5D-2216A722FD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673" y="1266"/>
                  <a:ext cx="198" cy="288"/>
                </a:xfrm>
                <a:custGeom>
                  <a:avLst/>
                  <a:gdLst>
                    <a:gd name="T0" fmla="*/ 132 w 198"/>
                    <a:gd name="T1" fmla="*/ 0 h 288"/>
                    <a:gd name="T2" fmla="*/ 168 w 198"/>
                    <a:gd name="T3" fmla="*/ 6 h 288"/>
                    <a:gd name="T4" fmla="*/ 198 w 198"/>
                    <a:gd name="T5" fmla="*/ 12 h 288"/>
                    <a:gd name="T6" fmla="*/ 198 w 198"/>
                    <a:gd name="T7" fmla="*/ 12 h 288"/>
                    <a:gd name="T8" fmla="*/ 192 w 198"/>
                    <a:gd name="T9" fmla="*/ 36 h 288"/>
                    <a:gd name="T10" fmla="*/ 186 w 198"/>
                    <a:gd name="T11" fmla="*/ 54 h 288"/>
                    <a:gd name="T12" fmla="*/ 192 w 198"/>
                    <a:gd name="T13" fmla="*/ 78 h 288"/>
                    <a:gd name="T14" fmla="*/ 186 w 198"/>
                    <a:gd name="T15" fmla="*/ 114 h 288"/>
                    <a:gd name="T16" fmla="*/ 162 w 198"/>
                    <a:gd name="T17" fmla="*/ 150 h 288"/>
                    <a:gd name="T18" fmla="*/ 126 w 198"/>
                    <a:gd name="T19" fmla="*/ 192 h 288"/>
                    <a:gd name="T20" fmla="*/ 96 w 198"/>
                    <a:gd name="T21" fmla="*/ 240 h 288"/>
                    <a:gd name="T22" fmla="*/ 84 w 198"/>
                    <a:gd name="T23" fmla="*/ 252 h 288"/>
                    <a:gd name="T24" fmla="*/ 78 w 198"/>
                    <a:gd name="T25" fmla="*/ 264 h 288"/>
                    <a:gd name="T26" fmla="*/ 78 w 198"/>
                    <a:gd name="T27" fmla="*/ 276 h 288"/>
                    <a:gd name="T28" fmla="*/ 78 w 198"/>
                    <a:gd name="T29" fmla="*/ 282 h 288"/>
                    <a:gd name="T30" fmla="*/ 24 w 198"/>
                    <a:gd name="T31" fmla="*/ 288 h 288"/>
                    <a:gd name="T32" fmla="*/ 0 w 198"/>
                    <a:gd name="T33" fmla="*/ 246 h 288"/>
                    <a:gd name="T34" fmla="*/ 24 w 198"/>
                    <a:gd name="T35" fmla="*/ 180 h 288"/>
                    <a:gd name="T36" fmla="*/ 24 w 198"/>
                    <a:gd name="T37" fmla="*/ 120 h 288"/>
                    <a:gd name="T38" fmla="*/ 48 w 198"/>
                    <a:gd name="T39" fmla="*/ 72 h 288"/>
                    <a:gd name="T40" fmla="*/ 48 w 198"/>
                    <a:gd name="T41" fmla="*/ 72 h 288"/>
                    <a:gd name="T42" fmla="*/ 90 w 198"/>
                    <a:gd name="T43" fmla="*/ 30 h 288"/>
                    <a:gd name="T44" fmla="*/ 132 w 198"/>
                    <a:gd name="T45" fmla="*/ 0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98" h="288">
                      <a:moveTo>
                        <a:pt x="132" y="0"/>
                      </a:moveTo>
                      <a:lnTo>
                        <a:pt x="168" y="6"/>
                      </a:lnTo>
                      <a:lnTo>
                        <a:pt x="198" y="12"/>
                      </a:lnTo>
                      <a:lnTo>
                        <a:pt x="198" y="12"/>
                      </a:lnTo>
                      <a:lnTo>
                        <a:pt x="192" y="36"/>
                      </a:lnTo>
                      <a:lnTo>
                        <a:pt x="186" y="54"/>
                      </a:lnTo>
                      <a:lnTo>
                        <a:pt x="192" y="78"/>
                      </a:lnTo>
                      <a:lnTo>
                        <a:pt x="186" y="114"/>
                      </a:lnTo>
                      <a:lnTo>
                        <a:pt x="162" y="150"/>
                      </a:lnTo>
                      <a:lnTo>
                        <a:pt x="126" y="192"/>
                      </a:lnTo>
                      <a:lnTo>
                        <a:pt x="96" y="240"/>
                      </a:lnTo>
                      <a:lnTo>
                        <a:pt x="84" y="252"/>
                      </a:lnTo>
                      <a:lnTo>
                        <a:pt x="78" y="264"/>
                      </a:lnTo>
                      <a:lnTo>
                        <a:pt x="78" y="276"/>
                      </a:lnTo>
                      <a:lnTo>
                        <a:pt x="78" y="282"/>
                      </a:lnTo>
                      <a:lnTo>
                        <a:pt x="24" y="288"/>
                      </a:lnTo>
                      <a:lnTo>
                        <a:pt x="0" y="246"/>
                      </a:lnTo>
                      <a:lnTo>
                        <a:pt x="24" y="180"/>
                      </a:lnTo>
                      <a:lnTo>
                        <a:pt x="24" y="120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90" y="30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59" name="Freeform 289">
                  <a:extLst>
                    <a:ext uri="{FF2B5EF4-FFF2-40B4-BE49-F238E27FC236}">
                      <a16:creationId xmlns:a16="http://schemas.microsoft.com/office/drawing/2014/main" id="{93D4D0A1-8059-4022-BC5F-B22E6B1505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265" y="-3918"/>
                  <a:ext cx="330" cy="384"/>
                </a:xfrm>
                <a:custGeom>
                  <a:avLst/>
                  <a:gdLst>
                    <a:gd name="T0" fmla="*/ 30 w 330"/>
                    <a:gd name="T1" fmla="*/ 0 h 384"/>
                    <a:gd name="T2" fmla="*/ 54 w 330"/>
                    <a:gd name="T3" fmla="*/ 12 h 384"/>
                    <a:gd name="T4" fmla="*/ 120 w 330"/>
                    <a:gd name="T5" fmla="*/ 42 h 384"/>
                    <a:gd name="T6" fmla="*/ 168 w 330"/>
                    <a:gd name="T7" fmla="*/ 60 h 384"/>
                    <a:gd name="T8" fmla="*/ 198 w 330"/>
                    <a:gd name="T9" fmla="*/ 84 h 384"/>
                    <a:gd name="T10" fmla="*/ 228 w 330"/>
                    <a:gd name="T11" fmla="*/ 120 h 384"/>
                    <a:gd name="T12" fmla="*/ 252 w 330"/>
                    <a:gd name="T13" fmla="*/ 150 h 384"/>
                    <a:gd name="T14" fmla="*/ 258 w 330"/>
                    <a:gd name="T15" fmla="*/ 180 h 384"/>
                    <a:gd name="T16" fmla="*/ 258 w 330"/>
                    <a:gd name="T17" fmla="*/ 222 h 384"/>
                    <a:gd name="T18" fmla="*/ 264 w 330"/>
                    <a:gd name="T19" fmla="*/ 240 h 384"/>
                    <a:gd name="T20" fmla="*/ 282 w 330"/>
                    <a:gd name="T21" fmla="*/ 246 h 384"/>
                    <a:gd name="T22" fmla="*/ 306 w 330"/>
                    <a:gd name="T23" fmla="*/ 258 h 384"/>
                    <a:gd name="T24" fmla="*/ 312 w 330"/>
                    <a:gd name="T25" fmla="*/ 282 h 384"/>
                    <a:gd name="T26" fmla="*/ 312 w 330"/>
                    <a:gd name="T27" fmla="*/ 306 h 384"/>
                    <a:gd name="T28" fmla="*/ 312 w 330"/>
                    <a:gd name="T29" fmla="*/ 324 h 384"/>
                    <a:gd name="T30" fmla="*/ 318 w 330"/>
                    <a:gd name="T31" fmla="*/ 348 h 384"/>
                    <a:gd name="T32" fmla="*/ 330 w 330"/>
                    <a:gd name="T33" fmla="*/ 366 h 384"/>
                    <a:gd name="T34" fmla="*/ 330 w 330"/>
                    <a:gd name="T35" fmla="*/ 378 h 384"/>
                    <a:gd name="T36" fmla="*/ 306 w 330"/>
                    <a:gd name="T37" fmla="*/ 384 h 384"/>
                    <a:gd name="T38" fmla="*/ 270 w 330"/>
                    <a:gd name="T39" fmla="*/ 384 h 384"/>
                    <a:gd name="T40" fmla="*/ 252 w 330"/>
                    <a:gd name="T41" fmla="*/ 378 h 384"/>
                    <a:gd name="T42" fmla="*/ 234 w 330"/>
                    <a:gd name="T43" fmla="*/ 366 h 384"/>
                    <a:gd name="T44" fmla="*/ 222 w 330"/>
                    <a:gd name="T45" fmla="*/ 360 h 384"/>
                    <a:gd name="T46" fmla="*/ 222 w 330"/>
                    <a:gd name="T47" fmla="*/ 342 h 384"/>
                    <a:gd name="T48" fmla="*/ 210 w 330"/>
                    <a:gd name="T49" fmla="*/ 330 h 384"/>
                    <a:gd name="T50" fmla="*/ 186 w 330"/>
                    <a:gd name="T51" fmla="*/ 324 h 384"/>
                    <a:gd name="T52" fmla="*/ 168 w 330"/>
                    <a:gd name="T53" fmla="*/ 306 h 384"/>
                    <a:gd name="T54" fmla="*/ 162 w 330"/>
                    <a:gd name="T55" fmla="*/ 288 h 384"/>
                    <a:gd name="T56" fmla="*/ 156 w 330"/>
                    <a:gd name="T57" fmla="*/ 264 h 384"/>
                    <a:gd name="T58" fmla="*/ 138 w 330"/>
                    <a:gd name="T59" fmla="*/ 252 h 384"/>
                    <a:gd name="T60" fmla="*/ 126 w 330"/>
                    <a:gd name="T61" fmla="*/ 228 h 384"/>
                    <a:gd name="T62" fmla="*/ 114 w 330"/>
                    <a:gd name="T63" fmla="*/ 198 h 384"/>
                    <a:gd name="T64" fmla="*/ 96 w 330"/>
                    <a:gd name="T65" fmla="*/ 174 h 384"/>
                    <a:gd name="T66" fmla="*/ 90 w 330"/>
                    <a:gd name="T67" fmla="*/ 144 h 384"/>
                    <a:gd name="T68" fmla="*/ 84 w 330"/>
                    <a:gd name="T69" fmla="*/ 114 h 384"/>
                    <a:gd name="T70" fmla="*/ 60 w 330"/>
                    <a:gd name="T71" fmla="*/ 90 h 384"/>
                    <a:gd name="T72" fmla="*/ 24 w 330"/>
                    <a:gd name="T73" fmla="*/ 60 h 384"/>
                    <a:gd name="T74" fmla="*/ 0 w 330"/>
                    <a:gd name="T75" fmla="*/ 24 h 384"/>
                    <a:gd name="T76" fmla="*/ 6 w 330"/>
                    <a:gd name="T77" fmla="*/ 6 h 384"/>
                    <a:gd name="T78" fmla="*/ 24 w 330"/>
                    <a:gd name="T79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30" h="384">
                      <a:moveTo>
                        <a:pt x="24" y="0"/>
                      </a:moveTo>
                      <a:lnTo>
                        <a:pt x="30" y="0"/>
                      </a:lnTo>
                      <a:lnTo>
                        <a:pt x="42" y="6"/>
                      </a:lnTo>
                      <a:lnTo>
                        <a:pt x="54" y="12"/>
                      </a:lnTo>
                      <a:lnTo>
                        <a:pt x="84" y="36"/>
                      </a:lnTo>
                      <a:lnTo>
                        <a:pt x="120" y="42"/>
                      </a:lnTo>
                      <a:lnTo>
                        <a:pt x="156" y="48"/>
                      </a:lnTo>
                      <a:lnTo>
                        <a:pt x="168" y="60"/>
                      </a:lnTo>
                      <a:lnTo>
                        <a:pt x="186" y="72"/>
                      </a:lnTo>
                      <a:lnTo>
                        <a:pt x="198" y="84"/>
                      </a:lnTo>
                      <a:lnTo>
                        <a:pt x="210" y="102"/>
                      </a:lnTo>
                      <a:lnTo>
                        <a:pt x="228" y="120"/>
                      </a:lnTo>
                      <a:lnTo>
                        <a:pt x="240" y="132"/>
                      </a:lnTo>
                      <a:lnTo>
                        <a:pt x="252" y="150"/>
                      </a:lnTo>
                      <a:lnTo>
                        <a:pt x="258" y="162"/>
                      </a:lnTo>
                      <a:lnTo>
                        <a:pt x="258" y="180"/>
                      </a:lnTo>
                      <a:lnTo>
                        <a:pt x="258" y="204"/>
                      </a:lnTo>
                      <a:lnTo>
                        <a:pt x="258" y="222"/>
                      </a:lnTo>
                      <a:lnTo>
                        <a:pt x="258" y="228"/>
                      </a:lnTo>
                      <a:lnTo>
                        <a:pt x="264" y="240"/>
                      </a:lnTo>
                      <a:lnTo>
                        <a:pt x="276" y="246"/>
                      </a:lnTo>
                      <a:lnTo>
                        <a:pt x="282" y="246"/>
                      </a:lnTo>
                      <a:lnTo>
                        <a:pt x="294" y="252"/>
                      </a:lnTo>
                      <a:lnTo>
                        <a:pt x="306" y="258"/>
                      </a:lnTo>
                      <a:lnTo>
                        <a:pt x="312" y="270"/>
                      </a:lnTo>
                      <a:lnTo>
                        <a:pt x="312" y="282"/>
                      </a:lnTo>
                      <a:lnTo>
                        <a:pt x="312" y="294"/>
                      </a:lnTo>
                      <a:lnTo>
                        <a:pt x="312" y="306"/>
                      </a:lnTo>
                      <a:lnTo>
                        <a:pt x="312" y="318"/>
                      </a:lnTo>
                      <a:lnTo>
                        <a:pt x="312" y="324"/>
                      </a:lnTo>
                      <a:lnTo>
                        <a:pt x="312" y="336"/>
                      </a:lnTo>
                      <a:lnTo>
                        <a:pt x="318" y="348"/>
                      </a:lnTo>
                      <a:lnTo>
                        <a:pt x="324" y="360"/>
                      </a:lnTo>
                      <a:lnTo>
                        <a:pt x="330" y="366"/>
                      </a:lnTo>
                      <a:lnTo>
                        <a:pt x="330" y="378"/>
                      </a:lnTo>
                      <a:lnTo>
                        <a:pt x="330" y="378"/>
                      </a:lnTo>
                      <a:lnTo>
                        <a:pt x="318" y="384"/>
                      </a:lnTo>
                      <a:lnTo>
                        <a:pt x="306" y="384"/>
                      </a:lnTo>
                      <a:lnTo>
                        <a:pt x="288" y="384"/>
                      </a:lnTo>
                      <a:lnTo>
                        <a:pt x="270" y="384"/>
                      </a:lnTo>
                      <a:lnTo>
                        <a:pt x="258" y="378"/>
                      </a:lnTo>
                      <a:lnTo>
                        <a:pt x="252" y="378"/>
                      </a:lnTo>
                      <a:lnTo>
                        <a:pt x="240" y="372"/>
                      </a:lnTo>
                      <a:lnTo>
                        <a:pt x="234" y="366"/>
                      </a:lnTo>
                      <a:lnTo>
                        <a:pt x="222" y="366"/>
                      </a:lnTo>
                      <a:lnTo>
                        <a:pt x="222" y="360"/>
                      </a:lnTo>
                      <a:lnTo>
                        <a:pt x="222" y="348"/>
                      </a:lnTo>
                      <a:lnTo>
                        <a:pt x="222" y="342"/>
                      </a:lnTo>
                      <a:lnTo>
                        <a:pt x="216" y="336"/>
                      </a:lnTo>
                      <a:lnTo>
                        <a:pt x="210" y="330"/>
                      </a:lnTo>
                      <a:lnTo>
                        <a:pt x="198" y="324"/>
                      </a:lnTo>
                      <a:lnTo>
                        <a:pt x="186" y="324"/>
                      </a:lnTo>
                      <a:lnTo>
                        <a:pt x="174" y="318"/>
                      </a:lnTo>
                      <a:lnTo>
                        <a:pt x="168" y="306"/>
                      </a:lnTo>
                      <a:lnTo>
                        <a:pt x="162" y="300"/>
                      </a:lnTo>
                      <a:lnTo>
                        <a:pt x="162" y="288"/>
                      </a:lnTo>
                      <a:lnTo>
                        <a:pt x="162" y="276"/>
                      </a:lnTo>
                      <a:lnTo>
                        <a:pt x="156" y="264"/>
                      </a:lnTo>
                      <a:lnTo>
                        <a:pt x="150" y="258"/>
                      </a:lnTo>
                      <a:lnTo>
                        <a:pt x="138" y="252"/>
                      </a:lnTo>
                      <a:lnTo>
                        <a:pt x="132" y="240"/>
                      </a:lnTo>
                      <a:lnTo>
                        <a:pt x="126" y="228"/>
                      </a:lnTo>
                      <a:lnTo>
                        <a:pt x="126" y="216"/>
                      </a:lnTo>
                      <a:lnTo>
                        <a:pt x="114" y="198"/>
                      </a:lnTo>
                      <a:lnTo>
                        <a:pt x="108" y="186"/>
                      </a:lnTo>
                      <a:lnTo>
                        <a:pt x="96" y="174"/>
                      </a:lnTo>
                      <a:lnTo>
                        <a:pt x="90" y="156"/>
                      </a:lnTo>
                      <a:lnTo>
                        <a:pt x="90" y="144"/>
                      </a:lnTo>
                      <a:lnTo>
                        <a:pt x="84" y="126"/>
                      </a:lnTo>
                      <a:lnTo>
                        <a:pt x="84" y="114"/>
                      </a:lnTo>
                      <a:lnTo>
                        <a:pt x="72" y="102"/>
                      </a:lnTo>
                      <a:lnTo>
                        <a:pt x="60" y="90"/>
                      </a:lnTo>
                      <a:lnTo>
                        <a:pt x="42" y="72"/>
                      </a:lnTo>
                      <a:lnTo>
                        <a:pt x="24" y="60"/>
                      </a:lnTo>
                      <a:lnTo>
                        <a:pt x="6" y="36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2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0" name="Freeform 290">
                  <a:extLst>
                    <a:ext uri="{FF2B5EF4-FFF2-40B4-BE49-F238E27FC236}">
                      <a16:creationId xmlns:a16="http://schemas.microsoft.com/office/drawing/2014/main" id="{41531813-35A9-4025-90D9-8AFF13EF7A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259" y="-4800"/>
                  <a:ext cx="48" cy="132"/>
                </a:xfrm>
                <a:custGeom>
                  <a:avLst/>
                  <a:gdLst>
                    <a:gd name="T0" fmla="*/ 12 w 48"/>
                    <a:gd name="T1" fmla="*/ 0 h 132"/>
                    <a:gd name="T2" fmla="*/ 18 w 48"/>
                    <a:gd name="T3" fmla="*/ 6 h 132"/>
                    <a:gd name="T4" fmla="*/ 30 w 48"/>
                    <a:gd name="T5" fmla="*/ 18 h 132"/>
                    <a:gd name="T6" fmla="*/ 36 w 48"/>
                    <a:gd name="T7" fmla="*/ 30 h 132"/>
                    <a:gd name="T8" fmla="*/ 48 w 48"/>
                    <a:gd name="T9" fmla="*/ 42 h 132"/>
                    <a:gd name="T10" fmla="*/ 48 w 48"/>
                    <a:gd name="T11" fmla="*/ 54 h 132"/>
                    <a:gd name="T12" fmla="*/ 48 w 48"/>
                    <a:gd name="T13" fmla="*/ 72 h 132"/>
                    <a:gd name="T14" fmla="*/ 42 w 48"/>
                    <a:gd name="T15" fmla="*/ 84 h 132"/>
                    <a:gd name="T16" fmla="*/ 36 w 48"/>
                    <a:gd name="T17" fmla="*/ 102 h 132"/>
                    <a:gd name="T18" fmla="*/ 30 w 48"/>
                    <a:gd name="T19" fmla="*/ 108 h 132"/>
                    <a:gd name="T20" fmla="*/ 24 w 48"/>
                    <a:gd name="T21" fmla="*/ 120 h 132"/>
                    <a:gd name="T22" fmla="*/ 18 w 48"/>
                    <a:gd name="T23" fmla="*/ 126 h 132"/>
                    <a:gd name="T24" fmla="*/ 12 w 48"/>
                    <a:gd name="T25" fmla="*/ 132 h 132"/>
                    <a:gd name="T26" fmla="*/ 6 w 48"/>
                    <a:gd name="T27" fmla="*/ 132 h 132"/>
                    <a:gd name="T28" fmla="*/ 6 w 48"/>
                    <a:gd name="T29" fmla="*/ 120 h 132"/>
                    <a:gd name="T30" fmla="*/ 6 w 48"/>
                    <a:gd name="T31" fmla="*/ 108 h 132"/>
                    <a:gd name="T32" fmla="*/ 6 w 48"/>
                    <a:gd name="T33" fmla="*/ 96 h 132"/>
                    <a:gd name="T34" fmla="*/ 6 w 48"/>
                    <a:gd name="T35" fmla="*/ 78 h 132"/>
                    <a:gd name="T36" fmla="*/ 0 w 48"/>
                    <a:gd name="T37" fmla="*/ 66 h 132"/>
                    <a:gd name="T38" fmla="*/ 0 w 48"/>
                    <a:gd name="T39" fmla="*/ 48 h 132"/>
                    <a:gd name="T40" fmla="*/ 0 w 48"/>
                    <a:gd name="T41" fmla="*/ 36 h 132"/>
                    <a:gd name="T42" fmla="*/ 0 w 48"/>
                    <a:gd name="T43" fmla="*/ 18 h 132"/>
                    <a:gd name="T44" fmla="*/ 0 w 48"/>
                    <a:gd name="T45" fmla="*/ 12 h 132"/>
                    <a:gd name="T46" fmla="*/ 6 w 48"/>
                    <a:gd name="T47" fmla="*/ 6 h 132"/>
                    <a:gd name="T48" fmla="*/ 12 w 48"/>
                    <a:gd name="T49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8" h="132">
                      <a:moveTo>
                        <a:pt x="12" y="0"/>
                      </a:moveTo>
                      <a:lnTo>
                        <a:pt x="18" y="6"/>
                      </a:lnTo>
                      <a:lnTo>
                        <a:pt x="30" y="18"/>
                      </a:lnTo>
                      <a:lnTo>
                        <a:pt x="36" y="30"/>
                      </a:lnTo>
                      <a:lnTo>
                        <a:pt x="48" y="42"/>
                      </a:lnTo>
                      <a:lnTo>
                        <a:pt x="48" y="54"/>
                      </a:lnTo>
                      <a:lnTo>
                        <a:pt x="48" y="72"/>
                      </a:lnTo>
                      <a:lnTo>
                        <a:pt x="42" y="84"/>
                      </a:lnTo>
                      <a:lnTo>
                        <a:pt x="36" y="102"/>
                      </a:lnTo>
                      <a:lnTo>
                        <a:pt x="30" y="108"/>
                      </a:lnTo>
                      <a:lnTo>
                        <a:pt x="24" y="120"/>
                      </a:lnTo>
                      <a:lnTo>
                        <a:pt x="18" y="126"/>
                      </a:lnTo>
                      <a:lnTo>
                        <a:pt x="12" y="132"/>
                      </a:lnTo>
                      <a:lnTo>
                        <a:pt x="6" y="132"/>
                      </a:lnTo>
                      <a:lnTo>
                        <a:pt x="6" y="120"/>
                      </a:lnTo>
                      <a:lnTo>
                        <a:pt x="6" y="108"/>
                      </a:lnTo>
                      <a:lnTo>
                        <a:pt x="6" y="96"/>
                      </a:lnTo>
                      <a:lnTo>
                        <a:pt x="6" y="78"/>
                      </a:lnTo>
                      <a:lnTo>
                        <a:pt x="0" y="66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1" name="Freeform 291">
                  <a:extLst>
                    <a:ext uri="{FF2B5EF4-FFF2-40B4-BE49-F238E27FC236}">
                      <a16:creationId xmlns:a16="http://schemas.microsoft.com/office/drawing/2014/main" id="{025A1652-4A2D-419E-852F-6C37296955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277" y="-4566"/>
                  <a:ext cx="36" cy="84"/>
                </a:xfrm>
                <a:custGeom>
                  <a:avLst/>
                  <a:gdLst>
                    <a:gd name="T0" fmla="*/ 12 w 36"/>
                    <a:gd name="T1" fmla="*/ 0 h 84"/>
                    <a:gd name="T2" fmla="*/ 18 w 36"/>
                    <a:gd name="T3" fmla="*/ 6 h 84"/>
                    <a:gd name="T4" fmla="*/ 24 w 36"/>
                    <a:gd name="T5" fmla="*/ 18 h 84"/>
                    <a:gd name="T6" fmla="*/ 36 w 36"/>
                    <a:gd name="T7" fmla="*/ 36 h 84"/>
                    <a:gd name="T8" fmla="*/ 36 w 36"/>
                    <a:gd name="T9" fmla="*/ 48 h 84"/>
                    <a:gd name="T10" fmla="*/ 36 w 36"/>
                    <a:gd name="T11" fmla="*/ 54 h 84"/>
                    <a:gd name="T12" fmla="*/ 36 w 36"/>
                    <a:gd name="T13" fmla="*/ 66 h 84"/>
                    <a:gd name="T14" fmla="*/ 36 w 36"/>
                    <a:gd name="T15" fmla="*/ 78 h 84"/>
                    <a:gd name="T16" fmla="*/ 36 w 36"/>
                    <a:gd name="T17" fmla="*/ 84 h 84"/>
                    <a:gd name="T18" fmla="*/ 30 w 36"/>
                    <a:gd name="T19" fmla="*/ 84 h 84"/>
                    <a:gd name="T20" fmla="*/ 24 w 36"/>
                    <a:gd name="T21" fmla="*/ 84 h 84"/>
                    <a:gd name="T22" fmla="*/ 18 w 36"/>
                    <a:gd name="T23" fmla="*/ 78 h 84"/>
                    <a:gd name="T24" fmla="*/ 12 w 36"/>
                    <a:gd name="T25" fmla="*/ 60 h 84"/>
                    <a:gd name="T26" fmla="*/ 0 w 36"/>
                    <a:gd name="T27" fmla="*/ 36 h 84"/>
                    <a:gd name="T28" fmla="*/ 0 w 36"/>
                    <a:gd name="T29" fmla="*/ 18 h 84"/>
                    <a:gd name="T30" fmla="*/ 0 w 36"/>
                    <a:gd name="T31" fmla="*/ 6 h 84"/>
                    <a:gd name="T32" fmla="*/ 6 w 36"/>
                    <a:gd name="T33" fmla="*/ 0 h 84"/>
                    <a:gd name="T34" fmla="*/ 12 w 36"/>
                    <a:gd name="T3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6" h="84">
                      <a:moveTo>
                        <a:pt x="12" y="0"/>
                      </a:moveTo>
                      <a:lnTo>
                        <a:pt x="18" y="6"/>
                      </a:lnTo>
                      <a:lnTo>
                        <a:pt x="24" y="18"/>
                      </a:lnTo>
                      <a:lnTo>
                        <a:pt x="36" y="36"/>
                      </a:lnTo>
                      <a:lnTo>
                        <a:pt x="36" y="48"/>
                      </a:lnTo>
                      <a:lnTo>
                        <a:pt x="36" y="54"/>
                      </a:lnTo>
                      <a:lnTo>
                        <a:pt x="36" y="66"/>
                      </a:lnTo>
                      <a:lnTo>
                        <a:pt x="36" y="78"/>
                      </a:lnTo>
                      <a:lnTo>
                        <a:pt x="36" y="84"/>
                      </a:lnTo>
                      <a:lnTo>
                        <a:pt x="30" y="84"/>
                      </a:lnTo>
                      <a:lnTo>
                        <a:pt x="24" y="84"/>
                      </a:lnTo>
                      <a:lnTo>
                        <a:pt x="18" y="78"/>
                      </a:lnTo>
                      <a:lnTo>
                        <a:pt x="12" y="60"/>
                      </a:lnTo>
                      <a:lnTo>
                        <a:pt x="0" y="36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2" name="Freeform 292">
                  <a:extLst>
                    <a:ext uri="{FF2B5EF4-FFF2-40B4-BE49-F238E27FC236}">
                      <a16:creationId xmlns:a16="http://schemas.microsoft.com/office/drawing/2014/main" id="{210C9465-267C-4DC8-B23E-65C620A827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313" y="-5412"/>
                  <a:ext cx="54" cy="48"/>
                </a:xfrm>
                <a:custGeom>
                  <a:avLst/>
                  <a:gdLst>
                    <a:gd name="T0" fmla="*/ 18 w 54"/>
                    <a:gd name="T1" fmla="*/ 0 h 48"/>
                    <a:gd name="T2" fmla="*/ 36 w 54"/>
                    <a:gd name="T3" fmla="*/ 6 h 48"/>
                    <a:gd name="T4" fmla="*/ 48 w 54"/>
                    <a:gd name="T5" fmla="*/ 12 h 48"/>
                    <a:gd name="T6" fmla="*/ 54 w 54"/>
                    <a:gd name="T7" fmla="*/ 18 h 48"/>
                    <a:gd name="T8" fmla="*/ 54 w 54"/>
                    <a:gd name="T9" fmla="*/ 24 h 48"/>
                    <a:gd name="T10" fmla="*/ 48 w 54"/>
                    <a:gd name="T11" fmla="*/ 36 h 48"/>
                    <a:gd name="T12" fmla="*/ 42 w 54"/>
                    <a:gd name="T13" fmla="*/ 42 h 48"/>
                    <a:gd name="T14" fmla="*/ 36 w 54"/>
                    <a:gd name="T15" fmla="*/ 48 h 48"/>
                    <a:gd name="T16" fmla="*/ 30 w 54"/>
                    <a:gd name="T17" fmla="*/ 48 h 48"/>
                    <a:gd name="T18" fmla="*/ 18 w 54"/>
                    <a:gd name="T19" fmla="*/ 48 h 48"/>
                    <a:gd name="T20" fmla="*/ 12 w 54"/>
                    <a:gd name="T21" fmla="*/ 48 h 48"/>
                    <a:gd name="T22" fmla="*/ 6 w 54"/>
                    <a:gd name="T23" fmla="*/ 42 h 48"/>
                    <a:gd name="T24" fmla="*/ 0 w 54"/>
                    <a:gd name="T25" fmla="*/ 30 h 48"/>
                    <a:gd name="T26" fmla="*/ 0 w 54"/>
                    <a:gd name="T27" fmla="*/ 18 h 48"/>
                    <a:gd name="T28" fmla="*/ 0 w 54"/>
                    <a:gd name="T29" fmla="*/ 12 h 48"/>
                    <a:gd name="T30" fmla="*/ 6 w 54"/>
                    <a:gd name="T31" fmla="*/ 6 h 48"/>
                    <a:gd name="T32" fmla="*/ 18 w 54"/>
                    <a:gd name="T33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4" h="48">
                      <a:moveTo>
                        <a:pt x="18" y="0"/>
                      </a:moveTo>
                      <a:lnTo>
                        <a:pt x="36" y="6"/>
                      </a:lnTo>
                      <a:lnTo>
                        <a:pt x="48" y="12"/>
                      </a:lnTo>
                      <a:lnTo>
                        <a:pt x="54" y="18"/>
                      </a:lnTo>
                      <a:lnTo>
                        <a:pt x="54" y="24"/>
                      </a:lnTo>
                      <a:lnTo>
                        <a:pt x="48" y="36"/>
                      </a:lnTo>
                      <a:lnTo>
                        <a:pt x="42" y="42"/>
                      </a:lnTo>
                      <a:lnTo>
                        <a:pt x="36" y="48"/>
                      </a:lnTo>
                      <a:lnTo>
                        <a:pt x="30" y="48"/>
                      </a:lnTo>
                      <a:lnTo>
                        <a:pt x="18" y="48"/>
                      </a:lnTo>
                      <a:lnTo>
                        <a:pt x="12" y="48"/>
                      </a:lnTo>
                      <a:lnTo>
                        <a:pt x="6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3" name="Freeform 293">
                  <a:extLst>
                    <a:ext uri="{FF2B5EF4-FFF2-40B4-BE49-F238E27FC236}">
                      <a16:creationId xmlns:a16="http://schemas.microsoft.com/office/drawing/2014/main" id="{82ECB9E3-C9ED-435F-8AA9-751AEB521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319" y="-5310"/>
                  <a:ext cx="30" cy="48"/>
                </a:xfrm>
                <a:custGeom>
                  <a:avLst/>
                  <a:gdLst>
                    <a:gd name="T0" fmla="*/ 12 w 30"/>
                    <a:gd name="T1" fmla="*/ 0 h 48"/>
                    <a:gd name="T2" fmla="*/ 24 w 30"/>
                    <a:gd name="T3" fmla="*/ 6 h 48"/>
                    <a:gd name="T4" fmla="*/ 24 w 30"/>
                    <a:gd name="T5" fmla="*/ 12 h 48"/>
                    <a:gd name="T6" fmla="*/ 30 w 30"/>
                    <a:gd name="T7" fmla="*/ 18 h 48"/>
                    <a:gd name="T8" fmla="*/ 30 w 30"/>
                    <a:gd name="T9" fmla="*/ 30 h 48"/>
                    <a:gd name="T10" fmla="*/ 30 w 30"/>
                    <a:gd name="T11" fmla="*/ 42 h 48"/>
                    <a:gd name="T12" fmla="*/ 24 w 30"/>
                    <a:gd name="T13" fmla="*/ 48 h 48"/>
                    <a:gd name="T14" fmla="*/ 18 w 30"/>
                    <a:gd name="T15" fmla="*/ 48 h 48"/>
                    <a:gd name="T16" fmla="*/ 12 w 30"/>
                    <a:gd name="T17" fmla="*/ 48 h 48"/>
                    <a:gd name="T18" fmla="*/ 6 w 30"/>
                    <a:gd name="T19" fmla="*/ 42 h 48"/>
                    <a:gd name="T20" fmla="*/ 0 w 30"/>
                    <a:gd name="T21" fmla="*/ 30 h 48"/>
                    <a:gd name="T22" fmla="*/ 0 w 30"/>
                    <a:gd name="T23" fmla="*/ 18 h 48"/>
                    <a:gd name="T24" fmla="*/ 0 w 30"/>
                    <a:gd name="T25" fmla="*/ 12 h 48"/>
                    <a:gd name="T26" fmla="*/ 6 w 30"/>
                    <a:gd name="T27" fmla="*/ 6 h 48"/>
                    <a:gd name="T28" fmla="*/ 12 w 30"/>
                    <a:gd name="T2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0" h="48">
                      <a:moveTo>
                        <a:pt x="12" y="0"/>
                      </a:moveTo>
                      <a:lnTo>
                        <a:pt x="24" y="6"/>
                      </a:lnTo>
                      <a:lnTo>
                        <a:pt x="24" y="12"/>
                      </a:lnTo>
                      <a:lnTo>
                        <a:pt x="30" y="18"/>
                      </a:lnTo>
                      <a:lnTo>
                        <a:pt x="30" y="30"/>
                      </a:lnTo>
                      <a:lnTo>
                        <a:pt x="30" y="42"/>
                      </a:lnTo>
                      <a:lnTo>
                        <a:pt x="24" y="48"/>
                      </a:lnTo>
                      <a:lnTo>
                        <a:pt x="18" y="48"/>
                      </a:lnTo>
                      <a:lnTo>
                        <a:pt x="12" y="48"/>
                      </a:lnTo>
                      <a:lnTo>
                        <a:pt x="6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4" name="Freeform 294">
                  <a:extLst>
                    <a:ext uri="{FF2B5EF4-FFF2-40B4-BE49-F238E27FC236}">
                      <a16:creationId xmlns:a16="http://schemas.microsoft.com/office/drawing/2014/main" id="{E163E3E3-1FB2-45BE-84F9-CC6EB4A9F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301" y="-5202"/>
                  <a:ext cx="30" cy="84"/>
                </a:xfrm>
                <a:custGeom>
                  <a:avLst/>
                  <a:gdLst>
                    <a:gd name="T0" fmla="*/ 6 w 30"/>
                    <a:gd name="T1" fmla="*/ 0 h 84"/>
                    <a:gd name="T2" fmla="*/ 12 w 30"/>
                    <a:gd name="T3" fmla="*/ 6 h 84"/>
                    <a:gd name="T4" fmla="*/ 24 w 30"/>
                    <a:gd name="T5" fmla="*/ 24 h 84"/>
                    <a:gd name="T6" fmla="*/ 24 w 30"/>
                    <a:gd name="T7" fmla="*/ 36 h 84"/>
                    <a:gd name="T8" fmla="*/ 30 w 30"/>
                    <a:gd name="T9" fmla="*/ 48 h 84"/>
                    <a:gd name="T10" fmla="*/ 30 w 30"/>
                    <a:gd name="T11" fmla="*/ 60 h 84"/>
                    <a:gd name="T12" fmla="*/ 30 w 30"/>
                    <a:gd name="T13" fmla="*/ 72 h 84"/>
                    <a:gd name="T14" fmla="*/ 30 w 30"/>
                    <a:gd name="T15" fmla="*/ 78 h 84"/>
                    <a:gd name="T16" fmla="*/ 24 w 30"/>
                    <a:gd name="T17" fmla="*/ 84 h 84"/>
                    <a:gd name="T18" fmla="*/ 18 w 30"/>
                    <a:gd name="T19" fmla="*/ 78 h 84"/>
                    <a:gd name="T20" fmla="*/ 12 w 30"/>
                    <a:gd name="T21" fmla="*/ 66 h 84"/>
                    <a:gd name="T22" fmla="*/ 6 w 30"/>
                    <a:gd name="T23" fmla="*/ 54 h 84"/>
                    <a:gd name="T24" fmla="*/ 0 w 30"/>
                    <a:gd name="T25" fmla="*/ 36 h 84"/>
                    <a:gd name="T26" fmla="*/ 0 w 30"/>
                    <a:gd name="T27" fmla="*/ 24 h 84"/>
                    <a:gd name="T28" fmla="*/ 0 w 30"/>
                    <a:gd name="T29" fmla="*/ 12 h 84"/>
                    <a:gd name="T30" fmla="*/ 6 w 30"/>
                    <a:gd name="T31" fmla="*/ 0 h 84"/>
                    <a:gd name="T32" fmla="*/ 6 w 30"/>
                    <a:gd name="T33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0" h="84">
                      <a:moveTo>
                        <a:pt x="6" y="0"/>
                      </a:moveTo>
                      <a:lnTo>
                        <a:pt x="12" y="6"/>
                      </a:lnTo>
                      <a:lnTo>
                        <a:pt x="24" y="24"/>
                      </a:lnTo>
                      <a:lnTo>
                        <a:pt x="24" y="36"/>
                      </a:lnTo>
                      <a:lnTo>
                        <a:pt x="30" y="48"/>
                      </a:lnTo>
                      <a:lnTo>
                        <a:pt x="30" y="60"/>
                      </a:lnTo>
                      <a:lnTo>
                        <a:pt x="30" y="72"/>
                      </a:lnTo>
                      <a:lnTo>
                        <a:pt x="30" y="78"/>
                      </a:lnTo>
                      <a:lnTo>
                        <a:pt x="24" y="84"/>
                      </a:lnTo>
                      <a:lnTo>
                        <a:pt x="18" y="78"/>
                      </a:lnTo>
                      <a:lnTo>
                        <a:pt x="12" y="66"/>
                      </a:lnTo>
                      <a:lnTo>
                        <a:pt x="6" y="54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6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5" name="Freeform 295">
                  <a:extLst>
                    <a:ext uri="{FF2B5EF4-FFF2-40B4-BE49-F238E27FC236}">
                      <a16:creationId xmlns:a16="http://schemas.microsoft.com/office/drawing/2014/main" id="{2FEDEEA1-C496-48CC-8249-32FDA72A5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433" y="-5502"/>
                  <a:ext cx="96" cy="126"/>
                </a:xfrm>
                <a:custGeom>
                  <a:avLst/>
                  <a:gdLst>
                    <a:gd name="T0" fmla="*/ 90 w 96"/>
                    <a:gd name="T1" fmla="*/ 0 h 126"/>
                    <a:gd name="T2" fmla="*/ 96 w 96"/>
                    <a:gd name="T3" fmla="*/ 0 h 126"/>
                    <a:gd name="T4" fmla="*/ 96 w 96"/>
                    <a:gd name="T5" fmla="*/ 6 h 126"/>
                    <a:gd name="T6" fmla="*/ 90 w 96"/>
                    <a:gd name="T7" fmla="*/ 12 h 126"/>
                    <a:gd name="T8" fmla="*/ 90 w 96"/>
                    <a:gd name="T9" fmla="*/ 24 h 126"/>
                    <a:gd name="T10" fmla="*/ 84 w 96"/>
                    <a:gd name="T11" fmla="*/ 36 h 126"/>
                    <a:gd name="T12" fmla="*/ 84 w 96"/>
                    <a:gd name="T13" fmla="*/ 48 h 126"/>
                    <a:gd name="T14" fmla="*/ 84 w 96"/>
                    <a:gd name="T15" fmla="*/ 54 h 126"/>
                    <a:gd name="T16" fmla="*/ 78 w 96"/>
                    <a:gd name="T17" fmla="*/ 66 h 126"/>
                    <a:gd name="T18" fmla="*/ 72 w 96"/>
                    <a:gd name="T19" fmla="*/ 72 h 126"/>
                    <a:gd name="T20" fmla="*/ 66 w 96"/>
                    <a:gd name="T21" fmla="*/ 78 h 126"/>
                    <a:gd name="T22" fmla="*/ 60 w 96"/>
                    <a:gd name="T23" fmla="*/ 84 h 126"/>
                    <a:gd name="T24" fmla="*/ 54 w 96"/>
                    <a:gd name="T25" fmla="*/ 96 h 126"/>
                    <a:gd name="T26" fmla="*/ 48 w 96"/>
                    <a:gd name="T27" fmla="*/ 108 h 126"/>
                    <a:gd name="T28" fmla="*/ 42 w 96"/>
                    <a:gd name="T29" fmla="*/ 120 h 126"/>
                    <a:gd name="T30" fmla="*/ 36 w 96"/>
                    <a:gd name="T31" fmla="*/ 126 h 126"/>
                    <a:gd name="T32" fmla="*/ 30 w 96"/>
                    <a:gd name="T33" fmla="*/ 126 h 126"/>
                    <a:gd name="T34" fmla="*/ 18 w 96"/>
                    <a:gd name="T35" fmla="*/ 126 h 126"/>
                    <a:gd name="T36" fmla="*/ 6 w 96"/>
                    <a:gd name="T37" fmla="*/ 114 h 126"/>
                    <a:gd name="T38" fmla="*/ 0 w 96"/>
                    <a:gd name="T39" fmla="*/ 108 h 126"/>
                    <a:gd name="T40" fmla="*/ 0 w 96"/>
                    <a:gd name="T41" fmla="*/ 90 h 126"/>
                    <a:gd name="T42" fmla="*/ 0 w 96"/>
                    <a:gd name="T43" fmla="*/ 72 h 126"/>
                    <a:gd name="T44" fmla="*/ 0 w 96"/>
                    <a:gd name="T45" fmla="*/ 54 h 126"/>
                    <a:gd name="T46" fmla="*/ 6 w 96"/>
                    <a:gd name="T47" fmla="*/ 42 h 126"/>
                    <a:gd name="T48" fmla="*/ 12 w 96"/>
                    <a:gd name="T49" fmla="*/ 30 h 126"/>
                    <a:gd name="T50" fmla="*/ 24 w 96"/>
                    <a:gd name="T51" fmla="*/ 18 h 126"/>
                    <a:gd name="T52" fmla="*/ 36 w 96"/>
                    <a:gd name="T53" fmla="*/ 12 h 126"/>
                    <a:gd name="T54" fmla="*/ 48 w 96"/>
                    <a:gd name="T55" fmla="*/ 6 h 126"/>
                    <a:gd name="T56" fmla="*/ 66 w 96"/>
                    <a:gd name="T57" fmla="*/ 6 h 126"/>
                    <a:gd name="T58" fmla="*/ 84 w 96"/>
                    <a:gd name="T59" fmla="*/ 0 h 126"/>
                    <a:gd name="T60" fmla="*/ 90 w 96"/>
                    <a:gd name="T61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96" h="126">
                      <a:moveTo>
                        <a:pt x="90" y="0"/>
                      </a:moveTo>
                      <a:lnTo>
                        <a:pt x="96" y="0"/>
                      </a:lnTo>
                      <a:lnTo>
                        <a:pt x="96" y="6"/>
                      </a:lnTo>
                      <a:lnTo>
                        <a:pt x="90" y="12"/>
                      </a:lnTo>
                      <a:lnTo>
                        <a:pt x="90" y="24"/>
                      </a:lnTo>
                      <a:lnTo>
                        <a:pt x="84" y="36"/>
                      </a:lnTo>
                      <a:lnTo>
                        <a:pt x="84" y="48"/>
                      </a:lnTo>
                      <a:lnTo>
                        <a:pt x="84" y="54"/>
                      </a:lnTo>
                      <a:lnTo>
                        <a:pt x="78" y="66"/>
                      </a:lnTo>
                      <a:lnTo>
                        <a:pt x="72" y="72"/>
                      </a:lnTo>
                      <a:lnTo>
                        <a:pt x="66" y="78"/>
                      </a:lnTo>
                      <a:lnTo>
                        <a:pt x="60" y="84"/>
                      </a:lnTo>
                      <a:lnTo>
                        <a:pt x="54" y="96"/>
                      </a:lnTo>
                      <a:lnTo>
                        <a:pt x="48" y="108"/>
                      </a:lnTo>
                      <a:lnTo>
                        <a:pt x="42" y="120"/>
                      </a:lnTo>
                      <a:lnTo>
                        <a:pt x="36" y="126"/>
                      </a:lnTo>
                      <a:lnTo>
                        <a:pt x="30" y="126"/>
                      </a:lnTo>
                      <a:lnTo>
                        <a:pt x="18" y="126"/>
                      </a:lnTo>
                      <a:lnTo>
                        <a:pt x="6" y="114"/>
                      </a:lnTo>
                      <a:lnTo>
                        <a:pt x="0" y="108"/>
                      </a:lnTo>
                      <a:lnTo>
                        <a:pt x="0" y="90"/>
                      </a:lnTo>
                      <a:lnTo>
                        <a:pt x="0" y="72"/>
                      </a:lnTo>
                      <a:lnTo>
                        <a:pt x="0" y="54"/>
                      </a:lnTo>
                      <a:lnTo>
                        <a:pt x="6" y="42"/>
                      </a:lnTo>
                      <a:lnTo>
                        <a:pt x="12" y="30"/>
                      </a:lnTo>
                      <a:lnTo>
                        <a:pt x="24" y="18"/>
                      </a:lnTo>
                      <a:lnTo>
                        <a:pt x="36" y="12"/>
                      </a:lnTo>
                      <a:lnTo>
                        <a:pt x="48" y="6"/>
                      </a:lnTo>
                      <a:lnTo>
                        <a:pt x="66" y="6"/>
                      </a:lnTo>
                      <a:lnTo>
                        <a:pt x="84" y="0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6" name="Freeform 296">
                  <a:extLst>
                    <a:ext uri="{FF2B5EF4-FFF2-40B4-BE49-F238E27FC236}">
                      <a16:creationId xmlns:a16="http://schemas.microsoft.com/office/drawing/2014/main" id="{B089FECE-4626-452F-957C-51F0BB64EF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409" y="-5322"/>
                  <a:ext cx="42" cy="126"/>
                </a:xfrm>
                <a:custGeom>
                  <a:avLst/>
                  <a:gdLst>
                    <a:gd name="T0" fmla="*/ 18 w 42"/>
                    <a:gd name="T1" fmla="*/ 0 h 126"/>
                    <a:gd name="T2" fmla="*/ 24 w 42"/>
                    <a:gd name="T3" fmla="*/ 6 h 126"/>
                    <a:gd name="T4" fmla="*/ 30 w 42"/>
                    <a:gd name="T5" fmla="*/ 12 h 126"/>
                    <a:gd name="T6" fmla="*/ 36 w 42"/>
                    <a:gd name="T7" fmla="*/ 24 h 126"/>
                    <a:gd name="T8" fmla="*/ 42 w 42"/>
                    <a:gd name="T9" fmla="*/ 48 h 126"/>
                    <a:gd name="T10" fmla="*/ 42 w 42"/>
                    <a:gd name="T11" fmla="*/ 66 h 126"/>
                    <a:gd name="T12" fmla="*/ 42 w 42"/>
                    <a:gd name="T13" fmla="*/ 84 h 126"/>
                    <a:gd name="T14" fmla="*/ 42 w 42"/>
                    <a:gd name="T15" fmla="*/ 108 h 126"/>
                    <a:gd name="T16" fmla="*/ 36 w 42"/>
                    <a:gd name="T17" fmla="*/ 120 h 126"/>
                    <a:gd name="T18" fmla="*/ 30 w 42"/>
                    <a:gd name="T19" fmla="*/ 126 h 126"/>
                    <a:gd name="T20" fmla="*/ 24 w 42"/>
                    <a:gd name="T21" fmla="*/ 120 h 126"/>
                    <a:gd name="T22" fmla="*/ 18 w 42"/>
                    <a:gd name="T23" fmla="*/ 114 h 126"/>
                    <a:gd name="T24" fmla="*/ 12 w 42"/>
                    <a:gd name="T25" fmla="*/ 102 h 126"/>
                    <a:gd name="T26" fmla="*/ 6 w 42"/>
                    <a:gd name="T27" fmla="*/ 90 h 126"/>
                    <a:gd name="T28" fmla="*/ 6 w 42"/>
                    <a:gd name="T29" fmla="*/ 78 h 126"/>
                    <a:gd name="T30" fmla="*/ 0 w 42"/>
                    <a:gd name="T31" fmla="*/ 66 h 126"/>
                    <a:gd name="T32" fmla="*/ 0 w 42"/>
                    <a:gd name="T33" fmla="*/ 54 h 126"/>
                    <a:gd name="T34" fmla="*/ 0 w 42"/>
                    <a:gd name="T35" fmla="*/ 42 h 126"/>
                    <a:gd name="T36" fmla="*/ 0 w 42"/>
                    <a:gd name="T37" fmla="*/ 24 h 126"/>
                    <a:gd name="T38" fmla="*/ 0 w 42"/>
                    <a:gd name="T39" fmla="*/ 18 h 126"/>
                    <a:gd name="T40" fmla="*/ 6 w 42"/>
                    <a:gd name="T41" fmla="*/ 12 h 126"/>
                    <a:gd name="T42" fmla="*/ 6 w 42"/>
                    <a:gd name="T43" fmla="*/ 6 h 126"/>
                    <a:gd name="T44" fmla="*/ 18 w 42"/>
                    <a:gd name="T45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2" h="126">
                      <a:moveTo>
                        <a:pt x="18" y="0"/>
                      </a:moveTo>
                      <a:lnTo>
                        <a:pt x="24" y="6"/>
                      </a:lnTo>
                      <a:lnTo>
                        <a:pt x="30" y="12"/>
                      </a:lnTo>
                      <a:lnTo>
                        <a:pt x="36" y="24"/>
                      </a:lnTo>
                      <a:lnTo>
                        <a:pt x="42" y="48"/>
                      </a:lnTo>
                      <a:lnTo>
                        <a:pt x="42" y="66"/>
                      </a:lnTo>
                      <a:lnTo>
                        <a:pt x="42" y="84"/>
                      </a:lnTo>
                      <a:lnTo>
                        <a:pt x="42" y="108"/>
                      </a:lnTo>
                      <a:lnTo>
                        <a:pt x="36" y="120"/>
                      </a:lnTo>
                      <a:lnTo>
                        <a:pt x="30" y="126"/>
                      </a:lnTo>
                      <a:lnTo>
                        <a:pt x="24" y="120"/>
                      </a:lnTo>
                      <a:lnTo>
                        <a:pt x="18" y="114"/>
                      </a:lnTo>
                      <a:lnTo>
                        <a:pt x="12" y="102"/>
                      </a:lnTo>
                      <a:lnTo>
                        <a:pt x="6" y="90"/>
                      </a:lnTo>
                      <a:lnTo>
                        <a:pt x="6" y="78"/>
                      </a:lnTo>
                      <a:lnTo>
                        <a:pt x="0" y="66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6" y="6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7" name="Freeform 297">
                  <a:extLst>
                    <a:ext uri="{FF2B5EF4-FFF2-40B4-BE49-F238E27FC236}">
                      <a16:creationId xmlns:a16="http://schemas.microsoft.com/office/drawing/2014/main" id="{CC6613DF-067C-4287-BDC3-AF99A398F1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367" y="-5136"/>
                  <a:ext cx="24" cy="48"/>
                </a:xfrm>
                <a:custGeom>
                  <a:avLst/>
                  <a:gdLst>
                    <a:gd name="T0" fmla="*/ 6 w 24"/>
                    <a:gd name="T1" fmla="*/ 0 h 48"/>
                    <a:gd name="T2" fmla="*/ 18 w 24"/>
                    <a:gd name="T3" fmla="*/ 6 h 48"/>
                    <a:gd name="T4" fmla="*/ 24 w 24"/>
                    <a:gd name="T5" fmla="*/ 18 h 48"/>
                    <a:gd name="T6" fmla="*/ 24 w 24"/>
                    <a:gd name="T7" fmla="*/ 30 h 48"/>
                    <a:gd name="T8" fmla="*/ 24 w 24"/>
                    <a:gd name="T9" fmla="*/ 36 h 48"/>
                    <a:gd name="T10" fmla="*/ 18 w 24"/>
                    <a:gd name="T11" fmla="*/ 48 h 48"/>
                    <a:gd name="T12" fmla="*/ 18 w 24"/>
                    <a:gd name="T13" fmla="*/ 48 h 48"/>
                    <a:gd name="T14" fmla="*/ 12 w 24"/>
                    <a:gd name="T15" fmla="*/ 48 h 48"/>
                    <a:gd name="T16" fmla="*/ 0 w 24"/>
                    <a:gd name="T17" fmla="*/ 36 h 48"/>
                    <a:gd name="T18" fmla="*/ 0 w 24"/>
                    <a:gd name="T19" fmla="*/ 24 h 48"/>
                    <a:gd name="T20" fmla="*/ 0 w 24"/>
                    <a:gd name="T21" fmla="*/ 12 h 48"/>
                    <a:gd name="T22" fmla="*/ 0 w 24"/>
                    <a:gd name="T23" fmla="*/ 6 h 48"/>
                    <a:gd name="T24" fmla="*/ 6 w 24"/>
                    <a:gd name="T2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" h="48">
                      <a:moveTo>
                        <a:pt x="6" y="0"/>
                      </a:moveTo>
                      <a:lnTo>
                        <a:pt x="18" y="6"/>
                      </a:lnTo>
                      <a:lnTo>
                        <a:pt x="24" y="18"/>
                      </a:lnTo>
                      <a:lnTo>
                        <a:pt x="24" y="30"/>
                      </a:lnTo>
                      <a:lnTo>
                        <a:pt x="24" y="36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2" y="48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8" name="Freeform 298">
                  <a:extLst>
                    <a:ext uri="{FF2B5EF4-FFF2-40B4-BE49-F238E27FC236}">
                      <a16:creationId xmlns:a16="http://schemas.microsoft.com/office/drawing/2014/main" id="{727616A7-7CFE-425F-921B-02808EB8C8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325" y="-5052"/>
                  <a:ext cx="72" cy="180"/>
                </a:xfrm>
                <a:custGeom>
                  <a:avLst/>
                  <a:gdLst>
                    <a:gd name="T0" fmla="*/ 30 w 72"/>
                    <a:gd name="T1" fmla="*/ 0 h 180"/>
                    <a:gd name="T2" fmla="*/ 42 w 72"/>
                    <a:gd name="T3" fmla="*/ 0 h 180"/>
                    <a:gd name="T4" fmla="*/ 54 w 72"/>
                    <a:gd name="T5" fmla="*/ 6 h 180"/>
                    <a:gd name="T6" fmla="*/ 60 w 72"/>
                    <a:gd name="T7" fmla="*/ 18 h 180"/>
                    <a:gd name="T8" fmla="*/ 66 w 72"/>
                    <a:gd name="T9" fmla="*/ 36 h 180"/>
                    <a:gd name="T10" fmla="*/ 66 w 72"/>
                    <a:gd name="T11" fmla="*/ 48 h 180"/>
                    <a:gd name="T12" fmla="*/ 66 w 72"/>
                    <a:gd name="T13" fmla="*/ 66 h 180"/>
                    <a:gd name="T14" fmla="*/ 66 w 72"/>
                    <a:gd name="T15" fmla="*/ 78 h 180"/>
                    <a:gd name="T16" fmla="*/ 66 w 72"/>
                    <a:gd name="T17" fmla="*/ 90 h 180"/>
                    <a:gd name="T18" fmla="*/ 72 w 72"/>
                    <a:gd name="T19" fmla="*/ 108 h 180"/>
                    <a:gd name="T20" fmla="*/ 72 w 72"/>
                    <a:gd name="T21" fmla="*/ 120 h 180"/>
                    <a:gd name="T22" fmla="*/ 66 w 72"/>
                    <a:gd name="T23" fmla="*/ 132 h 180"/>
                    <a:gd name="T24" fmla="*/ 66 w 72"/>
                    <a:gd name="T25" fmla="*/ 144 h 180"/>
                    <a:gd name="T26" fmla="*/ 60 w 72"/>
                    <a:gd name="T27" fmla="*/ 156 h 180"/>
                    <a:gd name="T28" fmla="*/ 54 w 72"/>
                    <a:gd name="T29" fmla="*/ 168 h 180"/>
                    <a:gd name="T30" fmla="*/ 48 w 72"/>
                    <a:gd name="T31" fmla="*/ 174 h 180"/>
                    <a:gd name="T32" fmla="*/ 42 w 72"/>
                    <a:gd name="T33" fmla="*/ 180 h 180"/>
                    <a:gd name="T34" fmla="*/ 30 w 72"/>
                    <a:gd name="T35" fmla="*/ 180 h 180"/>
                    <a:gd name="T36" fmla="*/ 24 w 72"/>
                    <a:gd name="T37" fmla="*/ 168 h 180"/>
                    <a:gd name="T38" fmla="*/ 12 w 72"/>
                    <a:gd name="T39" fmla="*/ 150 h 180"/>
                    <a:gd name="T40" fmla="*/ 6 w 72"/>
                    <a:gd name="T41" fmla="*/ 138 h 180"/>
                    <a:gd name="T42" fmla="*/ 0 w 72"/>
                    <a:gd name="T43" fmla="*/ 120 h 180"/>
                    <a:gd name="T44" fmla="*/ 0 w 72"/>
                    <a:gd name="T45" fmla="*/ 102 h 180"/>
                    <a:gd name="T46" fmla="*/ 6 w 72"/>
                    <a:gd name="T47" fmla="*/ 90 h 180"/>
                    <a:gd name="T48" fmla="*/ 18 w 72"/>
                    <a:gd name="T49" fmla="*/ 72 h 180"/>
                    <a:gd name="T50" fmla="*/ 24 w 72"/>
                    <a:gd name="T51" fmla="*/ 54 h 180"/>
                    <a:gd name="T52" fmla="*/ 24 w 72"/>
                    <a:gd name="T53" fmla="*/ 42 h 180"/>
                    <a:gd name="T54" fmla="*/ 24 w 72"/>
                    <a:gd name="T55" fmla="*/ 30 h 180"/>
                    <a:gd name="T56" fmla="*/ 24 w 72"/>
                    <a:gd name="T57" fmla="*/ 18 h 180"/>
                    <a:gd name="T58" fmla="*/ 24 w 72"/>
                    <a:gd name="T59" fmla="*/ 12 h 180"/>
                    <a:gd name="T60" fmla="*/ 24 w 72"/>
                    <a:gd name="T61" fmla="*/ 6 h 180"/>
                    <a:gd name="T62" fmla="*/ 30 w 72"/>
                    <a:gd name="T63" fmla="*/ 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2" h="180">
                      <a:moveTo>
                        <a:pt x="30" y="0"/>
                      </a:moveTo>
                      <a:lnTo>
                        <a:pt x="42" y="0"/>
                      </a:lnTo>
                      <a:lnTo>
                        <a:pt x="54" y="6"/>
                      </a:lnTo>
                      <a:lnTo>
                        <a:pt x="60" y="18"/>
                      </a:lnTo>
                      <a:lnTo>
                        <a:pt x="66" y="36"/>
                      </a:lnTo>
                      <a:lnTo>
                        <a:pt x="66" y="48"/>
                      </a:lnTo>
                      <a:lnTo>
                        <a:pt x="66" y="66"/>
                      </a:lnTo>
                      <a:lnTo>
                        <a:pt x="66" y="78"/>
                      </a:lnTo>
                      <a:lnTo>
                        <a:pt x="66" y="90"/>
                      </a:lnTo>
                      <a:lnTo>
                        <a:pt x="72" y="108"/>
                      </a:lnTo>
                      <a:lnTo>
                        <a:pt x="72" y="120"/>
                      </a:lnTo>
                      <a:lnTo>
                        <a:pt x="66" y="132"/>
                      </a:lnTo>
                      <a:lnTo>
                        <a:pt x="66" y="144"/>
                      </a:lnTo>
                      <a:lnTo>
                        <a:pt x="60" y="156"/>
                      </a:lnTo>
                      <a:lnTo>
                        <a:pt x="54" y="168"/>
                      </a:lnTo>
                      <a:lnTo>
                        <a:pt x="48" y="174"/>
                      </a:lnTo>
                      <a:lnTo>
                        <a:pt x="42" y="180"/>
                      </a:lnTo>
                      <a:lnTo>
                        <a:pt x="30" y="180"/>
                      </a:lnTo>
                      <a:lnTo>
                        <a:pt x="24" y="168"/>
                      </a:lnTo>
                      <a:lnTo>
                        <a:pt x="12" y="150"/>
                      </a:lnTo>
                      <a:lnTo>
                        <a:pt x="6" y="138"/>
                      </a:lnTo>
                      <a:lnTo>
                        <a:pt x="0" y="120"/>
                      </a:lnTo>
                      <a:lnTo>
                        <a:pt x="0" y="102"/>
                      </a:lnTo>
                      <a:lnTo>
                        <a:pt x="6" y="90"/>
                      </a:lnTo>
                      <a:lnTo>
                        <a:pt x="18" y="72"/>
                      </a:lnTo>
                      <a:lnTo>
                        <a:pt x="24" y="54"/>
                      </a:lnTo>
                      <a:lnTo>
                        <a:pt x="24" y="42"/>
                      </a:lnTo>
                      <a:lnTo>
                        <a:pt x="24" y="30"/>
                      </a:lnTo>
                      <a:lnTo>
                        <a:pt x="24" y="18"/>
                      </a:ln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69" name="Freeform 299">
                  <a:extLst>
                    <a:ext uri="{FF2B5EF4-FFF2-40B4-BE49-F238E27FC236}">
                      <a16:creationId xmlns:a16="http://schemas.microsoft.com/office/drawing/2014/main" id="{E8B0B920-E0C7-4E7C-9AF1-4661BD3AD7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361" y="-4824"/>
                  <a:ext cx="54" cy="78"/>
                </a:xfrm>
                <a:custGeom>
                  <a:avLst/>
                  <a:gdLst>
                    <a:gd name="T0" fmla="*/ 42 w 54"/>
                    <a:gd name="T1" fmla="*/ 0 h 78"/>
                    <a:gd name="T2" fmla="*/ 48 w 54"/>
                    <a:gd name="T3" fmla="*/ 0 h 78"/>
                    <a:gd name="T4" fmla="*/ 54 w 54"/>
                    <a:gd name="T5" fmla="*/ 6 h 78"/>
                    <a:gd name="T6" fmla="*/ 54 w 54"/>
                    <a:gd name="T7" fmla="*/ 18 h 78"/>
                    <a:gd name="T8" fmla="*/ 54 w 54"/>
                    <a:gd name="T9" fmla="*/ 36 h 78"/>
                    <a:gd name="T10" fmla="*/ 54 w 54"/>
                    <a:gd name="T11" fmla="*/ 48 h 78"/>
                    <a:gd name="T12" fmla="*/ 54 w 54"/>
                    <a:gd name="T13" fmla="*/ 60 h 78"/>
                    <a:gd name="T14" fmla="*/ 48 w 54"/>
                    <a:gd name="T15" fmla="*/ 72 h 78"/>
                    <a:gd name="T16" fmla="*/ 36 w 54"/>
                    <a:gd name="T17" fmla="*/ 78 h 78"/>
                    <a:gd name="T18" fmla="*/ 30 w 54"/>
                    <a:gd name="T19" fmla="*/ 78 h 78"/>
                    <a:gd name="T20" fmla="*/ 18 w 54"/>
                    <a:gd name="T21" fmla="*/ 72 h 78"/>
                    <a:gd name="T22" fmla="*/ 12 w 54"/>
                    <a:gd name="T23" fmla="*/ 60 h 78"/>
                    <a:gd name="T24" fmla="*/ 6 w 54"/>
                    <a:gd name="T25" fmla="*/ 48 h 78"/>
                    <a:gd name="T26" fmla="*/ 0 w 54"/>
                    <a:gd name="T27" fmla="*/ 36 h 78"/>
                    <a:gd name="T28" fmla="*/ 6 w 54"/>
                    <a:gd name="T29" fmla="*/ 24 h 78"/>
                    <a:gd name="T30" fmla="*/ 12 w 54"/>
                    <a:gd name="T31" fmla="*/ 18 h 78"/>
                    <a:gd name="T32" fmla="*/ 24 w 54"/>
                    <a:gd name="T33" fmla="*/ 6 h 78"/>
                    <a:gd name="T34" fmla="*/ 30 w 54"/>
                    <a:gd name="T35" fmla="*/ 0 h 78"/>
                    <a:gd name="T36" fmla="*/ 42 w 54"/>
                    <a:gd name="T37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4" h="78">
                      <a:moveTo>
                        <a:pt x="42" y="0"/>
                      </a:moveTo>
                      <a:lnTo>
                        <a:pt x="48" y="0"/>
                      </a:lnTo>
                      <a:lnTo>
                        <a:pt x="54" y="6"/>
                      </a:lnTo>
                      <a:lnTo>
                        <a:pt x="54" y="18"/>
                      </a:lnTo>
                      <a:lnTo>
                        <a:pt x="54" y="36"/>
                      </a:lnTo>
                      <a:lnTo>
                        <a:pt x="54" y="48"/>
                      </a:lnTo>
                      <a:lnTo>
                        <a:pt x="54" y="60"/>
                      </a:lnTo>
                      <a:lnTo>
                        <a:pt x="48" y="72"/>
                      </a:lnTo>
                      <a:lnTo>
                        <a:pt x="36" y="78"/>
                      </a:lnTo>
                      <a:lnTo>
                        <a:pt x="30" y="78"/>
                      </a:lnTo>
                      <a:lnTo>
                        <a:pt x="18" y="72"/>
                      </a:lnTo>
                      <a:lnTo>
                        <a:pt x="12" y="60"/>
                      </a:lnTo>
                      <a:lnTo>
                        <a:pt x="6" y="48"/>
                      </a:lnTo>
                      <a:lnTo>
                        <a:pt x="0" y="36"/>
                      </a:lnTo>
                      <a:lnTo>
                        <a:pt x="6" y="24"/>
                      </a:lnTo>
                      <a:lnTo>
                        <a:pt x="12" y="18"/>
                      </a:lnTo>
                      <a:lnTo>
                        <a:pt x="24" y="6"/>
                      </a:lnTo>
                      <a:lnTo>
                        <a:pt x="30" y="0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0" name="Freeform 300">
                  <a:extLst>
                    <a:ext uri="{FF2B5EF4-FFF2-40B4-BE49-F238E27FC236}">
                      <a16:creationId xmlns:a16="http://schemas.microsoft.com/office/drawing/2014/main" id="{466975CD-8C62-4A3D-8DD9-C0892F4AC5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475" y="-4680"/>
                  <a:ext cx="126" cy="204"/>
                </a:xfrm>
                <a:custGeom>
                  <a:avLst/>
                  <a:gdLst>
                    <a:gd name="T0" fmla="*/ 42 w 126"/>
                    <a:gd name="T1" fmla="*/ 0 h 204"/>
                    <a:gd name="T2" fmla="*/ 48 w 126"/>
                    <a:gd name="T3" fmla="*/ 0 h 204"/>
                    <a:gd name="T4" fmla="*/ 54 w 126"/>
                    <a:gd name="T5" fmla="*/ 6 h 204"/>
                    <a:gd name="T6" fmla="*/ 60 w 126"/>
                    <a:gd name="T7" fmla="*/ 12 h 204"/>
                    <a:gd name="T8" fmla="*/ 66 w 126"/>
                    <a:gd name="T9" fmla="*/ 18 h 204"/>
                    <a:gd name="T10" fmla="*/ 78 w 126"/>
                    <a:gd name="T11" fmla="*/ 18 h 204"/>
                    <a:gd name="T12" fmla="*/ 84 w 126"/>
                    <a:gd name="T13" fmla="*/ 24 h 204"/>
                    <a:gd name="T14" fmla="*/ 90 w 126"/>
                    <a:gd name="T15" fmla="*/ 36 h 204"/>
                    <a:gd name="T16" fmla="*/ 90 w 126"/>
                    <a:gd name="T17" fmla="*/ 42 h 204"/>
                    <a:gd name="T18" fmla="*/ 90 w 126"/>
                    <a:gd name="T19" fmla="*/ 54 h 204"/>
                    <a:gd name="T20" fmla="*/ 90 w 126"/>
                    <a:gd name="T21" fmla="*/ 60 h 204"/>
                    <a:gd name="T22" fmla="*/ 102 w 126"/>
                    <a:gd name="T23" fmla="*/ 60 h 204"/>
                    <a:gd name="T24" fmla="*/ 114 w 126"/>
                    <a:gd name="T25" fmla="*/ 60 h 204"/>
                    <a:gd name="T26" fmla="*/ 120 w 126"/>
                    <a:gd name="T27" fmla="*/ 60 h 204"/>
                    <a:gd name="T28" fmla="*/ 126 w 126"/>
                    <a:gd name="T29" fmla="*/ 66 h 204"/>
                    <a:gd name="T30" fmla="*/ 120 w 126"/>
                    <a:gd name="T31" fmla="*/ 72 h 204"/>
                    <a:gd name="T32" fmla="*/ 114 w 126"/>
                    <a:gd name="T33" fmla="*/ 84 h 204"/>
                    <a:gd name="T34" fmla="*/ 108 w 126"/>
                    <a:gd name="T35" fmla="*/ 90 h 204"/>
                    <a:gd name="T36" fmla="*/ 102 w 126"/>
                    <a:gd name="T37" fmla="*/ 102 h 204"/>
                    <a:gd name="T38" fmla="*/ 90 w 126"/>
                    <a:gd name="T39" fmla="*/ 114 h 204"/>
                    <a:gd name="T40" fmla="*/ 78 w 126"/>
                    <a:gd name="T41" fmla="*/ 132 h 204"/>
                    <a:gd name="T42" fmla="*/ 72 w 126"/>
                    <a:gd name="T43" fmla="*/ 144 h 204"/>
                    <a:gd name="T44" fmla="*/ 66 w 126"/>
                    <a:gd name="T45" fmla="*/ 156 h 204"/>
                    <a:gd name="T46" fmla="*/ 66 w 126"/>
                    <a:gd name="T47" fmla="*/ 168 h 204"/>
                    <a:gd name="T48" fmla="*/ 60 w 126"/>
                    <a:gd name="T49" fmla="*/ 180 h 204"/>
                    <a:gd name="T50" fmla="*/ 54 w 126"/>
                    <a:gd name="T51" fmla="*/ 192 h 204"/>
                    <a:gd name="T52" fmla="*/ 48 w 126"/>
                    <a:gd name="T53" fmla="*/ 198 h 204"/>
                    <a:gd name="T54" fmla="*/ 36 w 126"/>
                    <a:gd name="T55" fmla="*/ 204 h 204"/>
                    <a:gd name="T56" fmla="*/ 24 w 126"/>
                    <a:gd name="T57" fmla="*/ 198 h 204"/>
                    <a:gd name="T58" fmla="*/ 12 w 126"/>
                    <a:gd name="T59" fmla="*/ 186 h 204"/>
                    <a:gd name="T60" fmla="*/ 6 w 126"/>
                    <a:gd name="T61" fmla="*/ 174 h 204"/>
                    <a:gd name="T62" fmla="*/ 0 w 126"/>
                    <a:gd name="T63" fmla="*/ 156 h 204"/>
                    <a:gd name="T64" fmla="*/ 0 w 126"/>
                    <a:gd name="T65" fmla="*/ 138 h 204"/>
                    <a:gd name="T66" fmla="*/ 6 w 126"/>
                    <a:gd name="T67" fmla="*/ 120 h 204"/>
                    <a:gd name="T68" fmla="*/ 12 w 126"/>
                    <a:gd name="T69" fmla="*/ 102 h 204"/>
                    <a:gd name="T70" fmla="*/ 12 w 126"/>
                    <a:gd name="T71" fmla="*/ 78 h 204"/>
                    <a:gd name="T72" fmla="*/ 18 w 126"/>
                    <a:gd name="T73" fmla="*/ 60 h 204"/>
                    <a:gd name="T74" fmla="*/ 24 w 126"/>
                    <a:gd name="T75" fmla="*/ 42 h 204"/>
                    <a:gd name="T76" fmla="*/ 24 w 126"/>
                    <a:gd name="T77" fmla="*/ 24 h 204"/>
                    <a:gd name="T78" fmla="*/ 30 w 126"/>
                    <a:gd name="T79" fmla="*/ 12 h 204"/>
                    <a:gd name="T80" fmla="*/ 36 w 126"/>
                    <a:gd name="T81" fmla="*/ 0 h 204"/>
                    <a:gd name="T82" fmla="*/ 42 w 126"/>
                    <a:gd name="T83" fmla="*/ 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26" h="204">
                      <a:moveTo>
                        <a:pt x="42" y="0"/>
                      </a:moveTo>
                      <a:lnTo>
                        <a:pt x="48" y="0"/>
                      </a:lnTo>
                      <a:lnTo>
                        <a:pt x="54" y="6"/>
                      </a:lnTo>
                      <a:lnTo>
                        <a:pt x="60" y="12"/>
                      </a:lnTo>
                      <a:lnTo>
                        <a:pt x="66" y="18"/>
                      </a:lnTo>
                      <a:lnTo>
                        <a:pt x="78" y="18"/>
                      </a:lnTo>
                      <a:lnTo>
                        <a:pt x="84" y="24"/>
                      </a:lnTo>
                      <a:lnTo>
                        <a:pt x="90" y="36"/>
                      </a:lnTo>
                      <a:lnTo>
                        <a:pt x="90" y="42"/>
                      </a:lnTo>
                      <a:lnTo>
                        <a:pt x="90" y="54"/>
                      </a:lnTo>
                      <a:lnTo>
                        <a:pt x="90" y="60"/>
                      </a:lnTo>
                      <a:lnTo>
                        <a:pt x="102" y="60"/>
                      </a:lnTo>
                      <a:lnTo>
                        <a:pt x="114" y="60"/>
                      </a:lnTo>
                      <a:lnTo>
                        <a:pt x="120" y="60"/>
                      </a:lnTo>
                      <a:lnTo>
                        <a:pt x="126" y="66"/>
                      </a:lnTo>
                      <a:lnTo>
                        <a:pt x="120" y="72"/>
                      </a:lnTo>
                      <a:lnTo>
                        <a:pt x="114" y="84"/>
                      </a:lnTo>
                      <a:lnTo>
                        <a:pt x="108" y="90"/>
                      </a:lnTo>
                      <a:lnTo>
                        <a:pt x="102" y="102"/>
                      </a:lnTo>
                      <a:lnTo>
                        <a:pt x="90" y="114"/>
                      </a:lnTo>
                      <a:lnTo>
                        <a:pt x="78" y="132"/>
                      </a:lnTo>
                      <a:lnTo>
                        <a:pt x="72" y="144"/>
                      </a:lnTo>
                      <a:lnTo>
                        <a:pt x="66" y="156"/>
                      </a:lnTo>
                      <a:lnTo>
                        <a:pt x="66" y="168"/>
                      </a:lnTo>
                      <a:lnTo>
                        <a:pt x="60" y="180"/>
                      </a:lnTo>
                      <a:lnTo>
                        <a:pt x="54" y="192"/>
                      </a:lnTo>
                      <a:lnTo>
                        <a:pt x="48" y="198"/>
                      </a:lnTo>
                      <a:lnTo>
                        <a:pt x="36" y="204"/>
                      </a:lnTo>
                      <a:lnTo>
                        <a:pt x="24" y="198"/>
                      </a:lnTo>
                      <a:lnTo>
                        <a:pt x="12" y="186"/>
                      </a:lnTo>
                      <a:lnTo>
                        <a:pt x="6" y="174"/>
                      </a:lnTo>
                      <a:lnTo>
                        <a:pt x="0" y="156"/>
                      </a:lnTo>
                      <a:lnTo>
                        <a:pt x="0" y="138"/>
                      </a:lnTo>
                      <a:lnTo>
                        <a:pt x="6" y="120"/>
                      </a:lnTo>
                      <a:lnTo>
                        <a:pt x="12" y="102"/>
                      </a:lnTo>
                      <a:lnTo>
                        <a:pt x="12" y="78"/>
                      </a:lnTo>
                      <a:lnTo>
                        <a:pt x="18" y="60"/>
                      </a:lnTo>
                      <a:lnTo>
                        <a:pt x="24" y="42"/>
                      </a:lnTo>
                      <a:lnTo>
                        <a:pt x="24" y="24"/>
                      </a:lnTo>
                      <a:lnTo>
                        <a:pt x="30" y="12"/>
                      </a:lnTo>
                      <a:lnTo>
                        <a:pt x="36" y="0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1" name="Freeform 301">
                  <a:extLst>
                    <a:ext uri="{FF2B5EF4-FFF2-40B4-BE49-F238E27FC236}">
                      <a16:creationId xmlns:a16="http://schemas.microsoft.com/office/drawing/2014/main" id="{636664B0-5605-4CFA-80DF-65461C8A8E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469" y="-4422"/>
                  <a:ext cx="72" cy="132"/>
                </a:xfrm>
                <a:custGeom>
                  <a:avLst/>
                  <a:gdLst>
                    <a:gd name="T0" fmla="*/ 18 w 72"/>
                    <a:gd name="T1" fmla="*/ 0 h 132"/>
                    <a:gd name="T2" fmla="*/ 18 w 72"/>
                    <a:gd name="T3" fmla="*/ 0 h 132"/>
                    <a:gd name="T4" fmla="*/ 24 w 72"/>
                    <a:gd name="T5" fmla="*/ 6 h 132"/>
                    <a:gd name="T6" fmla="*/ 24 w 72"/>
                    <a:gd name="T7" fmla="*/ 12 h 132"/>
                    <a:gd name="T8" fmla="*/ 30 w 72"/>
                    <a:gd name="T9" fmla="*/ 12 h 132"/>
                    <a:gd name="T10" fmla="*/ 36 w 72"/>
                    <a:gd name="T11" fmla="*/ 12 h 132"/>
                    <a:gd name="T12" fmla="*/ 48 w 72"/>
                    <a:gd name="T13" fmla="*/ 6 h 132"/>
                    <a:gd name="T14" fmla="*/ 60 w 72"/>
                    <a:gd name="T15" fmla="*/ 0 h 132"/>
                    <a:gd name="T16" fmla="*/ 66 w 72"/>
                    <a:gd name="T17" fmla="*/ 0 h 132"/>
                    <a:gd name="T18" fmla="*/ 72 w 72"/>
                    <a:gd name="T19" fmla="*/ 6 h 132"/>
                    <a:gd name="T20" fmla="*/ 72 w 72"/>
                    <a:gd name="T21" fmla="*/ 12 h 132"/>
                    <a:gd name="T22" fmla="*/ 72 w 72"/>
                    <a:gd name="T23" fmla="*/ 18 h 132"/>
                    <a:gd name="T24" fmla="*/ 72 w 72"/>
                    <a:gd name="T25" fmla="*/ 24 h 132"/>
                    <a:gd name="T26" fmla="*/ 72 w 72"/>
                    <a:gd name="T27" fmla="*/ 36 h 132"/>
                    <a:gd name="T28" fmla="*/ 66 w 72"/>
                    <a:gd name="T29" fmla="*/ 54 h 132"/>
                    <a:gd name="T30" fmla="*/ 60 w 72"/>
                    <a:gd name="T31" fmla="*/ 72 h 132"/>
                    <a:gd name="T32" fmla="*/ 60 w 72"/>
                    <a:gd name="T33" fmla="*/ 90 h 132"/>
                    <a:gd name="T34" fmla="*/ 54 w 72"/>
                    <a:gd name="T35" fmla="*/ 108 h 132"/>
                    <a:gd name="T36" fmla="*/ 54 w 72"/>
                    <a:gd name="T37" fmla="*/ 120 h 132"/>
                    <a:gd name="T38" fmla="*/ 48 w 72"/>
                    <a:gd name="T39" fmla="*/ 132 h 132"/>
                    <a:gd name="T40" fmla="*/ 42 w 72"/>
                    <a:gd name="T41" fmla="*/ 132 h 132"/>
                    <a:gd name="T42" fmla="*/ 36 w 72"/>
                    <a:gd name="T43" fmla="*/ 126 h 132"/>
                    <a:gd name="T44" fmla="*/ 24 w 72"/>
                    <a:gd name="T45" fmla="*/ 114 h 132"/>
                    <a:gd name="T46" fmla="*/ 18 w 72"/>
                    <a:gd name="T47" fmla="*/ 96 h 132"/>
                    <a:gd name="T48" fmla="*/ 6 w 72"/>
                    <a:gd name="T49" fmla="*/ 60 h 132"/>
                    <a:gd name="T50" fmla="*/ 0 w 72"/>
                    <a:gd name="T51" fmla="*/ 24 h 132"/>
                    <a:gd name="T52" fmla="*/ 6 w 72"/>
                    <a:gd name="T53" fmla="*/ 0 h 132"/>
                    <a:gd name="T54" fmla="*/ 18 w 72"/>
                    <a:gd name="T55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72" h="132">
                      <a:moveTo>
                        <a:pt x="18" y="0"/>
                      </a:moveTo>
                      <a:lnTo>
                        <a:pt x="18" y="0"/>
                      </a:lnTo>
                      <a:lnTo>
                        <a:pt x="24" y="6"/>
                      </a:lnTo>
                      <a:lnTo>
                        <a:pt x="24" y="12"/>
                      </a:lnTo>
                      <a:lnTo>
                        <a:pt x="30" y="12"/>
                      </a:lnTo>
                      <a:lnTo>
                        <a:pt x="36" y="12"/>
                      </a:lnTo>
                      <a:lnTo>
                        <a:pt x="48" y="6"/>
                      </a:lnTo>
                      <a:lnTo>
                        <a:pt x="60" y="0"/>
                      </a:lnTo>
                      <a:lnTo>
                        <a:pt x="66" y="0"/>
                      </a:lnTo>
                      <a:lnTo>
                        <a:pt x="72" y="6"/>
                      </a:lnTo>
                      <a:lnTo>
                        <a:pt x="72" y="12"/>
                      </a:lnTo>
                      <a:lnTo>
                        <a:pt x="72" y="18"/>
                      </a:lnTo>
                      <a:lnTo>
                        <a:pt x="72" y="24"/>
                      </a:lnTo>
                      <a:lnTo>
                        <a:pt x="72" y="36"/>
                      </a:lnTo>
                      <a:lnTo>
                        <a:pt x="66" y="54"/>
                      </a:lnTo>
                      <a:lnTo>
                        <a:pt x="60" y="72"/>
                      </a:lnTo>
                      <a:lnTo>
                        <a:pt x="60" y="90"/>
                      </a:lnTo>
                      <a:lnTo>
                        <a:pt x="54" y="108"/>
                      </a:lnTo>
                      <a:lnTo>
                        <a:pt x="54" y="120"/>
                      </a:lnTo>
                      <a:lnTo>
                        <a:pt x="48" y="132"/>
                      </a:lnTo>
                      <a:lnTo>
                        <a:pt x="42" y="132"/>
                      </a:lnTo>
                      <a:lnTo>
                        <a:pt x="36" y="126"/>
                      </a:lnTo>
                      <a:lnTo>
                        <a:pt x="24" y="114"/>
                      </a:lnTo>
                      <a:lnTo>
                        <a:pt x="18" y="96"/>
                      </a:lnTo>
                      <a:lnTo>
                        <a:pt x="6" y="60"/>
                      </a:lnTo>
                      <a:lnTo>
                        <a:pt x="0" y="24"/>
                      </a:lnTo>
                      <a:lnTo>
                        <a:pt x="6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2" name="Freeform 302">
                  <a:extLst>
                    <a:ext uri="{FF2B5EF4-FFF2-40B4-BE49-F238E27FC236}">
                      <a16:creationId xmlns:a16="http://schemas.microsoft.com/office/drawing/2014/main" id="{5FA84B94-01FC-4147-8E40-A4B800F49C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3279" y="-6132"/>
                  <a:ext cx="108" cy="84"/>
                </a:xfrm>
                <a:custGeom>
                  <a:avLst/>
                  <a:gdLst>
                    <a:gd name="T0" fmla="*/ 96 w 108"/>
                    <a:gd name="T1" fmla="*/ 0 h 84"/>
                    <a:gd name="T2" fmla="*/ 108 w 108"/>
                    <a:gd name="T3" fmla="*/ 0 h 84"/>
                    <a:gd name="T4" fmla="*/ 108 w 108"/>
                    <a:gd name="T5" fmla="*/ 6 h 84"/>
                    <a:gd name="T6" fmla="*/ 108 w 108"/>
                    <a:gd name="T7" fmla="*/ 12 h 84"/>
                    <a:gd name="T8" fmla="*/ 108 w 108"/>
                    <a:gd name="T9" fmla="*/ 18 h 84"/>
                    <a:gd name="T10" fmla="*/ 102 w 108"/>
                    <a:gd name="T11" fmla="*/ 30 h 84"/>
                    <a:gd name="T12" fmla="*/ 96 w 108"/>
                    <a:gd name="T13" fmla="*/ 42 h 84"/>
                    <a:gd name="T14" fmla="*/ 84 w 108"/>
                    <a:gd name="T15" fmla="*/ 54 h 84"/>
                    <a:gd name="T16" fmla="*/ 78 w 108"/>
                    <a:gd name="T17" fmla="*/ 60 h 84"/>
                    <a:gd name="T18" fmla="*/ 66 w 108"/>
                    <a:gd name="T19" fmla="*/ 66 h 84"/>
                    <a:gd name="T20" fmla="*/ 48 w 108"/>
                    <a:gd name="T21" fmla="*/ 78 h 84"/>
                    <a:gd name="T22" fmla="*/ 30 w 108"/>
                    <a:gd name="T23" fmla="*/ 84 h 84"/>
                    <a:gd name="T24" fmla="*/ 18 w 108"/>
                    <a:gd name="T25" fmla="*/ 84 h 84"/>
                    <a:gd name="T26" fmla="*/ 12 w 108"/>
                    <a:gd name="T27" fmla="*/ 84 h 84"/>
                    <a:gd name="T28" fmla="*/ 6 w 108"/>
                    <a:gd name="T29" fmla="*/ 78 h 84"/>
                    <a:gd name="T30" fmla="*/ 0 w 108"/>
                    <a:gd name="T31" fmla="*/ 66 h 84"/>
                    <a:gd name="T32" fmla="*/ 6 w 108"/>
                    <a:gd name="T33" fmla="*/ 60 h 84"/>
                    <a:gd name="T34" fmla="*/ 12 w 108"/>
                    <a:gd name="T35" fmla="*/ 48 h 84"/>
                    <a:gd name="T36" fmla="*/ 24 w 108"/>
                    <a:gd name="T37" fmla="*/ 36 h 84"/>
                    <a:gd name="T38" fmla="*/ 36 w 108"/>
                    <a:gd name="T39" fmla="*/ 24 h 84"/>
                    <a:gd name="T40" fmla="*/ 48 w 108"/>
                    <a:gd name="T41" fmla="*/ 12 h 84"/>
                    <a:gd name="T42" fmla="*/ 66 w 108"/>
                    <a:gd name="T43" fmla="*/ 6 h 84"/>
                    <a:gd name="T44" fmla="*/ 84 w 108"/>
                    <a:gd name="T45" fmla="*/ 0 h 84"/>
                    <a:gd name="T46" fmla="*/ 96 w 108"/>
                    <a:gd name="T47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8" h="84">
                      <a:moveTo>
                        <a:pt x="96" y="0"/>
                      </a:moveTo>
                      <a:lnTo>
                        <a:pt x="108" y="0"/>
                      </a:lnTo>
                      <a:lnTo>
                        <a:pt x="108" y="6"/>
                      </a:lnTo>
                      <a:lnTo>
                        <a:pt x="108" y="12"/>
                      </a:lnTo>
                      <a:lnTo>
                        <a:pt x="108" y="18"/>
                      </a:lnTo>
                      <a:lnTo>
                        <a:pt x="102" y="30"/>
                      </a:lnTo>
                      <a:lnTo>
                        <a:pt x="96" y="42"/>
                      </a:lnTo>
                      <a:lnTo>
                        <a:pt x="84" y="54"/>
                      </a:lnTo>
                      <a:lnTo>
                        <a:pt x="78" y="60"/>
                      </a:lnTo>
                      <a:lnTo>
                        <a:pt x="66" y="66"/>
                      </a:lnTo>
                      <a:lnTo>
                        <a:pt x="48" y="78"/>
                      </a:lnTo>
                      <a:lnTo>
                        <a:pt x="30" y="84"/>
                      </a:lnTo>
                      <a:lnTo>
                        <a:pt x="18" y="84"/>
                      </a:lnTo>
                      <a:lnTo>
                        <a:pt x="12" y="84"/>
                      </a:lnTo>
                      <a:lnTo>
                        <a:pt x="6" y="78"/>
                      </a:lnTo>
                      <a:lnTo>
                        <a:pt x="0" y="66"/>
                      </a:lnTo>
                      <a:lnTo>
                        <a:pt x="6" y="60"/>
                      </a:lnTo>
                      <a:lnTo>
                        <a:pt x="12" y="48"/>
                      </a:lnTo>
                      <a:lnTo>
                        <a:pt x="24" y="36"/>
                      </a:lnTo>
                      <a:lnTo>
                        <a:pt x="36" y="24"/>
                      </a:lnTo>
                      <a:lnTo>
                        <a:pt x="48" y="12"/>
                      </a:lnTo>
                      <a:lnTo>
                        <a:pt x="66" y="6"/>
                      </a:lnTo>
                      <a:lnTo>
                        <a:pt x="84" y="0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3" name="Freeform 305">
                  <a:extLst>
                    <a:ext uri="{FF2B5EF4-FFF2-40B4-BE49-F238E27FC236}">
                      <a16:creationId xmlns:a16="http://schemas.microsoft.com/office/drawing/2014/main" id="{F5093A74-8CAA-49F4-BD0F-09E4004B2B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787" y="-5418"/>
                  <a:ext cx="66" cy="36"/>
                </a:xfrm>
                <a:custGeom>
                  <a:avLst/>
                  <a:gdLst>
                    <a:gd name="T0" fmla="*/ 42 w 66"/>
                    <a:gd name="T1" fmla="*/ 0 h 36"/>
                    <a:gd name="T2" fmla="*/ 54 w 66"/>
                    <a:gd name="T3" fmla="*/ 6 h 36"/>
                    <a:gd name="T4" fmla="*/ 60 w 66"/>
                    <a:gd name="T5" fmla="*/ 6 h 36"/>
                    <a:gd name="T6" fmla="*/ 66 w 66"/>
                    <a:gd name="T7" fmla="*/ 18 h 36"/>
                    <a:gd name="T8" fmla="*/ 66 w 66"/>
                    <a:gd name="T9" fmla="*/ 24 h 36"/>
                    <a:gd name="T10" fmla="*/ 60 w 66"/>
                    <a:gd name="T11" fmla="*/ 30 h 36"/>
                    <a:gd name="T12" fmla="*/ 54 w 66"/>
                    <a:gd name="T13" fmla="*/ 36 h 36"/>
                    <a:gd name="T14" fmla="*/ 42 w 66"/>
                    <a:gd name="T15" fmla="*/ 36 h 36"/>
                    <a:gd name="T16" fmla="*/ 18 w 66"/>
                    <a:gd name="T17" fmla="*/ 36 h 36"/>
                    <a:gd name="T18" fmla="*/ 6 w 66"/>
                    <a:gd name="T19" fmla="*/ 30 h 36"/>
                    <a:gd name="T20" fmla="*/ 0 w 66"/>
                    <a:gd name="T21" fmla="*/ 24 h 36"/>
                    <a:gd name="T22" fmla="*/ 0 w 66"/>
                    <a:gd name="T23" fmla="*/ 18 h 36"/>
                    <a:gd name="T24" fmla="*/ 6 w 66"/>
                    <a:gd name="T25" fmla="*/ 18 h 36"/>
                    <a:gd name="T26" fmla="*/ 12 w 66"/>
                    <a:gd name="T27" fmla="*/ 12 h 36"/>
                    <a:gd name="T28" fmla="*/ 24 w 66"/>
                    <a:gd name="T29" fmla="*/ 6 h 36"/>
                    <a:gd name="T30" fmla="*/ 42 w 66"/>
                    <a:gd name="T3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6" h="36">
                      <a:moveTo>
                        <a:pt x="42" y="0"/>
                      </a:moveTo>
                      <a:lnTo>
                        <a:pt x="54" y="6"/>
                      </a:lnTo>
                      <a:lnTo>
                        <a:pt x="60" y="6"/>
                      </a:lnTo>
                      <a:lnTo>
                        <a:pt x="66" y="18"/>
                      </a:lnTo>
                      <a:lnTo>
                        <a:pt x="66" y="24"/>
                      </a:lnTo>
                      <a:lnTo>
                        <a:pt x="60" y="30"/>
                      </a:lnTo>
                      <a:lnTo>
                        <a:pt x="54" y="36"/>
                      </a:lnTo>
                      <a:lnTo>
                        <a:pt x="42" y="36"/>
                      </a:lnTo>
                      <a:lnTo>
                        <a:pt x="18" y="36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18"/>
                      </a:lnTo>
                      <a:lnTo>
                        <a:pt x="12" y="12"/>
                      </a:lnTo>
                      <a:lnTo>
                        <a:pt x="24" y="6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4" name="Freeform 316">
                  <a:extLst>
                    <a:ext uri="{FF2B5EF4-FFF2-40B4-BE49-F238E27FC236}">
                      <a16:creationId xmlns:a16="http://schemas.microsoft.com/office/drawing/2014/main" id="{3BC0B7FE-4C98-492F-BBD5-8EDCB7DB5D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119" y="210"/>
                  <a:ext cx="36" cy="90"/>
                </a:xfrm>
                <a:custGeom>
                  <a:avLst/>
                  <a:gdLst>
                    <a:gd name="T0" fmla="*/ 12 w 36"/>
                    <a:gd name="T1" fmla="*/ 0 h 90"/>
                    <a:gd name="T2" fmla="*/ 18 w 36"/>
                    <a:gd name="T3" fmla="*/ 0 h 90"/>
                    <a:gd name="T4" fmla="*/ 24 w 36"/>
                    <a:gd name="T5" fmla="*/ 12 h 90"/>
                    <a:gd name="T6" fmla="*/ 30 w 36"/>
                    <a:gd name="T7" fmla="*/ 24 h 90"/>
                    <a:gd name="T8" fmla="*/ 36 w 36"/>
                    <a:gd name="T9" fmla="*/ 36 h 90"/>
                    <a:gd name="T10" fmla="*/ 36 w 36"/>
                    <a:gd name="T11" fmla="*/ 54 h 90"/>
                    <a:gd name="T12" fmla="*/ 36 w 36"/>
                    <a:gd name="T13" fmla="*/ 66 h 90"/>
                    <a:gd name="T14" fmla="*/ 30 w 36"/>
                    <a:gd name="T15" fmla="*/ 84 h 90"/>
                    <a:gd name="T16" fmla="*/ 24 w 36"/>
                    <a:gd name="T17" fmla="*/ 90 h 90"/>
                    <a:gd name="T18" fmla="*/ 18 w 36"/>
                    <a:gd name="T19" fmla="*/ 84 h 90"/>
                    <a:gd name="T20" fmla="*/ 12 w 36"/>
                    <a:gd name="T21" fmla="*/ 78 h 90"/>
                    <a:gd name="T22" fmla="*/ 6 w 36"/>
                    <a:gd name="T23" fmla="*/ 72 h 90"/>
                    <a:gd name="T24" fmla="*/ 0 w 36"/>
                    <a:gd name="T25" fmla="*/ 60 h 90"/>
                    <a:gd name="T26" fmla="*/ 0 w 36"/>
                    <a:gd name="T27" fmla="*/ 42 h 90"/>
                    <a:gd name="T28" fmla="*/ 0 w 36"/>
                    <a:gd name="T29" fmla="*/ 24 h 90"/>
                    <a:gd name="T30" fmla="*/ 0 w 36"/>
                    <a:gd name="T31" fmla="*/ 12 h 90"/>
                    <a:gd name="T32" fmla="*/ 6 w 36"/>
                    <a:gd name="T33" fmla="*/ 0 h 90"/>
                    <a:gd name="T34" fmla="*/ 12 w 36"/>
                    <a:gd name="T35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6" h="90">
                      <a:moveTo>
                        <a:pt x="12" y="0"/>
                      </a:moveTo>
                      <a:lnTo>
                        <a:pt x="18" y="0"/>
                      </a:lnTo>
                      <a:lnTo>
                        <a:pt x="24" y="12"/>
                      </a:lnTo>
                      <a:lnTo>
                        <a:pt x="30" y="24"/>
                      </a:lnTo>
                      <a:lnTo>
                        <a:pt x="36" y="36"/>
                      </a:lnTo>
                      <a:lnTo>
                        <a:pt x="36" y="54"/>
                      </a:lnTo>
                      <a:lnTo>
                        <a:pt x="36" y="66"/>
                      </a:lnTo>
                      <a:lnTo>
                        <a:pt x="30" y="84"/>
                      </a:lnTo>
                      <a:lnTo>
                        <a:pt x="24" y="90"/>
                      </a:lnTo>
                      <a:lnTo>
                        <a:pt x="18" y="84"/>
                      </a:lnTo>
                      <a:lnTo>
                        <a:pt x="12" y="78"/>
                      </a:lnTo>
                      <a:lnTo>
                        <a:pt x="6" y="72"/>
                      </a:lnTo>
                      <a:lnTo>
                        <a:pt x="0" y="60"/>
                      </a:lnTo>
                      <a:lnTo>
                        <a:pt x="0" y="42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5" name="Freeform 319">
                  <a:extLst>
                    <a:ext uri="{FF2B5EF4-FFF2-40B4-BE49-F238E27FC236}">
                      <a16:creationId xmlns:a16="http://schemas.microsoft.com/office/drawing/2014/main" id="{E7ACC957-1208-42A3-A843-F7D43893EA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11" y="606"/>
                  <a:ext cx="78" cy="72"/>
                </a:xfrm>
                <a:custGeom>
                  <a:avLst/>
                  <a:gdLst>
                    <a:gd name="T0" fmla="*/ 6 w 78"/>
                    <a:gd name="T1" fmla="*/ 0 h 72"/>
                    <a:gd name="T2" fmla="*/ 18 w 78"/>
                    <a:gd name="T3" fmla="*/ 0 h 72"/>
                    <a:gd name="T4" fmla="*/ 24 w 78"/>
                    <a:gd name="T5" fmla="*/ 6 h 72"/>
                    <a:gd name="T6" fmla="*/ 36 w 78"/>
                    <a:gd name="T7" fmla="*/ 12 h 72"/>
                    <a:gd name="T8" fmla="*/ 48 w 78"/>
                    <a:gd name="T9" fmla="*/ 18 h 72"/>
                    <a:gd name="T10" fmla="*/ 60 w 78"/>
                    <a:gd name="T11" fmla="*/ 30 h 72"/>
                    <a:gd name="T12" fmla="*/ 72 w 78"/>
                    <a:gd name="T13" fmla="*/ 42 h 72"/>
                    <a:gd name="T14" fmla="*/ 78 w 78"/>
                    <a:gd name="T15" fmla="*/ 54 h 72"/>
                    <a:gd name="T16" fmla="*/ 78 w 78"/>
                    <a:gd name="T17" fmla="*/ 66 h 72"/>
                    <a:gd name="T18" fmla="*/ 78 w 78"/>
                    <a:gd name="T19" fmla="*/ 72 h 72"/>
                    <a:gd name="T20" fmla="*/ 72 w 78"/>
                    <a:gd name="T21" fmla="*/ 72 h 72"/>
                    <a:gd name="T22" fmla="*/ 60 w 78"/>
                    <a:gd name="T23" fmla="*/ 72 h 72"/>
                    <a:gd name="T24" fmla="*/ 48 w 78"/>
                    <a:gd name="T25" fmla="*/ 72 h 72"/>
                    <a:gd name="T26" fmla="*/ 42 w 78"/>
                    <a:gd name="T27" fmla="*/ 66 h 72"/>
                    <a:gd name="T28" fmla="*/ 30 w 78"/>
                    <a:gd name="T29" fmla="*/ 54 h 72"/>
                    <a:gd name="T30" fmla="*/ 18 w 78"/>
                    <a:gd name="T31" fmla="*/ 48 h 72"/>
                    <a:gd name="T32" fmla="*/ 12 w 78"/>
                    <a:gd name="T33" fmla="*/ 36 h 72"/>
                    <a:gd name="T34" fmla="*/ 6 w 78"/>
                    <a:gd name="T35" fmla="*/ 24 h 72"/>
                    <a:gd name="T36" fmla="*/ 0 w 78"/>
                    <a:gd name="T37" fmla="*/ 12 h 72"/>
                    <a:gd name="T38" fmla="*/ 6 w 78"/>
                    <a:gd name="T39" fmla="*/ 6 h 72"/>
                    <a:gd name="T40" fmla="*/ 6 w 78"/>
                    <a:gd name="T41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" h="72">
                      <a:moveTo>
                        <a:pt x="6" y="0"/>
                      </a:moveTo>
                      <a:lnTo>
                        <a:pt x="18" y="0"/>
                      </a:lnTo>
                      <a:lnTo>
                        <a:pt x="24" y="6"/>
                      </a:lnTo>
                      <a:lnTo>
                        <a:pt x="36" y="12"/>
                      </a:lnTo>
                      <a:lnTo>
                        <a:pt x="48" y="18"/>
                      </a:lnTo>
                      <a:lnTo>
                        <a:pt x="60" y="30"/>
                      </a:lnTo>
                      <a:lnTo>
                        <a:pt x="72" y="42"/>
                      </a:lnTo>
                      <a:lnTo>
                        <a:pt x="78" y="54"/>
                      </a:lnTo>
                      <a:lnTo>
                        <a:pt x="78" y="66"/>
                      </a:lnTo>
                      <a:lnTo>
                        <a:pt x="78" y="72"/>
                      </a:lnTo>
                      <a:lnTo>
                        <a:pt x="72" y="72"/>
                      </a:lnTo>
                      <a:lnTo>
                        <a:pt x="60" y="72"/>
                      </a:lnTo>
                      <a:lnTo>
                        <a:pt x="48" y="72"/>
                      </a:lnTo>
                      <a:lnTo>
                        <a:pt x="42" y="66"/>
                      </a:lnTo>
                      <a:lnTo>
                        <a:pt x="30" y="54"/>
                      </a:lnTo>
                      <a:lnTo>
                        <a:pt x="18" y="48"/>
                      </a:lnTo>
                      <a:lnTo>
                        <a:pt x="12" y="36"/>
                      </a:lnTo>
                      <a:lnTo>
                        <a:pt x="6" y="24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6" name="Freeform 320">
                  <a:extLst>
                    <a:ext uri="{FF2B5EF4-FFF2-40B4-BE49-F238E27FC236}">
                      <a16:creationId xmlns:a16="http://schemas.microsoft.com/office/drawing/2014/main" id="{DA9E75FD-CBF7-48DD-BB00-18F4C3EE00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849" y="936"/>
                  <a:ext cx="90" cy="54"/>
                </a:xfrm>
                <a:custGeom>
                  <a:avLst/>
                  <a:gdLst>
                    <a:gd name="T0" fmla="*/ 60 w 90"/>
                    <a:gd name="T1" fmla="*/ 0 h 54"/>
                    <a:gd name="T2" fmla="*/ 78 w 90"/>
                    <a:gd name="T3" fmla="*/ 0 h 54"/>
                    <a:gd name="T4" fmla="*/ 90 w 90"/>
                    <a:gd name="T5" fmla="*/ 6 h 54"/>
                    <a:gd name="T6" fmla="*/ 90 w 90"/>
                    <a:gd name="T7" fmla="*/ 12 h 54"/>
                    <a:gd name="T8" fmla="*/ 84 w 90"/>
                    <a:gd name="T9" fmla="*/ 24 h 54"/>
                    <a:gd name="T10" fmla="*/ 78 w 90"/>
                    <a:gd name="T11" fmla="*/ 36 h 54"/>
                    <a:gd name="T12" fmla="*/ 72 w 90"/>
                    <a:gd name="T13" fmla="*/ 42 h 54"/>
                    <a:gd name="T14" fmla="*/ 66 w 90"/>
                    <a:gd name="T15" fmla="*/ 48 h 54"/>
                    <a:gd name="T16" fmla="*/ 60 w 90"/>
                    <a:gd name="T17" fmla="*/ 54 h 54"/>
                    <a:gd name="T18" fmla="*/ 54 w 90"/>
                    <a:gd name="T19" fmla="*/ 54 h 54"/>
                    <a:gd name="T20" fmla="*/ 42 w 90"/>
                    <a:gd name="T21" fmla="*/ 48 h 54"/>
                    <a:gd name="T22" fmla="*/ 24 w 90"/>
                    <a:gd name="T23" fmla="*/ 42 h 54"/>
                    <a:gd name="T24" fmla="*/ 6 w 90"/>
                    <a:gd name="T25" fmla="*/ 36 h 54"/>
                    <a:gd name="T26" fmla="*/ 0 w 90"/>
                    <a:gd name="T27" fmla="*/ 30 h 54"/>
                    <a:gd name="T28" fmla="*/ 0 w 90"/>
                    <a:gd name="T29" fmla="*/ 24 h 54"/>
                    <a:gd name="T30" fmla="*/ 6 w 90"/>
                    <a:gd name="T31" fmla="*/ 18 h 54"/>
                    <a:gd name="T32" fmla="*/ 18 w 90"/>
                    <a:gd name="T33" fmla="*/ 18 h 54"/>
                    <a:gd name="T34" fmla="*/ 30 w 90"/>
                    <a:gd name="T35" fmla="*/ 12 h 54"/>
                    <a:gd name="T36" fmla="*/ 42 w 90"/>
                    <a:gd name="T37" fmla="*/ 6 h 54"/>
                    <a:gd name="T38" fmla="*/ 60 w 90"/>
                    <a:gd name="T39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90" h="54">
                      <a:moveTo>
                        <a:pt x="60" y="0"/>
                      </a:moveTo>
                      <a:lnTo>
                        <a:pt x="78" y="0"/>
                      </a:lnTo>
                      <a:lnTo>
                        <a:pt x="90" y="6"/>
                      </a:lnTo>
                      <a:lnTo>
                        <a:pt x="90" y="12"/>
                      </a:lnTo>
                      <a:lnTo>
                        <a:pt x="84" y="24"/>
                      </a:lnTo>
                      <a:lnTo>
                        <a:pt x="78" y="36"/>
                      </a:lnTo>
                      <a:lnTo>
                        <a:pt x="72" y="42"/>
                      </a:lnTo>
                      <a:lnTo>
                        <a:pt x="66" y="48"/>
                      </a:lnTo>
                      <a:lnTo>
                        <a:pt x="60" y="54"/>
                      </a:lnTo>
                      <a:lnTo>
                        <a:pt x="54" y="54"/>
                      </a:lnTo>
                      <a:lnTo>
                        <a:pt x="42" y="48"/>
                      </a:lnTo>
                      <a:lnTo>
                        <a:pt x="24" y="42"/>
                      </a:lnTo>
                      <a:lnTo>
                        <a:pt x="6" y="36"/>
                      </a:lnTo>
                      <a:lnTo>
                        <a:pt x="0" y="30"/>
                      </a:lnTo>
                      <a:lnTo>
                        <a:pt x="0" y="24"/>
                      </a:lnTo>
                      <a:lnTo>
                        <a:pt x="6" y="18"/>
                      </a:lnTo>
                      <a:lnTo>
                        <a:pt x="18" y="18"/>
                      </a:lnTo>
                      <a:lnTo>
                        <a:pt x="30" y="12"/>
                      </a:lnTo>
                      <a:lnTo>
                        <a:pt x="42" y="6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7" name="Freeform 322">
                  <a:extLst>
                    <a:ext uri="{FF2B5EF4-FFF2-40B4-BE49-F238E27FC236}">
                      <a16:creationId xmlns:a16="http://schemas.microsoft.com/office/drawing/2014/main" id="{C6C98959-BC4F-4B82-A9B8-457961AE25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851" y="822"/>
                  <a:ext cx="48" cy="36"/>
                </a:xfrm>
                <a:custGeom>
                  <a:avLst/>
                  <a:gdLst>
                    <a:gd name="T0" fmla="*/ 30 w 48"/>
                    <a:gd name="T1" fmla="*/ 0 h 36"/>
                    <a:gd name="T2" fmla="*/ 36 w 48"/>
                    <a:gd name="T3" fmla="*/ 0 h 36"/>
                    <a:gd name="T4" fmla="*/ 42 w 48"/>
                    <a:gd name="T5" fmla="*/ 6 h 36"/>
                    <a:gd name="T6" fmla="*/ 48 w 48"/>
                    <a:gd name="T7" fmla="*/ 12 h 36"/>
                    <a:gd name="T8" fmla="*/ 48 w 48"/>
                    <a:gd name="T9" fmla="*/ 24 h 36"/>
                    <a:gd name="T10" fmla="*/ 48 w 48"/>
                    <a:gd name="T11" fmla="*/ 30 h 36"/>
                    <a:gd name="T12" fmla="*/ 42 w 48"/>
                    <a:gd name="T13" fmla="*/ 36 h 36"/>
                    <a:gd name="T14" fmla="*/ 30 w 48"/>
                    <a:gd name="T15" fmla="*/ 36 h 36"/>
                    <a:gd name="T16" fmla="*/ 18 w 48"/>
                    <a:gd name="T17" fmla="*/ 36 h 36"/>
                    <a:gd name="T18" fmla="*/ 12 w 48"/>
                    <a:gd name="T19" fmla="*/ 30 h 36"/>
                    <a:gd name="T20" fmla="*/ 6 w 48"/>
                    <a:gd name="T21" fmla="*/ 24 h 36"/>
                    <a:gd name="T22" fmla="*/ 0 w 48"/>
                    <a:gd name="T23" fmla="*/ 18 h 36"/>
                    <a:gd name="T24" fmla="*/ 0 w 48"/>
                    <a:gd name="T25" fmla="*/ 12 h 36"/>
                    <a:gd name="T26" fmla="*/ 6 w 48"/>
                    <a:gd name="T27" fmla="*/ 6 h 36"/>
                    <a:gd name="T28" fmla="*/ 12 w 48"/>
                    <a:gd name="T29" fmla="*/ 0 h 36"/>
                    <a:gd name="T30" fmla="*/ 30 w 48"/>
                    <a:gd name="T3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8" h="36">
                      <a:moveTo>
                        <a:pt x="30" y="0"/>
                      </a:moveTo>
                      <a:lnTo>
                        <a:pt x="36" y="0"/>
                      </a:lnTo>
                      <a:lnTo>
                        <a:pt x="42" y="6"/>
                      </a:lnTo>
                      <a:lnTo>
                        <a:pt x="48" y="12"/>
                      </a:lnTo>
                      <a:lnTo>
                        <a:pt x="48" y="24"/>
                      </a:lnTo>
                      <a:lnTo>
                        <a:pt x="48" y="30"/>
                      </a:lnTo>
                      <a:lnTo>
                        <a:pt x="42" y="36"/>
                      </a:lnTo>
                      <a:lnTo>
                        <a:pt x="30" y="36"/>
                      </a:lnTo>
                      <a:lnTo>
                        <a:pt x="18" y="36"/>
                      </a:lnTo>
                      <a:lnTo>
                        <a:pt x="12" y="30"/>
                      </a:lnTo>
                      <a:lnTo>
                        <a:pt x="6" y="24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2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8" name="Freeform 324">
                  <a:extLst>
                    <a:ext uri="{FF2B5EF4-FFF2-40B4-BE49-F238E27FC236}">
                      <a16:creationId xmlns:a16="http://schemas.microsoft.com/office/drawing/2014/main" id="{34C34D99-12D2-4A0C-8A51-A072D04BF2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71" y="1302"/>
                  <a:ext cx="192" cy="84"/>
                </a:xfrm>
                <a:custGeom>
                  <a:avLst/>
                  <a:gdLst>
                    <a:gd name="T0" fmla="*/ 174 w 192"/>
                    <a:gd name="T1" fmla="*/ 0 h 84"/>
                    <a:gd name="T2" fmla="*/ 186 w 192"/>
                    <a:gd name="T3" fmla="*/ 6 h 84"/>
                    <a:gd name="T4" fmla="*/ 192 w 192"/>
                    <a:gd name="T5" fmla="*/ 12 h 84"/>
                    <a:gd name="T6" fmla="*/ 192 w 192"/>
                    <a:gd name="T7" fmla="*/ 24 h 84"/>
                    <a:gd name="T8" fmla="*/ 192 w 192"/>
                    <a:gd name="T9" fmla="*/ 36 h 84"/>
                    <a:gd name="T10" fmla="*/ 186 w 192"/>
                    <a:gd name="T11" fmla="*/ 42 h 84"/>
                    <a:gd name="T12" fmla="*/ 174 w 192"/>
                    <a:gd name="T13" fmla="*/ 54 h 84"/>
                    <a:gd name="T14" fmla="*/ 168 w 192"/>
                    <a:gd name="T15" fmla="*/ 60 h 84"/>
                    <a:gd name="T16" fmla="*/ 162 w 192"/>
                    <a:gd name="T17" fmla="*/ 72 h 84"/>
                    <a:gd name="T18" fmla="*/ 156 w 192"/>
                    <a:gd name="T19" fmla="*/ 78 h 84"/>
                    <a:gd name="T20" fmla="*/ 150 w 192"/>
                    <a:gd name="T21" fmla="*/ 78 h 84"/>
                    <a:gd name="T22" fmla="*/ 138 w 192"/>
                    <a:gd name="T23" fmla="*/ 78 h 84"/>
                    <a:gd name="T24" fmla="*/ 114 w 192"/>
                    <a:gd name="T25" fmla="*/ 78 h 84"/>
                    <a:gd name="T26" fmla="*/ 96 w 192"/>
                    <a:gd name="T27" fmla="*/ 72 h 84"/>
                    <a:gd name="T28" fmla="*/ 78 w 192"/>
                    <a:gd name="T29" fmla="*/ 72 h 84"/>
                    <a:gd name="T30" fmla="*/ 66 w 192"/>
                    <a:gd name="T31" fmla="*/ 72 h 84"/>
                    <a:gd name="T32" fmla="*/ 54 w 192"/>
                    <a:gd name="T33" fmla="*/ 78 h 84"/>
                    <a:gd name="T34" fmla="*/ 42 w 192"/>
                    <a:gd name="T35" fmla="*/ 84 h 84"/>
                    <a:gd name="T36" fmla="*/ 30 w 192"/>
                    <a:gd name="T37" fmla="*/ 84 h 84"/>
                    <a:gd name="T38" fmla="*/ 18 w 192"/>
                    <a:gd name="T39" fmla="*/ 78 h 84"/>
                    <a:gd name="T40" fmla="*/ 6 w 192"/>
                    <a:gd name="T41" fmla="*/ 66 h 84"/>
                    <a:gd name="T42" fmla="*/ 0 w 192"/>
                    <a:gd name="T43" fmla="*/ 54 h 84"/>
                    <a:gd name="T44" fmla="*/ 0 w 192"/>
                    <a:gd name="T45" fmla="*/ 36 h 84"/>
                    <a:gd name="T46" fmla="*/ 6 w 192"/>
                    <a:gd name="T47" fmla="*/ 18 h 84"/>
                    <a:gd name="T48" fmla="*/ 18 w 192"/>
                    <a:gd name="T49" fmla="*/ 12 h 84"/>
                    <a:gd name="T50" fmla="*/ 30 w 192"/>
                    <a:gd name="T51" fmla="*/ 6 h 84"/>
                    <a:gd name="T52" fmla="*/ 42 w 192"/>
                    <a:gd name="T53" fmla="*/ 6 h 84"/>
                    <a:gd name="T54" fmla="*/ 66 w 192"/>
                    <a:gd name="T55" fmla="*/ 6 h 84"/>
                    <a:gd name="T56" fmla="*/ 90 w 192"/>
                    <a:gd name="T57" fmla="*/ 6 h 84"/>
                    <a:gd name="T58" fmla="*/ 114 w 192"/>
                    <a:gd name="T59" fmla="*/ 12 h 84"/>
                    <a:gd name="T60" fmla="*/ 138 w 192"/>
                    <a:gd name="T61" fmla="*/ 12 h 84"/>
                    <a:gd name="T62" fmla="*/ 162 w 192"/>
                    <a:gd name="T63" fmla="*/ 6 h 84"/>
                    <a:gd name="T64" fmla="*/ 174 w 192"/>
                    <a:gd name="T6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92" h="84">
                      <a:moveTo>
                        <a:pt x="174" y="0"/>
                      </a:moveTo>
                      <a:lnTo>
                        <a:pt x="186" y="6"/>
                      </a:lnTo>
                      <a:lnTo>
                        <a:pt x="192" y="12"/>
                      </a:lnTo>
                      <a:lnTo>
                        <a:pt x="192" y="24"/>
                      </a:lnTo>
                      <a:lnTo>
                        <a:pt x="192" y="36"/>
                      </a:lnTo>
                      <a:lnTo>
                        <a:pt x="186" y="42"/>
                      </a:lnTo>
                      <a:lnTo>
                        <a:pt x="174" y="54"/>
                      </a:lnTo>
                      <a:lnTo>
                        <a:pt x="168" y="60"/>
                      </a:lnTo>
                      <a:lnTo>
                        <a:pt x="162" y="72"/>
                      </a:lnTo>
                      <a:lnTo>
                        <a:pt x="156" y="78"/>
                      </a:lnTo>
                      <a:lnTo>
                        <a:pt x="150" y="78"/>
                      </a:lnTo>
                      <a:lnTo>
                        <a:pt x="138" y="78"/>
                      </a:lnTo>
                      <a:lnTo>
                        <a:pt x="114" y="78"/>
                      </a:lnTo>
                      <a:lnTo>
                        <a:pt x="96" y="72"/>
                      </a:lnTo>
                      <a:lnTo>
                        <a:pt x="78" y="72"/>
                      </a:lnTo>
                      <a:lnTo>
                        <a:pt x="66" y="72"/>
                      </a:lnTo>
                      <a:lnTo>
                        <a:pt x="54" y="78"/>
                      </a:lnTo>
                      <a:lnTo>
                        <a:pt x="42" y="84"/>
                      </a:lnTo>
                      <a:lnTo>
                        <a:pt x="30" y="84"/>
                      </a:lnTo>
                      <a:lnTo>
                        <a:pt x="18" y="78"/>
                      </a:lnTo>
                      <a:lnTo>
                        <a:pt x="6" y="66"/>
                      </a:lnTo>
                      <a:lnTo>
                        <a:pt x="0" y="54"/>
                      </a:lnTo>
                      <a:lnTo>
                        <a:pt x="0" y="36"/>
                      </a:lnTo>
                      <a:lnTo>
                        <a:pt x="6" y="18"/>
                      </a:lnTo>
                      <a:lnTo>
                        <a:pt x="18" y="12"/>
                      </a:lnTo>
                      <a:lnTo>
                        <a:pt x="30" y="6"/>
                      </a:lnTo>
                      <a:lnTo>
                        <a:pt x="42" y="6"/>
                      </a:lnTo>
                      <a:lnTo>
                        <a:pt x="66" y="6"/>
                      </a:lnTo>
                      <a:lnTo>
                        <a:pt x="90" y="6"/>
                      </a:lnTo>
                      <a:lnTo>
                        <a:pt x="114" y="12"/>
                      </a:lnTo>
                      <a:lnTo>
                        <a:pt x="138" y="12"/>
                      </a:lnTo>
                      <a:lnTo>
                        <a:pt x="162" y="6"/>
                      </a:lnTo>
                      <a:lnTo>
                        <a:pt x="17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79" name="Freeform 325">
                  <a:extLst>
                    <a:ext uri="{FF2B5EF4-FFF2-40B4-BE49-F238E27FC236}">
                      <a16:creationId xmlns:a16="http://schemas.microsoft.com/office/drawing/2014/main" id="{2E75548D-C853-4F32-913E-584841CA4E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595" y="2256"/>
                  <a:ext cx="84" cy="90"/>
                </a:xfrm>
                <a:custGeom>
                  <a:avLst/>
                  <a:gdLst>
                    <a:gd name="T0" fmla="*/ 60 w 84"/>
                    <a:gd name="T1" fmla="*/ 0 h 90"/>
                    <a:gd name="T2" fmla="*/ 72 w 84"/>
                    <a:gd name="T3" fmla="*/ 0 h 90"/>
                    <a:gd name="T4" fmla="*/ 78 w 84"/>
                    <a:gd name="T5" fmla="*/ 6 h 90"/>
                    <a:gd name="T6" fmla="*/ 84 w 84"/>
                    <a:gd name="T7" fmla="*/ 12 h 90"/>
                    <a:gd name="T8" fmla="*/ 78 w 84"/>
                    <a:gd name="T9" fmla="*/ 24 h 90"/>
                    <a:gd name="T10" fmla="*/ 78 w 84"/>
                    <a:gd name="T11" fmla="*/ 36 h 90"/>
                    <a:gd name="T12" fmla="*/ 72 w 84"/>
                    <a:gd name="T13" fmla="*/ 48 h 90"/>
                    <a:gd name="T14" fmla="*/ 72 w 84"/>
                    <a:gd name="T15" fmla="*/ 60 h 90"/>
                    <a:gd name="T16" fmla="*/ 72 w 84"/>
                    <a:gd name="T17" fmla="*/ 72 h 90"/>
                    <a:gd name="T18" fmla="*/ 66 w 84"/>
                    <a:gd name="T19" fmla="*/ 78 h 90"/>
                    <a:gd name="T20" fmla="*/ 54 w 84"/>
                    <a:gd name="T21" fmla="*/ 84 h 90"/>
                    <a:gd name="T22" fmla="*/ 42 w 84"/>
                    <a:gd name="T23" fmla="*/ 90 h 90"/>
                    <a:gd name="T24" fmla="*/ 30 w 84"/>
                    <a:gd name="T25" fmla="*/ 84 h 90"/>
                    <a:gd name="T26" fmla="*/ 12 w 84"/>
                    <a:gd name="T27" fmla="*/ 84 h 90"/>
                    <a:gd name="T28" fmla="*/ 6 w 84"/>
                    <a:gd name="T29" fmla="*/ 78 h 90"/>
                    <a:gd name="T30" fmla="*/ 0 w 84"/>
                    <a:gd name="T31" fmla="*/ 66 h 90"/>
                    <a:gd name="T32" fmla="*/ 0 w 84"/>
                    <a:gd name="T33" fmla="*/ 60 h 90"/>
                    <a:gd name="T34" fmla="*/ 6 w 84"/>
                    <a:gd name="T35" fmla="*/ 48 h 90"/>
                    <a:gd name="T36" fmla="*/ 12 w 84"/>
                    <a:gd name="T37" fmla="*/ 42 h 90"/>
                    <a:gd name="T38" fmla="*/ 18 w 84"/>
                    <a:gd name="T39" fmla="*/ 30 h 90"/>
                    <a:gd name="T40" fmla="*/ 24 w 84"/>
                    <a:gd name="T41" fmla="*/ 24 h 90"/>
                    <a:gd name="T42" fmla="*/ 36 w 84"/>
                    <a:gd name="T43" fmla="*/ 12 h 90"/>
                    <a:gd name="T44" fmla="*/ 42 w 84"/>
                    <a:gd name="T45" fmla="*/ 12 h 90"/>
                    <a:gd name="T46" fmla="*/ 54 w 84"/>
                    <a:gd name="T47" fmla="*/ 6 h 90"/>
                    <a:gd name="T48" fmla="*/ 60 w 84"/>
                    <a:gd name="T49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4" h="90">
                      <a:moveTo>
                        <a:pt x="60" y="0"/>
                      </a:moveTo>
                      <a:lnTo>
                        <a:pt x="72" y="0"/>
                      </a:lnTo>
                      <a:lnTo>
                        <a:pt x="78" y="6"/>
                      </a:lnTo>
                      <a:lnTo>
                        <a:pt x="84" y="12"/>
                      </a:lnTo>
                      <a:lnTo>
                        <a:pt x="78" y="24"/>
                      </a:lnTo>
                      <a:lnTo>
                        <a:pt x="78" y="36"/>
                      </a:lnTo>
                      <a:lnTo>
                        <a:pt x="72" y="48"/>
                      </a:lnTo>
                      <a:lnTo>
                        <a:pt x="72" y="60"/>
                      </a:lnTo>
                      <a:lnTo>
                        <a:pt x="72" y="72"/>
                      </a:lnTo>
                      <a:lnTo>
                        <a:pt x="66" y="78"/>
                      </a:lnTo>
                      <a:lnTo>
                        <a:pt x="54" y="84"/>
                      </a:lnTo>
                      <a:lnTo>
                        <a:pt x="42" y="90"/>
                      </a:lnTo>
                      <a:lnTo>
                        <a:pt x="30" y="84"/>
                      </a:lnTo>
                      <a:lnTo>
                        <a:pt x="12" y="84"/>
                      </a:lnTo>
                      <a:lnTo>
                        <a:pt x="6" y="78"/>
                      </a:lnTo>
                      <a:lnTo>
                        <a:pt x="0" y="66"/>
                      </a:lnTo>
                      <a:lnTo>
                        <a:pt x="0" y="60"/>
                      </a:lnTo>
                      <a:lnTo>
                        <a:pt x="6" y="48"/>
                      </a:lnTo>
                      <a:lnTo>
                        <a:pt x="12" y="42"/>
                      </a:lnTo>
                      <a:lnTo>
                        <a:pt x="18" y="30"/>
                      </a:lnTo>
                      <a:lnTo>
                        <a:pt x="24" y="24"/>
                      </a:lnTo>
                      <a:lnTo>
                        <a:pt x="36" y="12"/>
                      </a:lnTo>
                      <a:lnTo>
                        <a:pt x="42" y="12"/>
                      </a:lnTo>
                      <a:lnTo>
                        <a:pt x="54" y="6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0" name="Freeform 326">
                  <a:extLst>
                    <a:ext uri="{FF2B5EF4-FFF2-40B4-BE49-F238E27FC236}">
                      <a16:creationId xmlns:a16="http://schemas.microsoft.com/office/drawing/2014/main" id="{06B29CFC-655F-4637-B997-684617FDD4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77" y="1380"/>
                  <a:ext cx="42" cy="42"/>
                </a:xfrm>
                <a:custGeom>
                  <a:avLst/>
                  <a:gdLst>
                    <a:gd name="T0" fmla="*/ 12 w 42"/>
                    <a:gd name="T1" fmla="*/ 0 h 42"/>
                    <a:gd name="T2" fmla="*/ 24 w 42"/>
                    <a:gd name="T3" fmla="*/ 0 h 42"/>
                    <a:gd name="T4" fmla="*/ 36 w 42"/>
                    <a:gd name="T5" fmla="*/ 6 h 42"/>
                    <a:gd name="T6" fmla="*/ 42 w 42"/>
                    <a:gd name="T7" fmla="*/ 12 h 42"/>
                    <a:gd name="T8" fmla="*/ 42 w 42"/>
                    <a:gd name="T9" fmla="*/ 24 h 42"/>
                    <a:gd name="T10" fmla="*/ 36 w 42"/>
                    <a:gd name="T11" fmla="*/ 36 h 42"/>
                    <a:gd name="T12" fmla="*/ 24 w 42"/>
                    <a:gd name="T13" fmla="*/ 42 h 42"/>
                    <a:gd name="T14" fmla="*/ 18 w 42"/>
                    <a:gd name="T15" fmla="*/ 42 h 42"/>
                    <a:gd name="T16" fmla="*/ 6 w 42"/>
                    <a:gd name="T17" fmla="*/ 36 h 42"/>
                    <a:gd name="T18" fmla="*/ 0 w 42"/>
                    <a:gd name="T19" fmla="*/ 24 h 42"/>
                    <a:gd name="T20" fmla="*/ 0 w 42"/>
                    <a:gd name="T21" fmla="*/ 18 h 42"/>
                    <a:gd name="T22" fmla="*/ 6 w 42"/>
                    <a:gd name="T23" fmla="*/ 6 h 42"/>
                    <a:gd name="T24" fmla="*/ 12 w 42"/>
                    <a:gd name="T25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2" h="42">
                      <a:moveTo>
                        <a:pt x="12" y="0"/>
                      </a:moveTo>
                      <a:lnTo>
                        <a:pt x="24" y="0"/>
                      </a:lnTo>
                      <a:lnTo>
                        <a:pt x="36" y="6"/>
                      </a:lnTo>
                      <a:lnTo>
                        <a:pt x="42" y="12"/>
                      </a:lnTo>
                      <a:lnTo>
                        <a:pt x="42" y="24"/>
                      </a:lnTo>
                      <a:lnTo>
                        <a:pt x="36" y="36"/>
                      </a:lnTo>
                      <a:lnTo>
                        <a:pt x="24" y="42"/>
                      </a:lnTo>
                      <a:lnTo>
                        <a:pt x="18" y="42"/>
                      </a:lnTo>
                      <a:lnTo>
                        <a:pt x="6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1" name="Freeform 327">
                  <a:extLst>
                    <a:ext uri="{FF2B5EF4-FFF2-40B4-BE49-F238E27FC236}">
                      <a16:creationId xmlns:a16="http://schemas.microsoft.com/office/drawing/2014/main" id="{06F78881-969D-45A0-9A04-2CA611C1A8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583" y="1656"/>
                  <a:ext cx="48" cy="60"/>
                </a:xfrm>
                <a:custGeom>
                  <a:avLst/>
                  <a:gdLst>
                    <a:gd name="T0" fmla="*/ 18 w 48"/>
                    <a:gd name="T1" fmla="*/ 0 h 60"/>
                    <a:gd name="T2" fmla="*/ 24 w 48"/>
                    <a:gd name="T3" fmla="*/ 0 h 60"/>
                    <a:gd name="T4" fmla="*/ 36 w 48"/>
                    <a:gd name="T5" fmla="*/ 6 h 60"/>
                    <a:gd name="T6" fmla="*/ 42 w 48"/>
                    <a:gd name="T7" fmla="*/ 18 h 60"/>
                    <a:gd name="T8" fmla="*/ 48 w 48"/>
                    <a:gd name="T9" fmla="*/ 30 h 60"/>
                    <a:gd name="T10" fmla="*/ 48 w 48"/>
                    <a:gd name="T11" fmla="*/ 42 h 60"/>
                    <a:gd name="T12" fmla="*/ 36 w 48"/>
                    <a:gd name="T13" fmla="*/ 54 h 60"/>
                    <a:gd name="T14" fmla="*/ 24 w 48"/>
                    <a:gd name="T15" fmla="*/ 60 h 60"/>
                    <a:gd name="T16" fmla="*/ 12 w 48"/>
                    <a:gd name="T17" fmla="*/ 60 h 60"/>
                    <a:gd name="T18" fmla="*/ 6 w 48"/>
                    <a:gd name="T19" fmla="*/ 54 h 60"/>
                    <a:gd name="T20" fmla="*/ 0 w 48"/>
                    <a:gd name="T21" fmla="*/ 42 h 60"/>
                    <a:gd name="T22" fmla="*/ 0 w 48"/>
                    <a:gd name="T23" fmla="*/ 30 h 60"/>
                    <a:gd name="T24" fmla="*/ 0 w 48"/>
                    <a:gd name="T25" fmla="*/ 18 h 60"/>
                    <a:gd name="T26" fmla="*/ 6 w 48"/>
                    <a:gd name="T27" fmla="*/ 6 h 60"/>
                    <a:gd name="T28" fmla="*/ 18 w 48"/>
                    <a:gd name="T29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60">
                      <a:moveTo>
                        <a:pt x="18" y="0"/>
                      </a:moveTo>
                      <a:lnTo>
                        <a:pt x="24" y="0"/>
                      </a:lnTo>
                      <a:lnTo>
                        <a:pt x="36" y="6"/>
                      </a:lnTo>
                      <a:lnTo>
                        <a:pt x="42" y="18"/>
                      </a:lnTo>
                      <a:lnTo>
                        <a:pt x="48" y="30"/>
                      </a:lnTo>
                      <a:lnTo>
                        <a:pt x="48" y="42"/>
                      </a:lnTo>
                      <a:lnTo>
                        <a:pt x="36" y="54"/>
                      </a:lnTo>
                      <a:lnTo>
                        <a:pt x="24" y="60"/>
                      </a:lnTo>
                      <a:lnTo>
                        <a:pt x="12" y="60"/>
                      </a:lnTo>
                      <a:lnTo>
                        <a:pt x="6" y="54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2" name="Freeform 328">
                  <a:extLst>
                    <a:ext uri="{FF2B5EF4-FFF2-40B4-BE49-F238E27FC236}">
                      <a16:creationId xmlns:a16="http://schemas.microsoft.com/office/drawing/2014/main" id="{57E2EDD9-670B-48D8-BCD3-191F0997AE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559" y="1884"/>
                  <a:ext cx="48" cy="60"/>
                </a:xfrm>
                <a:custGeom>
                  <a:avLst/>
                  <a:gdLst>
                    <a:gd name="T0" fmla="*/ 18 w 48"/>
                    <a:gd name="T1" fmla="*/ 0 h 60"/>
                    <a:gd name="T2" fmla="*/ 24 w 48"/>
                    <a:gd name="T3" fmla="*/ 6 h 60"/>
                    <a:gd name="T4" fmla="*/ 36 w 48"/>
                    <a:gd name="T5" fmla="*/ 12 h 60"/>
                    <a:gd name="T6" fmla="*/ 42 w 48"/>
                    <a:gd name="T7" fmla="*/ 18 h 60"/>
                    <a:gd name="T8" fmla="*/ 48 w 48"/>
                    <a:gd name="T9" fmla="*/ 30 h 60"/>
                    <a:gd name="T10" fmla="*/ 42 w 48"/>
                    <a:gd name="T11" fmla="*/ 42 h 60"/>
                    <a:gd name="T12" fmla="*/ 36 w 48"/>
                    <a:gd name="T13" fmla="*/ 54 h 60"/>
                    <a:gd name="T14" fmla="*/ 24 w 48"/>
                    <a:gd name="T15" fmla="*/ 60 h 60"/>
                    <a:gd name="T16" fmla="*/ 12 w 48"/>
                    <a:gd name="T17" fmla="*/ 54 h 60"/>
                    <a:gd name="T18" fmla="*/ 6 w 48"/>
                    <a:gd name="T19" fmla="*/ 48 h 60"/>
                    <a:gd name="T20" fmla="*/ 0 w 48"/>
                    <a:gd name="T21" fmla="*/ 42 h 60"/>
                    <a:gd name="T22" fmla="*/ 0 w 48"/>
                    <a:gd name="T23" fmla="*/ 30 h 60"/>
                    <a:gd name="T24" fmla="*/ 0 w 48"/>
                    <a:gd name="T25" fmla="*/ 18 h 60"/>
                    <a:gd name="T26" fmla="*/ 0 w 48"/>
                    <a:gd name="T27" fmla="*/ 12 h 60"/>
                    <a:gd name="T28" fmla="*/ 6 w 48"/>
                    <a:gd name="T29" fmla="*/ 6 h 60"/>
                    <a:gd name="T30" fmla="*/ 18 w 48"/>
                    <a:gd name="T31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8" h="60">
                      <a:moveTo>
                        <a:pt x="18" y="0"/>
                      </a:moveTo>
                      <a:lnTo>
                        <a:pt x="24" y="6"/>
                      </a:lnTo>
                      <a:lnTo>
                        <a:pt x="36" y="12"/>
                      </a:lnTo>
                      <a:lnTo>
                        <a:pt x="42" y="18"/>
                      </a:lnTo>
                      <a:lnTo>
                        <a:pt x="48" y="30"/>
                      </a:lnTo>
                      <a:lnTo>
                        <a:pt x="42" y="42"/>
                      </a:lnTo>
                      <a:lnTo>
                        <a:pt x="36" y="54"/>
                      </a:lnTo>
                      <a:lnTo>
                        <a:pt x="24" y="60"/>
                      </a:lnTo>
                      <a:lnTo>
                        <a:pt x="12" y="54"/>
                      </a:lnTo>
                      <a:lnTo>
                        <a:pt x="6" y="48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3" name="Freeform 329">
                  <a:extLst>
                    <a:ext uri="{FF2B5EF4-FFF2-40B4-BE49-F238E27FC236}">
                      <a16:creationId xmlns:a16="http://schemas.microsoft.com/office/drawing/2014/main" id="{4C2C7282-8FFF-414F-91B4-B49749A955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583" y="2028"/>
                  <a:ext cx="48" cy="42"/>
                </a:xfrm>
                <a:custGeom>
                  <a:avLst/>
                  <a:gdLst>
                    <a:gd name="T0" fmla="*/ 30 w 48"/>
                    <a:gd name="T1" fmla="*/ 0 h 42"/>
                    <a:gd name="T2" fmla="*/ 42 w 48"/>
                    <a:gd name="T3" fmla="*/ 6 h 42"/>
                    <a:gd name="T4" fmla="*/ 48 w 48"/>
                    <a:gd name="T5" fmla="*/ 12 h 42"/>
                    <a:gd name="T6" fmla="*/ 48 w 48"/>
                    <a:gd name="T7" fmla="*/ 18 h 42"/>
                    <a:gd name="T8" fmla="*/ 48 w 48"/>
                    <a:gd name="T9" fmla="*/ 24 h 42"/>
                    <a:gd name="T10" fmla="*/ 42 w 48"/>
                    <a:gd name="T11" fmla="*/ 36 h 42"/>
                    <a:gd name="T12" fmla="*/ 30 w 48"/>
                    <a:gd name="T13" fmla="*/ 36 h 42"/>
                    <a:gd name="T14" fmla="*/ 18 w 48"/>
                    <a:gd name="T15" fmla="*/ 42 h 42"/>
                    <a:gd name="T16" fmla="*/ 6 w 48"/>
                    <a:gd name="T17" fmla="*/ 36 h 42"/>
                    <a:gd name="T18" fmla="*/ 6 w 48"/>
                    <a:gd name="T19" fmla="*/ 30 h 42"/>
                    <a:gd name="T20" fmla="*/ 0 w 48"/>
                    <a:gd name="T21" fmla="*/ 24 h 42"/>
                    <a:gd name="T22" fmla="*/ 6 w 48"/>
                    <a:gd name="T23" fmla="*/ 12 h 42"/>
                    <a:gd name="T24" fmla="*/ 12 w 48"/>
                    <a:gd name="T25" fmla="*/ 6 h 42"/>
                    <a:gd name="T26" fmla="*/ 18 w 48"/>
                    <a:gd name="T27" fmla="*/ 0 h 42"/>
                    <a:gd name="T28" fmla="*/ 30 w 48"/>
                    <a:gd name="T29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42">
                      <a:moveTo>
                        <a:pt x="30" y="0"/>
                      </a:moveTo>
                      <a:lnTo>
                        <a:pt x="42" y="6"/>
                      </a:lnTo>
                      <a:lnTo>
                        <a:pt x="48" y="12"/>
                      </a:lnTo>
                      <a:lnTo>
                        <a:pt x="48" y="18"/>
                      </a:lnTo>
                      <a:lnTo>
                        <a:pt x="48" y="24"/>
                      </a:lnTo>
                      <a:lnTo>
                        <a:pt x="42" y="36"/>
                      </a:lnTo>
                      <a:lnTo>
                        <a:pt x="30" y="36"/>
                      </a:lnTo>
                      <a:lnTo>
                        <a:pt x="18" y="42"/>
                      </a:lnTo>
                      <a:lnTo>
                        <a:pt x="6" y="36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18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4" name="Freeform 330">
                  <a:extLst>
                    <a:ext uri="{FF2B5EF4-FFF2-40B4-BE49-F238E27FC236}">
                      <a16:creationId xmlns:a16="http://schemas.microsoft.com/office/drawing/2014/main" id="{D33D3E68-5F01-4C77-8CDD-F799745D67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19" y="2130"/>
                  <a:ext cx="54" cy="48"/>
                </a:xfrm>
                <a:custGeom>
                  <a:avLst/>
                  <a:gdLst>
                    <a:gd name="T0" fmla="*/ 24 w 54"/>
                    <a:gd name="T1" fmla="*/ 0 h 48"/>
                    <a:gd name="T2" fmla="*/ 36 w 54"/>
                    <a:gd name="T3" fmla="*/ 6 h 48"/>
                    <a:gd name="T4" fmla="*/ 48 w 54"/>
                    <a:gd name="T5" fmla="*/ 12 h 48"/>
                    <a:gd name="T6" fmla="*/ 54 w 54"/>
                    <a:gd name="T7" fmla="*/ 18 h 48"/>
                    <a:gd name="T8" fmla="*/ 54 w 54"/>
                    <a:gd name="T9" fmla="*/ 30 h 48"/>
                    <a:gd name="T10" fmla="*/ 48 w 54"/>
                    <a:gd name="T11" fmla="*/ 36 h 48"/>
                    <a:gd name="T12" fmla="*/ 42 w 54"/>
                    <a:gd name="T13" fmla="*/ 48 h 48"/>
                    <a:gd name="T14" fmla="*/ 24 w 54"/>
                    <a:gd name="T15" fmla="*/ 48 h 48"/>
                    <a:gd name="T16" fmla="*/ 12 w 54"/>
                    <a:gd name="T17" fmla="*/ 48 h 48"/>
                    <a:gd name="T18" fmla="*/ 0 w 54"/>
                    <a:gd name="T19" fmla="*/ 48 h 48"/>
                    <a:gd name="T20" fmla="*/ 0 w 54"/>
                    <a:gd name="T21" fmla="*/ 36 h 48"/>
                    <a:gd name="T22" fmla="*/ 0 w 54"/>
                    <a:gd name="T23" fmla="*/ 30 h 48"/>
                    <a:gd name="T24" fmla="*/ 6 w 54"/>
                    <a:gd name="T25" fmla="*/ 18 h 48"/>
                    <a:gd name="T26" fmla="*/ 12 w 54"/>
                    <a:gd name="T27" fmla="*/ 12 h 48"/>
                    <a:gd name="T28" fmla="*/ 18 w 54"/>
                    <a:gd name="T29" fmla="*/ 6 h 48"/>
                    <a:gd name="T30" fmla="*/ 24 w 54"/>
                    <a:gd name="T3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4" h="48">
                      <a:moveTo>
                        <a:pt x="24" y="0"/>
                      </a:moveTo>
                      <a:lnTo>
                        <a:pt x="36" y="6"/>
                      </a:lnTo>
                      <a:lnTo>
                        <a:pt x="48" y="12"/>
                      </a:lnTo>
                      <a:lnTo>
                        <a:pt x="54" y="18"/>
                      </a:lnTo>
                      <a:lnTo>
                        <a:pt x="54" y="30"/>
                      </a:lnTo>
                      <a:lnTo>
                        <a:pt x="48" y="36"/>
                      </a:lnTo>
                      <a:lnTo>
                        <a:pt x="42" y="48"/>
                      </a:lnTo>
                      <a:lnTo>
                        <a:pt x="24" y="48"/>
                      </a:lnTo>
                      <a:lnTo>
                        <a:pt x="12" y="48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6" y="18"/>
                      </a:lnTo>
                      <a:lnTo>
                        <a:pt x="12" y="12"/>
                      </a:lnTo>
                      <a:lnTo>
                        <a:pt x="18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ABE7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5" name="Freeform 332">
                  <a:extLst>
                    <a:ext uri="{FF2B5EF4-FFF2-40B4-BE49-F238E27FC236}">
                      <a16:creationId xmlns:a16="http://schemas.microsoft.com/office/drawing/2014/main" id="{BE11EF16-D90D-4550-A459-8CA13DF957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297" y="420"/>
                  <a:ext cx="84" cy="60"/>
                </a:xfrm>
                <a:custGeom>
                  <a:avLst/>
                  <a:gdLst>
                    <a:gd name="T0" fmla="*/ 54 w 84"/>
                    <a:gd name="T1" fmla="*/ 0 h 60"/>
                    <a:gd name="T2" fmla="*/ 72 w 84"/>
                    <a:gd name="T3" fmla="*/ 0 h 60"/>
                    <a:gd name="T4" fmla="*/ 78 w 84"/>
                    <a:gd name="T5" fmla="*/ 6 h 60"/>
                    <a:gd name="T6" fmla="*/ 84 w 84"/>
                    <a:gd name="T7" fmla="*/ 12 h 60"/>
                    <a:gd name="T8" fmla="*/ 84 w 84"/>
                    <a:gd name="T9" fmla="*/ 18 h 60"/>
                    <a:gd name="T10" fmla="*/ 84 w 84"/>
                    <a:gd name="T11" fmla="*/ 30 h 60"/>
                    <a:gd name="T12" fmla="*/ 84 w 84"/>
                    <a:gd name="T13" fmla="*/ 36 h 60"/>
                    <a:gd name="T14" fmla="*/ 78 w 84"/>
                    <a:gd name="T15" fmla="*/ 48 h 60"/>
                    <a:gd name="T16" fmla="*/ 72 w 84"/>
                    <a:gd name="T17" fmla="*/ 54 h 60"/>
                    <a:gd name="T18" fmla="*/ 66 w 84"/>
                    <a:gd name="T19" fmla="*/ 60 h 60"/>
                    <a:gd name="T20" fmla="*/ 54 w 84"/>
                    <a:gd name="T21" fmla="*/ 60 h 60"/>
                    <a:gd name="T22" fmla="*/ 42 w 84"/>
                    <a:gd name="T23" fmla="*/ 60 h 60"/>
                    <a:gd name="T24" fmla="*/ 24 w 84"/>
                    <a:gd name="T25" fmla="*/ 60 h 60"/>
                    <a:gd name="T26" fmla="*/ 18 w 84"/>
                    <a:gd name="T27" fmla="*/ 54 h 60"/>
                    <a:gd name="T28" fmla="*/ 6 w 84"/>
                    <a:gd name="T29" fmla="*/ 48 h 60"/>
                    <a:gd name="T30" fmla="*/ 0 w 84"/>
                    <a:gd name="T31" fmla="*/ 42 h 60"/>
                    <a:gd name="T32" fmla="*/ 0 w 84"/>
                    <a:gd name="T33" fmla="*/ 30 h 60"/>
                    <a:gd name="T34" fmla="*/ 6 w 84"/>
                    <a:gd name="T35" fmla="*/ 24 h 60"/>
                    <a:gd name="T36" fmla="*/ 18 w 84"/>
                    <a:gd name="T37" fmla="*/ 12 h 60"/>
                    <a:gd name="T38" fmla="*/ 36 w 84"/>
                    <a:gd name="T39" fmla="*/ 6 h 60"/>
                    <a:gd name="T40" fmla="*/ 54 w 84"/>
                    <a:gd name="T41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84" h="60">
                      <a:moveTo>
                        <a:pt x="54" y="0"/>
                      </a:moveTo>
                      <a:lnTo>
                        <a:pt x="72" y="0"/>
                      </a:lnTo>
                      <a:lnTo>
                        <a:pt x="78" y="6"/>
                      </a:lnTo>
                      <a:lnTo>
                        <a:pt x="84" y="12"/>
                      </a:lnTo>
                      <a:lnTo>
                        <a:pt x="84" y="18"/>
                      </a:lnTo>
                      <a:lnTo>
                        <a:pt x="84" y="30"/>
                      </a:lnTo>
                      <a:lnTo>
                        <a:pt x="84" y="36"/>
                      </a:lnTo>
                      <a:lnTo>
                        <a:pt x="78" y="48"/>
                      </a:lnTo>
                      <a:lnTo>
                        <a:pt x="72" y="54"/>
                      </a:lnTo>
                      <a:lnTo>
                        <a:pt x="66" y="60"/>
                      </a:lnTo>
                      <a:lnTo>
                        <a:pt x="54" y="60"/>
                      </a:lnTo>
                      <a:lnTo>
                        <a:pt x="42" y="60"/>
                      </a:lnTo>
                      <a:lnTo>
                        <a:pt x="24" y="60"/>
                      </a:lnTo>
                      <a:lnTo>
                        <a:pt x="18" y="54"/>
                      </a:lnTo>
                      <a:lnTo>
                        <a:pt x="6" y="48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6" y="24"/>
                      </a:lnTo>
                      <a:lnTo>
                        <a:pt x="18" y="12"/>
                      </a:lnTo>
                      <a:lnTo>
                        <a:pt x="36" y="6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6" name="Freeform 335">
                  <a:extLst>
                    <a:ext uri="{FF2B5EF4-FFF2-40B4-BE49-F238E27FC236}">
                      <a16:creationId xmlns:a16="http://schemas.microsoft.com/office/drawing/2014/main" id="{34526568-B76A-4FE1-BA14-290328D826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543" y="180"/>
                  <a:ext cx="54" cy="48"/>
                </a:xfrm>
                <a:custGeom>
                  <a:avLst/>
                  <a:gdLst>
                    <a:gd name="T0" fmla="*/ 24 w 54"/>
                    <a:gd name="T1" fmla="*/ 0 h 48"/>
                    <a:gd name="T2" fmla="*/ 36 w 54"/>
                    <a:gd name="T3" fmla="*/ 0 h 48"/>
                    <a:gd name="T4" fmla="*/ 42 w 54"/>
                    <a:gd name="T5" fmla="*/ 6 h 48"/>
                    <a:gd name="T6" fmla="*/ 48 w 54"/>
                    <a:gd name="T7" fmla="*/ 18 h 48"/>
                    <a:gd name="T8" fmla="*/ 54 w 54"/>
                    <a:gd name="T9" fmla="*/ 24 h 48"/>
                    <a:gd name="T10" fmla="*/ 48 w 54"/>
                    <a:gd name="T11" fmla="*/ 36 h 48"/>
                    <a:gd name="T12" fmla="*/ 48 w 54"/>
                    <a:gd name="T13" fmla="*/ 42 h 48"/>
                    <a:gd name="T14" fmla="*/ 42 w 54"/>
                    <a:gd name="T15" fmla="*/ 48 h 48"/>
                    <a:gd name="T16" fmla="*/ 30 w 54"/>
                    <a:gd name="T17" fmla="*/ 48 h 48"/>
                    <a:gd name="T18" fmla="*/ 18 w 54"/>
                    <a:gd name="T19" fmla="*/ 48 h 48"/>
                    <a:gd name="T20" fmla="*/ 6 w 54"/>
                    <a:gd name="T21" fmla="*/ 36 h 48"/>
                    <a:gd name="T22" fmla="*/ 0 w 54"/>
                    <a:gd name="T23" fmla="*/ 24 h 48"/>
                    <a:gd name="T24" fmla="*/ 0 w 54"/>
                    <a:gd name="T25" fmla="*/ 18 h 48"/>
                    <a:gd name="T26" fmla="*/ 6 w 54"/>
                    <a:gd name="T27" fmla="*/ 6 h 48"/>
                    <a:gd name="T28" fmla="*/ 24 w 54"/>
                    <a:gd name="T2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4" h="48">
                      <a:moveTo>
                        <a:pt x="24" y="0"/>
                      </a:moveTo>
                      <a:lnTo>
                        <a:pt x="36" y="0"/>
                      </a:lnTo>
                      <a:lnTo>
                        <a:pt x="42" y="6"/>
                      </a:lnTo>
                      <a:lnTo>
                        <a:pt x="48" y="18"/>
                      </a:lnTo>
                      <a:lnTo>
                        <a:pt x="54" y="24"/>
                      </a:lnTo>
                      <a:lnTo>
                        <a:pt x="48" y="36"/>
                      </a:lnTo>
                      <a:lnTo>
                        <a:pt x="48" y="42"/>
                      </a:lnTo>
                      <a:lnTo>
                        <a:pt x="42" y="48"/>
                      </a:lnTo>
                      <a:lnTo>
                        <a:pt x="30" y="48"/>
                      </a:lnTo>
                      <a:lnTo>
                        <a:pt x="18" y="48"/>
                      </a:lnTo>
                      <a:lnTo>
                        <a:pt x="6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7" name="Freeform 344">
                  <a:extLst>
                    <a:ext uri="{FF2B5EF4-FFF2-40B4-BE49-F238E27FC236}">
                      <a16:creationId xmlns:a16="http://schemas.microsoft.com/office/drawing/2014/main" id="{9C49275D-A307-415C-8107-6407832E96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45" y="-8886"/>
                  <a:ext cx="438" cy="396"/>
                </a:xfrm>
                <a:custGeom>
                  <a:avLst/>
                  <a:gdLst>
                    <a:gd name="T0" fmla="*/ 120 w 438"/>
                    <a:gd name="T1" fmla="*/ 6 h 396"/>
                    <a:gd name="T2" fmla="*/ 180 w 438"/>
                    <a:gd name="T3" fmla="*/ 12 h 396"/>
                    <a:gd name="T4" fmla="*/ 216 w 438"/>
                    <a:gd name="T5" fmla="*/ 36 h 396"/>
                    <a:gd name="T6" fmla="*/ 234 w 438"/>
                    <a:gd name="T7" fmla="*/ 78 h 396"/>
                    <a:gd name="T8" fmla="*/ 246 w 438"/>
                    <a:gd name="T9" fmla="*/ 108 h 396"/>
                    <a:gd name="T10" fmla="*/ 264 w 438"/>
                    <a:gd name="T11" fmla="*/ 108 h 396"/>
                    <a:gd name="T12" fmla="*/ 288 w 438"/>
                    <a:gd name="T13" fmla="*/ 96 h 396"/>
                    <a:gd name="T14" fmla="*/ 312 w 438"/>
                    <a:gd name="T15" fmla="*/ 102 h 396"/>
                    <a:gd name="T16" fmla="*/ 342 w 438"/>
                    <a:gd name="T17" fmla="*/ 120 h 396"/>
                    <a:gd name="T18" fmla="*/ 354 w 438"/>
                    <a:gd name="T19" fmla="*/ 150 h 396"/>
                    <a:gd name="T20" fmla="*/ 360 w 438"/>
                    <a:gd name="T21" fmla="*/ 174 h 396"/>
                    <a:gd name="T22" fmla="*/ 378 w 438"/>
                    <a:gd name="T23" fmla="*/ 180 h 396"/>
                    <a:gd name="T24" fmla="*/ 402 w 438"/>
                    <a:gd name="T25" fmla="*/ 186 h 396"/>
                    <a:gd name="T26" fmla="*/ 420 w 438"/>
                    <a:gd name="T27" fmla="*/ 204 h 396"/>
                    <a:gd name="T28" fmla="*/ 432 w 438"/>
                    <a:gd name="T29" fmla="*/ 222 h 396"/>
                    <a:gd name="T30" fmla="*/ 432 w 438"/>
                    <a:gd name="T31" fmla="*/ 246 h 396"/>
                    <a:gd name="T32" fmla="*/ 408 w 438"/>
                    <a:gd name="T33" fmla="*/ 264 h 396"/>
                    <a:gd name="T34" fmla="*/ 408 w 438"/>
                    <a:gd name="T35" fmla="*/ 282 h 396"/>
                    <a:gd name="T36" fmla="*/ 420 w 438"/>
                    <a:gd name="T37" fmla="*/ 300 h 396"/>
                    <a:gd name="T38" fmla="*/ 432 w 438"/>
                    <a:gd name="T39" fmla="*/ 330 h 396"/>
                    <a:gd name="T40" fmla="*/ 426 w 438"/>
                    <a:gd name="T41" fmla="*/ 366 h 396"/>
                    <a:gd name="T42" fmla="*/ 408 w 438"/>
                    <a:gd name="T43" fmla="*/ 390 h 396"/>
                    <a:gd name="T44" fmla="*/ 372 w 438"/>
                    <a:gd name="T45" fmla="*/ 396 h 396"/>
                    <a:gd name="T46" fmla="*/ 342 w 438"/>
                    <a:gd name="T47" fmla="*/ 372 h 396"/>
                    <a:gd name="T48" fmla="*/ 330 w 438"/>
                    <a:gd name="T49" fmla="*/ 336 h 396"/>
                    <a:gd name="T50" fmla="*/ 318 w 438"/>
                    <a:gd name="T51" fmla="*/ 312 h 396"/>
                    <a:gd name="T52" fmla="*/ 300 w 438"/>
                    <a:gd name="T53" fmla="*/ 300 h 396"/>
                    <a:gd name="T54" fmla="*/ 288 w 438"/>
                    <a:gd name="T55" fmla="*/ 282 h 396"/>
                    <a:gd name="T56" fmla="*/ 282 w 438"/>
                    <a:gd name="T57" fmla="*/ 252 h 396"/>
                    <a:gd name="T58" fmla="*/ 276 w 438"/>
                    <a:gd name="T59" fmla="*/ 240 h 396"/>
                    <a:gd name="T60" fmla="*/ 252 w 438"/>
                    <a:gd name="T61" fmla="*/ 234 h 396"/>
                    <a:gd name="T62" fmla="*/ 234 w 438"/>
                    <a:gd name="T63" fmla="*/ 228 h 396"/>
                    <a:gd name="T64" fmla="*/ 210 w 438"/>
                    <a:gd name="T65" fmla="*/ 222 h 396"/>
                    <a:gd name="T66" fmla="*/ 192 w 438"/>
                    <a:gd name="T67" fmla="*/ 228 h 396"/>
                    <a:gd name="T68" fmla="*/ 156 w 438"/>
                    <a:gd name="T69" fmla="*/ 240 h 396"/>
                    <a:gd name="T70" fmla="*/ 72 w 438"/>
                    <a:gd name="T71" fmla="*/ 240 h 396"/>
                    <a:gd name="T72" fmla="*/ 12 w 438"/>
                    <a:gd name="T73" fmla="*/ 210 h 396"/>
                    <a:gd name="T74" fmla="*/ 0 w 438"/>
                    <a:gd name="T75" fmla="*/ 186 h 396"/>
                    <a:gd name="T76" fmla="*/ 0 w 438"/>
                    <a:gd name="T77" fmla="*/ 162 h 396"/>
                    <a:gd name="T78" fmla="*/ 12 w 438"/>
                    <a:gd name="T79" fmla="*/ 150 h 396"/>
                    <a:gd name="T80" fmla="*/ 36 w 438"/>
                    <a:gd name="T81" fmla="*/ 150 h 396"/>
                    <a:gd name="T82" fmla="*/ 96 w 438"/>
                    <a:gd name="T83" fmla="*/ 174 h 396"/>
                    <a:gd name="T84" fmla="*/ 120 w 438"/>
                    <a:gd name="T85" fmla="*/ 174 h 396"/>
                    <a:gd name="T86" fmla="*/ 126 w 438"/>
                    <a:gd name="T87" fmla="*/ 156 h 396"/>
                    <a:gd name="T88" fmla="*/ 126 w 438"/>
                    <a:gd name="T89" fmla="*/ 126 h 396"/>
                    <a:gd name="T90" fmla="*/ 114 w 438"/>
                    <a:gd name="T91" fmla="*/ 102 h 396"/>
                    <a:gd name="T92" fmla="*/ 96 w 438"/>
                    <a:gd name="T93" fmla="*/ 96 h 396"/>
                    <a:gd name="T94" fmla="*/ 72 w 438"/>
                    <a:gd name="T95" fmla="*/ 90 h 396"/>
                    <a:gd name="T96" fmla="*/ 60 w 438"/>
                    <a:gd name="T97" fmla="*/ 78 h 396"/>
                    <a:gd name="T98" fmla="*/ 48 w 438"/>
                    <a:gd name="T99" fmla="*/ 66 h 396"/>
                    <a:gd name="T100" fmla="*/ 30 w 438"/>
                    <a:gd name="T101" fmla="*/ 66 h 396"/>
                    <a:gd name="T102" fmla="*/ 12 w 438"/>
                    <a:gd name="T103" fmla="*/ 60 h 396"/>
                    <a:gd name="T104" fmla="*/ 12 w 438"/>
                    <a:gd name="T105" fmla="*/ 42 h 396"/>
                    <a:gd name="T106" fmla="*/ 30 w 438"/>
                    <a:gd name="T107" fmla="*/ 24 h 396"/>
                    <a:gd name="T108" fmla="*/ 60 w 438"/>
                    <a:gd name="T109" fmla="*/ 12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438" h="396">
                      <a:moveTo>
                        <a:pt x="84" y="0"/>
                      </a:moveTo>
                      <a:lnTo>
                        <a:pt x="120" y="6"/>
                      </a:lnTo>
                      <a:lnTo>
                        <a:pt x="156" y="12"/>
                      </a:lnTo>
                      <a:lnTo>
                        <a:pt x="180" y="12"/>
                      </a:lnTo>
                      <a:lnTo>
                        <a:pt x="198" y="24"/>
                      </a:lnTo>
                      <a:lnTo>
                        <a:pt x="216" y="36"/>
                      </a:lnTo>
                      <a:lnTo>
                        <a:pt x="228" y="54"/>
                      </a:lnTo>
                      <a:lnTo>
                        <a:pt x="234" y="78"/>
                      </a:lnTo>
                      <a:lnTo>
                        <a:pt x="240" y="96"/>
                      </a:lnTo>
                      <a:lnTo>
                        <a:pt x="246" y="108"/>
                      </a:lnTo>
                      <a:lnTo>
                        <a:pt x="252" y="114"/>
                      </a:lnTo>
                      <a:lnTo>
                        <a:pt x="264" y="108"/>
                      </a:lnTo>
                      <a:lnTo>
                        <a:pt x="276" y="102"/>
                      </a:lnTo>
                      <a:lnTo>
                        <a:pt x="288" y="96"/>
                      </a:lnTo>
                      <a:lnTo>
                        <a:pt x="300" y="96"/>
                      </a:lnTo>
                      <a:lnTo>
                        <a:pt x="312" y="102"/>
                      </a:lnTo>
                      <a:lnTo>
                        <a:pt x="330" y="108"/>
                      </a:lnTo>
                      <a:lnTo>
                        <a:pt x="342" y="120"/>
                      </a:lnTo>
                      <a:lnTo>
                        <a:pt x="348" y="132"/>
                      </a:lnTo>
                      <a:lnTo>
                        <a:pt x="354" y="150"/>
                      </a:lnTo>
                      <a:lnTo>
                        <a:pt x="354" y="162"/>
                      </a:lnTo>
                      <a:lnTo>
                        <a:pt x="360" y="174"/>
                      </a:lnTo>
                      <a:lnTo>
                        <a:pt x="372" y="180"/>
                      </a:lnTo>
                      <a:lnTo>
                        <a:pt x="378" y="180"/>
                      </a:lnTo>
                      <a:lnTo>
                        <a:pt x="390" y="186"/>
                      </a:lnTo>
                      <a:lnTo>
                        <a:pt x="402" y="186"/>
                      </a:lnTo>
                      <a:lnTo>
                        <a:pt x="414" y="192"/>
                      </a:lnTo>
                      <a:lnTo>
                        <a:pt x="420" y="204"/>
                      </a:lnTo>
                      <a:lnTo>
                        <a:pt x="432" y="210"/>
                      </a:lnTo>
                      <a:lnTo>
                        <a:pt x="432" y="222"/>
                      </a:lnTo>
                      <a:lnTo>
                        <a:pt x="438" y="234"/>
                      </a:lnTo>
                      <a:lnTo>
                        <a:pt x="432" y="246"/>
                      </a:lnTo>
                      <a:lnTo>
                        <a:pt x="420" y="258"/>
                      </a:lnTo>
                      <a:lnTo>
                        <a:pt x="408" y="264"/>
                      </a:lnTo>
                      <a:lnTo>
                        <a:pt x="408" y="270"/>
                      </a:lnTo>
                      <a:lnTo>
                        <a:pt x="408" y="282"/>
                      </a:lnTo>
                      <a:lnTo>
                        <a:pt x="414" y="288"/>
                      </a:lnTo>
                      <a:lnTo>
                        <a:pt x="420" y="300"/>
                      </a:lnTo>
                      <a:lnTo>
                        <a:pt x="426" y="312"/>
                      </a:lnTo>
                      <a:lnTo>
                        <a:pt x="432" y="330"/>
                      </a:lnTo>
                      <a:lnTo>
                        <a:pt x="426" y="354"/>
                      </a:lnTo>
                      <a:lnTo>
                        <a:pt x="426" y="366"/>
                      </a:lnTo>
                      <a:lnTo>
                        <a:pt x="414" y="378"/>
                      </a:lnTo>
                      <a:lnTo>
                        <a:pt x="408" y="390"/>
                      </a:lnTo>
                      <a:lnTo>
                        <a:pt x="390" y="396"/>
                      </a:lnTo>
                      <a:lnTo>
                        <a:pt x="372" y="396"/>
                      </a:lnTo>
                      <a:lnTo>
                        <a:pt x="360" y="390"/>
                      </a:lnTo>
                      <a:lnTo>
                        <a:pt x="342" y="372"/>
                      </a:lnTo>
                      <a:lnTo>
                        <a:pt x="336" y="354"/>
                      </a:lnTo>
                      <a:lnTo>
                        <a:pt x="330" y="336"/>
                      </a:lnTo>
                      <a:lnTo>
                        <a:pt x="324" y="324"/>
                      </a:lnTo>
                      <a:lnTo>
                        <a:pt x="318" y="312"/>
                      </a:lnTo>
                      <a:lnTo>
                        <a:pt x="306" y="306"/>
                      </a:lnTo>
                      <a:lnTo>
                        <a:pt x="300" y="300"/>
                      </a:lnTo>
                      <a:lnTo>
                        <a:pt x="294" y="294"/>
                      </a:lnTo>
                      <a:lnTo>
                        <a:pt x="288" y="282"/>
                      </a:lnTo>
                      <a:lnTo>
                        <a:pt x="288" y="264"/>
                      </a:lnTo>
                      <a:lnTo>
                        <a:pt x="282" y="252"/>
                      </a:lnTo>
                      <a:lnTo>
                        <a:pt x="282" y="246"/>
                      </a:lnTo>
                      <a:lnTo>
                        <a:pt x="276" y="240"/>
                      </a:lnTo>
                      <a:lnTo>
                        <a:pt x="264" y="234"/>
                      </a:lnTo>
                      <a:lnTo>
                        <a:pt x="252" y="234"/>
                      </a:lnTo>
                      <a:lnTo>
                        <a:pt x="246" y="234"/>
                      </a:lnTo>
                      <a:lnTo>
                        <a:pt x="234" y="228"/>
                      </a:lnTo>
                      <a:lnTo>
                        <a:pt x="222" y="222"/>
                      </a:lnTo>
                      <a:lnTo>
                        <a:pt x="210" y="222"/>
                      </a:lnTo>
                      <a:lnTo>
                        <a:pt x="204" y="222"/>
                      </a:lnTo>
                      <a:lnTo>
                        <a:pt x="192" y="228"/>
                      </a:lnTo>
                      <a:lnTo>
                        <a:pt x="174" y="234"/>
                      </a:lnTo>
                      <a:lnTo>
                        <a:pt x="156" y="240"/>
                      </a:lnTo>
                      <a:lnTo>
                        <a:pt x="114" y="246"/>
                      </a:lnTo>
                      <a:lnTo>
                        <a:pt x="72" y="240"/>
                      </a:lnTo>
                      <a:lnTo>
                        <a:pt x="30" y="222"/>
                      </a:lnTo>
                      <a:lnTo>
                        <a:pt x="12" y="210"/>
                      </a:lnTo>
                      <a:lnTo>
                        <a:pt x="6" y="198"/>
                      </a:lnTo>
                      <a:lnTo>
                        <a:pt x="0" y="186"/>
                      </a:lnTo>
                      <a:lnTo>
                        <a:pt x="0" y="174"/>
                      </a:lnTo>
                      <a:lnTo>
                        <a:pt x="0" y="162"/>
                      </a:lnTo>
                      <a:lnTo>
                        <a:pt x="6" y="156"/>
                      </a:lnTo>
                      <a:lnTo>
                        <a:pt x="12" y="150"/>
                      </a:lnTo>
                      <a:lnTo>
                        <a:pt x="18" y="144"/>
                      </a:lnTo>
                      <a:lnTo>
                        <a:pt x="36" y="150"/>
                      </a:lnTo>
                      <a:lnTo>
                        <a:pt x="66" y="162"/>
                      </a:lnTo>
                      <a:lnTo>
                        <a:pt x="96" y="174"/>
                      </a:lnTo>
                      <a:lnTo>
                        <a:pt x="108" y="174"/>
                      </a:lnTo>
                      <a:lnTo>
                        <a:pt x="120" y="174"/>
                      </a:lnTo>
                      <a:lnTo>
                        <a:pt x="126" y="168"/>
                      </a:lnTo>
                      <a:lnTo>
                        <a:pt x="126" y="156"/>
                      </a:lnTo>
                      <a:lnTo>
                        <a:pt x="126" y="144"/>
                      </a:lnTo>
                      <a:lnTo>
                        <a:pt x="126" y="126"/>
                      </a:lnTo>
                      <a:lnTo>
                        <a:pt x="120" y="114"/>
                      </a:lnTo>
                      <a:lnTo>
                        <a:pt x="114" y="102"/>
                      </a:lnTo>
                      <a:lnTo>
                        <a:pt x="102" y="102"/>
                      </a:lnTo>
                      <a:lnTo>
                        <a:pt x="96" y="96"/>
                      </a:lnTo>
                      <a:lnTo>
                        <a:pt x="84" y="96"/>
                      </a:lnTo>
                      <a:lnTo>
                        <a:pt x="72" y="90"/>
                      </a:lnTo>
                      <a:lnTo>
                        <a:pt x="60" y="90"/>
                      </a:lnTo>
                      <a:lnTo>
                        <a:pt x="60" y="78"/>
                      </a:lnTo>
                      <a:lnTo>
                        <a:pt x="54" y="72"/>
                      </a:lnTo>
                      <a:lnTo>
                        <a:pt x="48" y="66"/>
                      </a:lnTo>
                      <a:lnTo>
                        <a:pt x="42" y="66"/>
                      </a:lnTo>
                      <a:lnTo>
                        <a:pt x="30" y="66"/>
                      </a:lnTo>
                      <a:lnTo>
                        <a:pt x="18" y="66"/>
                      </a:lnTo>
                      <a:lnTo>
                        <a:pt x="12" y="60"/>
                      </a:lnTo>
                      <a:lnTo>
                        <a:pt x="12" y="54"/>
                      </a:lnTo>
                      <a:lnTo>
                        <a:pt x="12" y="42"/>
                      </a:lnTo>
                      <a:lnTo>
                        <a:pt x="24" y="36"/>
                      </a:lnTo>
                      <a:lnTo>
                        <a:pt x="30" y="24"/>
                      </a:lnTo>
                      <a:lnTo>
                        <a:pt x="42" y="18"/>
                      </a:lnTo>
                      <a:lnTo>
                        <a:pt x="60" y="12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8" name="Freeform 345">
                  <a:extLst>
                    <a:ext uri="{FF2B5EF4-FFF2-40B4-BE49-F238E27FC236}">
                      <a16:creationId xmlns:a16="http://schemas.microsoft.com/office/drawing/2014/main" id="{0FDB3523-4B50-4CE4-8937-1461DE899C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47" y="-8676"/>
                  <a:ext cx="282" cy="264"/>
                </a:xfrm>
                <a:custGeom>
                  <a:avLst/>
                  <a:gdLst>
                    <a:gd name="T0" fmla="*/ 72 w 282"/>
                    <a:gd name="T1" fmla="*/ 0 h 264"/>
                    <a:gd name="T2" fmla="*/ 102 w 282"/>
                    <a:gd name="T3" fmla="*/ 6 h 264"/>
                    <a:gd name="T4" fmla="*/ 138 w 282"/>
                    <a:gd name="T5" fmla="*/ 24 h 264"/>
                    <a:gd name="T6" fmla="*/ 156 w 282"/>
                    <a:gd name="T7" fmla="*/ 36 h 264"/>
                    <a:gd name="T8" fmla="*/ 162 w 282"/>
                    <a:gd name="T9" fmla="*/ 54 h 264"/>
                    <a:gd name="T10" fmla="*/ 180 w 282"/>
                    <a:gd name="T11" fmla="*/ 66 h 264"/>
                    <a:gd name="T12" fmla="*/ 204 w 282"/>
                    <a:gd name="T13" fmla="*/ 78 h 264"/>
                    <a:gd name="T14" fmla="*/ 216 w 282"/>
                    <a:gd name="T15" fmla="*/ 102 h 264"/>
                    <a:gd name="T16" fmla="*/ 222 w 282"/>
                    <a:gd name="T17" fmla="*/ 126 h 264"/>
                    <a:gd name="T18" fmla="*/ 240 w 282"/>
                    <a:gd name="T19" fmla="*/ 138 h 264"/>
                    <a:gd name="T20" fmla="*/ 276 w 282"/>
                    <a:gd name="T21" fmla="*/ 150 h 264"/>
                    <a:gd name="T22" fmla="*/ 282 w 282"/>
                    <a:gd name="T23" fmla="*/ 162 h 264"/>
                    <a:gd name="T24" fmla="*/ 276 w 282"/>
                    <a:gd name="T25" fmla="*/ 186 h 264"/>
                    <a:gd name="T26" fmla="*/ 276 w 282"/>
                    <a:gd name="T27" fmla="*/ 216 h 264"/>
                    <a:gd name="T28" fmla="*/ 264 w 282"/>
                    <a:gd name="T29" fmla="*/ 228 h 264"/>
                    <a:gd name="T30" fmla="*/ 246 w 282"/>
                    <a:gd name="T31" fmla="*/ 234 h 264"/>
                    <a:gd name="T32" fmla="*/ 222 w 282"/>
                    <a:gd name="T33" fmla="*/ 240 h 264"/>
                    <a:gd name="T34" fmla="*/ 192 w 282"/>
                    <a:gd name="T35" fmla="*/ 246 h 264"/>
                    <a:gd name="T36" fmla="*/ 168 w 282"/>
                    <a:gd name="T37" fmla="*/ 240 h 264"/>
                    <a:gd name="T38" fmla="*/ 156 w 282"/>
                    <a:gd name="T39" fmla="*/ 234 h 264"/>
                    <a:gd name="T40" fmla="*/ 150 w 282"/>
                    <a:gd name="T41" fmla="*/ 234 h 264"/>
                    <a:gd name="T42" fmla="*/ 132 w 282"/>
                    <a:gd name="T43" fmla="*/ 246 h 264"/>
                    <a:gd name="T44" fmla="*/ 96 w 282"/>
                    <a:gd name="T45" fmla="*/ 264 h 264"/>
                    <a:gd name="T46" fmla="*/ 30 w 282"/>
                    <a:gd name="T47" fmla="*/ 222 h 264"/>
                    <a:gd name="T48" fmla="*/ 0 w 282"/>
                    <a:gd name="T49" fmla="*/ 186 h 264"/>
                    <a:gd name="T50" fmla="*/ 6 w 282"/>
                    <a:gd name="T51" fmla="*/ 168 h 264"/>
                    <a:gd name="T52" fmla="*/ 24 w 282"/>
                    <a:gd name="T53" fmla="*/ 156 h 264"/>
                    <a:gd name="T54" fmla="*/ 54 w 282"/>
                    <a:gd name="T55" fmla="*/ 150 h 264"/>
                    <a:gd name="T56" fmla="*/ 78 w 282"/>
                    <a:gd name="T57" fmla="*/ 144 h 264"/>
                    <a:gd name="T58" fmla="*/ 84 w 282"/>
                    <a:gd name="T59" fmla="*/ 132 h 264"/>
                    <a:gd name="T60" fmla="*/ 66 w 282"/>
                    <a:gd name="T61" fmla="*/ 108 h 264"/>
                    <a:gd name="T62" fmla="*/ 48 w 282"/>
                    <a:gd name="T63" fmla="*/ 84 h 264"/>
                    <a:gd name="T64" fmla="*/ 30 w 282"/>
                    <a:gd name="T65" fmla="*/ 54 h 264"/>
                    <a:gd name="T66" fmla="*/ 24 w 282"/>
                    <a:gd name="T67" fmla="*/ 30 h 264"/>
                    <a:gd name="T68" fmla="*/ 36 w 282"/>
                    <a:gd name="T69" fmla="*/ 18 h 264"/>
                    <a:gd name="T70" fmla="*/ 48 w 282"/>
                    <a:gd name="T71" fmla="*/ 12 h 264"/>
                    <a:gd name="T72" fmla="*/ 54 w 282"/>
                    <a:gd name="T73" fmla="*/ 0 h 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82" h="264">
                      <a:moveTo>
                        <a:pt x="60" y="0"/>
                      </a:moveTo>
                      <a:lnTo>
                        <a:pt x="72" y="0"/>
                      </a:lnTo>
                      <a:lnTo>
                        <a:pt x="84" y="6"/>
                      </a:lnTo>
                      <a:lnTo>
                        <a:pt x="102" y="6"/>
                      </a:lnTo>
                      <a:lnTo>
                        <a:pt x="120" y="12"/>
                      </a:lnTo>
                      <a:lnTo>
                        <a:pt x="138" y="24"/>
                      </a:lnTo>
                      <a:lnTo>
                        <a:pt x="150" y="30"/>
                      </a:lnTo>
                      <a:lnTo>
                        <a:pt x="156" y="36"/>
                      </a:lnTo>
                      <a:lnTo>
                        <a:pt x="156" y="48"/>
                      </a:lnTo>
                      <a:lnTo>
                        <a:pt x="162" y="54"/>
                      </a:lnTo>
                      <a:lnTo>
                        <a:pt x="168" y="60"/>
                      </a:lnTo>
                      <a:lnTo>
                        <a:pt x="180" y="66"/>
                      </a:lnTo>
                      <a:lnTo>
                        <a:pt x="198" y="72"/>
                      </a:lnTo>
                      <a:lnTo>
                        <a:pt x="204" y="78"/>
                      </a:lnTo>
                      <a:lnTo>
                        <a:pt x="216" y="90"/>
                      </a:lnTo>
                      <a:lnTo>
                        <a:pt x="216" y="102"/>
                      </a:lnTo>
                      <a:lnTo>
                        <a:pt x="216" y="120"/>
                      </a:lnTo>
                      <a:lnTo>
                        <a:pt x="222" y="126"/>
                      </a:lnTo>
                      <a:lnTo>
                        <a:pt x="228" y="132"/>
                      </a:lnTo>
                      <a:lnTo>
                        <a:pt x="240" y="138"/>
                      </a:lnTo>
                      <a:lnTo>
                        <a:pt x="264" y="144"/>
                      </a:lnTo>
                      <a:lnTo>
                        <a:pt x="276" y="150"/>
                      </a:lnTo>
                      <a:lnTo>
                        <a:pt x="282" y="156"/>
                      </a:lnTo>
                      <a:lnTo>
                        <a:pt x="282" y="162"/>
                      </a:lnTo>
                      <a:lnTo>
                        <a:pt x="282" y="174"/>
                      </a:lnTo>
                      <a:lnTo>
                        <a:pt x="276" y="186"/>
                      </a:lnTo>
                      <a:lnTo>
                        <a:pt x="276" y="198"/>
                      </a:lnTo>
                      <a:lnTo>
                        <a:pt x="276" y="216"/>
                      </a:lnTo>
                      <a:lnTo>
                        <a:pt x="270" y="222"/>
                      </a:lnTo>
                      <a:lnTo>
                        <a:pt x="264" y="228"/>
                      </a:lnTo>
                      <a:lnTo>
                        <a:pt x="252" y="228"/>
                      </a:lnTo>
                      <a:lnTo>
                        <a:pt x="246" y="234"/>
                      </a:lnTo>
                      <a:lnTo>
                        <a:pt x="234" y="234"/>
                      </a:lnTo>
                      <a:lnTo>
                        <a:pt x="222" y="240"/>
                      </a:lnTo>
                      <a:lnTo>
                        <a:pt x="210" y="246"/>
                      </a:lnTo>
                      <a:lnTo>
                        <a:pt x="192" y="246"/>
                      </a:lnTo>
                      <a:lnTo>
                        <a:pt x="180" y="246"/>
                      </a:lnTo>
                      <a:lnTo>
                        <a:pt x="168" y="240"/>
                      </a:lnTo>
                      <a:lnTo>
                        <a:pt x="162" y="234"/>
                      </a:lnTo>
                      <a:lnTo>
                        <a:pt x="156" y="234"/>
                      </a:lnTo>
                      <a:lnTo>
                        <a:pt x="156" y="234"/>
                      </a:lnTo>
                      <a:lnTo>
                        <a:pt x="150" y="234"/>
                      </a:lnTo>
                      <a:lnTo>
                        <a:pt x="144" y="240"/>
                      </a:lnTo>
                      <a:lnTo>
                        <a:pt x="132" y="246"/>
                      </a:lnTo>
                      <a:lnTo>
                        <a:pt x="120" y="258"/>
                      </a:lnTo>
                      <a:lnTo>
                        <a:pt x="96" y="264"/>
                      </a:lnTo>
                      <a:lnTo>
                        <a:pt x="60" y="252"/>
                      </a:lnTo>
                      <a:lnTo>
                        <a:pt x="30" y="222"/>
                      </a:lnTo>
                      <a:lnTo>
                        <a:pt x="12" y="198"/>
                      </a:lnTo>
                      <a:lnTo>
                        <a:pt x="0" y="186"/>
                      </a:lnTo>
                      <a:lnTo>
                        <a:pt x="0" y="174"/>
                      </a:lnTo>
                      <a:lnTo>
                        <a:pt x="6" y="168"/>
                      </a:lnTo>
                      <a:lnTo>
                        <a:pt x="12" y="162"/>
                      </a:lnTo>
                      <a:lnTo>
                        <a:pt x="24" y="156"/>
                      </a:lnTo>
                      <a:lnTo>
                        <a:pt x="36" y="150"/>
                      </a:lnTo>
                      <a:lnTo>
                        <a:pt x="54" y="150"/>
                      </a:lnTo>
                      <a:lnTo>
                        <a:pt x="66" y="150"/>
                      </a:lnTo>
                      <a:lnTo>
                        <a:pt x="78" y="144"/>
                      </a:lnTo>
                      <a:lnTo>
                        <a:pt x="84" y="138"/>
                      </a:lnTo>
                      <a:lnTo>
                        <a:pt x="84" y="132"/>
                      </a:lnTo>
                      <a:lnTo>
                        <a:pt x="72" y="120"/>
                      </a:lnTo>
                      <a:lnTo>
                        <a:pt x="66" y="108"/>
                      </a:lnTo>
                      <a:lnTo>
                        <a:pt x="54" y="96"/>
                      </a:lnTo>
                      <a:lnTo>
                        <a:pt x="48" y="84"/>
                      </a:lnTo>
                      <a:lnTo>
                        <a:pt x="42" y="72"/>
                      </a:lnTo>
                      <a:lnTo>
                        <a:pt x="30" y="54"/>
                      </a:lnTo>
                      <a:lnTo>
                        <a:pt x="24" y="42"/>
                      </a:lnTo>
                      <a:lnTo>
                        <a:pt x="24" y="30"/>
                      </a:lnTo>
                      <a:lnTo>
                        <a:pt x="30" y="24"/>
                      </a:lnTo>
                      <a:lnTo>
                        <a:pt x="36" y="18"/>
                      </a:lnTo>
                      <a:lnTo>
                        <a:pt x="48" y="12"/>
                      </a:lnTo>
                      <a:lnTo>
                        <a:pt x="48" y="12"/>
                      </a:lnTo>
                      <a:lnTo>
                        <a:pt x="54" y="6"/>
                      </a:lnTo>
                      <a:lnTo>
                        <a:pt x="54" y="0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89" name="Freeform 346">
                  <a:extLst>
                    <a:ext uri="{FF2B5EF4-FFF2-40B4-BE49-F238E27FC236}">
                      <a16:creationId xmlns:a16="http://schemas.microsoft.com/office/drawing/2014/main" id="{4262D025-13E1-4F30-92C0-BFF507AC85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33" y="-8196"/>
                  <a:ext cx="318" cy="384"/>
                </a:xfrm>
                <a:custGeom>
                  <a:avLst/>
                  <a:gdLst>
                    <a:gd name="T0" fmla="*/ 258 w 318"/>
                    <a:gd name="T1" fmla="*/ 0 h 384"/>
                    <a:gd name="T2" fmla="*/ 270 w 318"/>
                    <a:gd name="T3" fmla="*/ 12 h 384"/>
                    <a:gd name="T4" fmla="*/ 282 w 318"/>
                    <a:gd name="T5" fmla="*/ 30 h 384"/>
                    <a:gd name="T6" fmla="*/ 306 w 318"/>
                    <a:gd name="T7" fmla="*/ 66 h 384"/>
                    <a:gd name="T8" fmla="*/ 318 w 318"/>
                    <a:gd name="T9" fmla="*/ 96 h 384"/>
                    <a:gd name="T10" fmla="*/ 306 w 318"/>
                    <a:gd name="T11" fmla="*/ 126 h 384"/>
                    <a:gd name="T12" fmla="*/ 300 w 318"/>
                    <a:gd name="T13" fmla="*/ 150 h 384"/>
                    <a:gd name="T14" fmla="*/ 294 w 318"/>
                    <a:gd name="T15" fmla="*/ 168 h 384"/>
                    <a:gd name="T16" fmla="*/ 294 w 318"/>
                    <a:gd name="T17" fmla="*/ 192 h 384"/>
                    <a:gd name="T18" fmla="*/ 288 w 318"/>
                    <a:gd name="T19" fmla="*/ 234 h 384"/>
                    <a:gd name="T20" fmla="*/ 270 w 318"/>
                    <a:gd name="T21" fmla="*/ 270 h 384"/>
                    <a:gd name="T22" fmla="*/ 252 w 318"/>
                    <a:gd name="T23" fmla="*/ 294 h 384"/>
                    <a:gd name="T24" fmla="*/ 234 w 318"/>
                    <a:gd name="T25" fmla="*/ 312 h 384"/>
                    <a:gd name="T26" fmla="*/ 222 w 318"/>
                    <a:gd name="T27" fmla="*/ 342 h 384"/>
                    <a:gd name="T28" fmla="*/ 210 w 318"/>
                    <a:gd name="T29" fmla="*/ 366 h 384"/>
                    <a:gd name="T30" fmla="*/ 198 w 318"/>
                    <a:gd name="T31" fmla="*/ 372 h 384"/>
                    <a:gd name="T32" fmla="*/ 168 w 318"/>
                    <a:gd name="T33" fmla="*/ 378 h 384"/>
                    <a:gd name="T34" fmla="*/ 120 w 318"/>
                    <a:gd name="T35" fmla="*/ 384 h 384"/>
                    <a:gd name="T36" fmla="*/ 36 w 318"/>
                    <a:gd name="T37" fmla="*/ 348 h 384"/>
                    <a:gd name="T38" fmla="*/ 12 w 318"/>
                    <a:gd name="T39" fmla="*/ 336 h 384"/>
                    <a:gd name="T40" fmla="*/ 18 w 318"/>
                    <a:gd name="T41" fmla="*/ 318 h 384"/>
                    <a:gd name="T42" fmla="*/ 30 w 318"/>
                    <a:gd name="T43" fmla="*/ 306 h 384"/>
                    <a:gd name="T44" fmla="*/ 36 w 318"/>
                    <a:gd name="T45" fmla="*/ 294 h 384"/>
                    <a:gd name="T46" fmla="*/ 36 w 318"/>
                    <a:gd name="T47" fmla="*/ 276 h 384"/>
                    <a:gd name="T48" fmla="*/ 48 w 318"/>
                    <a:gd name="T49" fmla="*/ 240 h 384"/>
                    <a:gd name="T50" fmla="*/ 78 w 318"/>
                    <a:gd name="T51" fmla="*/ 204 h 384"/>
                    <a:gd name="T52" fmla="*/ 102 w 318"/>
                    <a:gd name="T53" fmla="*/ 174 h 384"/>
                    <a:gd name="T54" fmla="*/ 114 w 318"/>
                    <a:gd name="T55" fmla="*/ 150 h 384"/>
                    <a:gd name="T56" fmla="*/ 108 w 318"/>
                    <a:gd name="T57" fmla="*/ 144 h 384"/>
                    <a:gd name="T58" fmla="*/ 96 w 318"/>
                    <a:gd name="T59" fmla="*/ 144 h 384"/>
                    <a:gd name="T60" fmla="*/ 60 w 318"/>
                    <a:gd name="T61" fmla="*/ 150 h 384"/>
                    <a:gd name="T62" fmla="*/ 30 w 318"/>
                    <a:gd name="T63" fmla="*/ 150 h 384"/>
                    <a:gd name="T64" fmla="*/ 0 w 318"/>
                    <a:gd name="T65" fmla="*/ 150 h 384"/>
                    <a:gd name="T66" fmla="*/ 0 w 318"/>
                    <a:gd name="T67" fmla="*/ 138 h 384"/>
                    <a:gd name="T68" fmla="*/ 12 w 318"/>
                    <a:gd name="T69" fmla="*/ 120 h 384"/>
                    <a:gd name="T70" fmla="*/ 24 w 318"/>
                    <a:gd name="T71" fmla="*/ 102 h 384"/>
                    <a:gd name="T72" fmla="*/ 42 w 318"/>
                    <a:gd name="T73" fmla="*/ 90 h 384"/>
                    <a:gd name="T74" fmla="*/ 60 w 318"/>
                    <a:gd name="T75" fmla="*/ 90 h 384"/>
                    <a:gd name="T76" fmla="*/ 72 w 318"/>
                    <a:gd name="T77" fmla="*/ 90 h 384"/>
                    <a:gd name="T78" fmla="*/ 72 w 318"/>
                    <a:gd name="T79" fmla="*/ 78 h 384"/>
                    <a:gd name="T80" fmla="*/ 66 w 318"/>
                    <a:gd name="T81" fmla="*/ 54 h 384"/>
                    <a:gd name="T82" fmla="*/ 78 w 318"/>
                    <a:gd name="T83" fmla="*/ 42 h 384"/>
                    <a:gd name="T84" fmla="*/ 102 w 318"/>
                    <a:gd name="T85" fmla="*/ 42 h 384"/>
                    <a:gd name="T86" fmla="*/ 114 w 318"/>
                    <a:gd name="T87" fmla="*/ 36 h 384"/>
                    <a:gd name="T88" fmla="*/ 120 w 318"/>
                    <a:gd name="T89" fmla="*/ 24 h 384"/>
                    <a:gd name="T90" fmla="*/ 126 w 318"/>
                    <a:gd name="T91" fmla="*/ 12 h 384"/>
                    <a:gd name="T92" fmla="*/ 150 w 318"/>
                    <a:gd name="T93" fmla="*/ 6 h 384"/>
                    <a:gd name="T94" fmla="*/ 186 w 318"/>
                    <a:gd name="T95" fmla="*/ 6 h 384"/>
                    <a:gd name="T96" fmla="*/ 228 w 318"/>
                    <a:gd name="T97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18" h="384">
                      <a:moveTo>
                        <a:pt x="246" y="0"/>
                      </a:moveTo>
                      <a:lnTo>
                        <a:pt x="258" y="0"/>
                      </a:lnTo>
                      <a:lnTo>
                        <a:pt x="264" y="6"/>
                      </a:lnTo>
                      <a:lnTo>
                        <a:pt x="270" y="12"/>
                      </a:lnTo>
                      <a:lnTo>
                        <a:pt x="276" y="24"/>
                      </a:lnTo>
                      <a:lnTo>
                        <a:pt x="282" y="30"/>
                      </a:lnTo>
                      <a:lnTo>
                        <a:pt x="294" y="42"/>
                      </a:lnTo>
                      <a:lnTo>
                        <a:pt x="306" y="66"/>
                      </a:lnTo>
                      <a:lnTo>
                        <a:pt x="318" y="78"/>
                      </a:lnTo>
                      <a:lnTo>
                        <a:pt x="318" y="96"/>
                      </a:lnTo>
                      <a:lnTo>
                        <a:pt x="312" y="114"/>
                      </a:lnTo>
                      <a:lnTo>
                        <a:pt x="306" y="126"/>
                      </a:lnTo>
                      <a:lnTo>
                        <a:pt x="300" y="138"/>
                      </a:lnTo>
                      <a:lnTo>
                        <a:pt x="300" y="150"/>
                      </a:lnTo>
                      <a:lnTo>
                        <a:pt x="294" y="156"/>
                      </a:lnTo>
                      <a:lnTo>
                        <a:pt x="294" y="168"/>
                      </a:lnTo>
                      <a:lnTo>
                        <a:pt x="294" y="174"/>
                      </a:lnTo>
                      <a:lnTo>
                        <a:pt x="294" y="192"/>
                      </a:lnTo>
                      <a:lnTo>
                        <a:pt x="294" y="216"/>
                      </a:lnTo>
                      <a:lnTo>
                        <a:pt x="288" y="234"/>
                      </a:lnTo>
                      <a:lnTo>
                        <a:pt x="282" y="252"/>
                      </a:lnTo>
                      <a:lnTo>
                        <a:pt x="270" y="270"/>
                      </a:lnTo>
                      <a:lnTo>
                        <a:pt x="264" y="282"/>
                      </a:lnTo>
                      <a:lnTo>
                        <a:pt x="252" y="294"/>
                      </a:lnTo>
                      <a:lnTo>
                        <a:pt x="246" y="300"/>
                      </a:lnTo>
                      <a:lnTo>
                        <a:pt x="234" y="312"/>
                      </a:lnTo>
                      <a:lnTo>
                        <a:pt x="228" y="324"/>
                      </a:lnTo>
                      <a:lnTo>
                        <a:pt x="222" y="342"/>
                      </a:lnTo>
                      <a:lnTo>
                        <a:pt x="216" y="360"/>
                      </a:lnTo>
                      <a:lnTo>
                        <a:pt x="210" y="366"/>
                      </a:lnTo>
                      <a:lnTo>
                        <a:pt x="204" y="372"/>
                      </a:lnTo>
                      <a:lnTo>
                        <a:pt x="198" y="372"/>
                      </a:lnTo>
                      <a:lnTo>
                        <a:pt x="186" y="378"/>
                      </a:lnTo>
                      <a:lnTo>
                        <a:pt x="168" y="378"/>
                      </a:lnTo>
                      <a:lnTo>
                        <a:pt x="156" y="378"/>
                      </a:lnTo>
                      <a:lnTo>
                        <a:pt x="120" y="384"/>
                      </a:lnTo>
                      <a:lnTo>
                        <a:pt x="84" y="372"/>
                      </a:lnTo>
                      <a:lnTo>
                        <a:pt x="36" y="348"/>
                      </a:lnTo>
                      <a:lnTo>
                        <a:pt x="18" y="342"/>
                      </a:lnTo>
                      <a:lnTo>
                        <a:pt x="12" y="336"/>
                      </a:lnTo>
                      <a:lnTo>
                        <a:pt x="12" y="330"/>
                      </a:lnTo>
                      <a:lnTo>
                        <a:pt x="18" y="318"/>
                      </a:lnTo>
                      <a:lnTo>
                        <a:pt x="24" y="312"/>
                      </a:lnTo>
                      <a:lnTo>
                        <a:pt x="30" y="306"/>
                      </a:lnTo>
                      <a:lnTo>
                        <a:pt x="36" y="300"/>
                      </a:lnTo>
                      <a:lnTo>
                        <a:pt x="36" y="294"/>
                      </a:lnTo>
                      <a:lnTo>
                        <a:pt x="36" y="288"/>
                      </a:lnTo>
                      <a:lnTo>
                        <a:pt x="36" y="276"/>
                      </a:lnTo>
                      <a:lnTo>
                        <a:pt x="36" y="258"/>
                      </a:lnTo>
                      <a:lnTo>
                        <a:pt x="48" y="240"/>
                      </a:lnTo>
                      <a:lnTo>
                        <a:pt x="66" y="222"/>
                      </a:lnTo>
                      <a:lnTo>
                        <a:pt x="78" y="204"/>
                      </a:lnTo>
                      <a:lnTo>
                        <a:pt x="96" y="192"/>
                      </a:lnTo>
                      <a:lnTo>
                        <a:pt x="102" y="174"/>
                      </a:lnTo>
                      <a:lnTo>
                        <a:pt x="114" y="162"/>
                      </a:lnTo>
                      <a:lnTo>
                        <a:pt x="114" y="150"/>
                      </a:lnTo>
                      <a:lnTo>
                        <a:pt x="114" y="144"/>
                      </a:lnTo>
                      <a:lnTo>
                        <a:pt x="108" y="144"/>
                      </a:lnTo>
                      <a:lnTo>
                        <a:pt x="102" y="144"/>
                      </a:lnTo>
                      <a:lnTo>
                        <a:pt x="96" y="144"/>
                      </a:lnTo>
                      <a:lnTo>
                        <a:pt x="78" y="150"/>
                      </a:lnTo>
                      <a:lnTo>
                        <a:pt x="60" y="150"/>
                      </a:lnTo>
                      <a:lnTo>
                        <a:pt x="42" y="150"/>
                      </a:lnTo>
                      <a:lnTo>
                        <a:pt x="30" y="150"/>
                      </a:lnTo>
                      <a:lnTo>
                        <a:pt x="12" y="150"/>
                      </a:lnTo>
                      <a:lnTo>
                        <a:pt x="0" y="150"/>
                      </a:lnTo>
                      <a:lnTo>
                        <a:pt x="0" y="144"/>
                      </a:lnTo>
                      <a:lnTo>
                        <a:pt x="0" y="138"/>
                      </a:lnTo>
                      <a:lnTo>
                        <a:pt x="6" y="132"/>
                      </a:lnTo>
                      <a:lnTo>
                        <a:pt x="12" y="120"/>
                      </a:lnTo>
                      <a:lnTo>
                        <a:pt x="18" y="114"/>
                      </a:lnTo>
                      <a:lnTo>
                        <a:pt x="24" y="102"/>
                      </a:lnTo>
                      <a:lnTo>
                        <a:pt x="30" y="96"/>
                      </a:lnTo>
                      <a:lnTo>
                        <a:pt x="42" y="90"/>
                      </a:lnTo>
                      <a:lnTo>
                        <a:pt x="48" y="90"/>
                      </a:lnTo>
                      <a:lnTo>
                        <a:pt x="60" y="90"/>
                      </a:lnTo>
                      <a:lnTo>
                        <a:pt x="66" y="90"/>
                      </a:lnTo>
                      <a:lnTo>
                        <a:pt x="72" y="90"/>
                      </a:lnTo>
                      <a:lnTo>
                        <a:pt x="72" y="84"/>
                      </a:lnTo>
                      <a:lnTo>
                        <a:pt x="72" y="78"/>
                      </a:lnTo>
                      <a:lnTo>
                        <a:pt x="66" y="66"/>
                      </a:lnTo>
                      <a:lnTo>
                        <a:pt x="66" y="54"/>
                      </a:lnTo>
                      <a:lnTo>
                        <a:pt x="72" y="42"/>
                      </a:lnTo>
                      <a:lnTo>
                        <a:pt x="78" y="42"/>
                      </a:lnTo>
                      <a:lnTo>
                        <a:pt x="90" y="36"/>
                      </a:lnTo>
                      <a:lnTo>
                        <a:pt x="102" y="42"/>
                      </a:lnTo>
                      <a:lnTo>
                        <a:pt x="114" y="42"/>
                      </a:lnTo>
                      <a:lnTo>
                        <a:pt x="114" y="36"/>
                      </a:lnTo>
                      <a:lnTo>
                        <a:pt x="120" y="36"/>
                      </a:lnTo>
                      <a:lnTo>
                        <a:pt x="120" y="24"/>
                      </a:lnTo>
                      <a:lnTo>
                        <a:pt x="120" y="12"/>
                      </a:lnTo>
                      <a:lnTo>
                        <a:pt x="126" y="12"/>
                      </a:lnTo>
                      <a:lnTo>
                        <a:pt x="138" y="6"/>
                      </a:lnTo>
                      <a:lnTo>
                        <a:pt x="150" y="6"/>
                      </a:lnTo>
                      <a:lnTo>
                        <a:pt x="168" y="6"/>
                      </a:lnTo>
                      <a:lnTo>
                        <a:pt x="186" y="6"/>
                      </a:lnTo>
                      <a:lnTo>
                        <a:pt x="210" y="0"/>
                      </a:lnTo>
                      <a:lnTo>
                        <a:pt x="228" y="0"/>
                      </a:lnTo>
                      <a:lnTo>
                        <a:pt x="246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0" name="Freeform 347">
                  <a:extLst>
                    <a:ext uri="{FF2B5EF4-FFF2-40B4-BE49-F238E27FC236}">
                      <a16:creationId xmlns:a16="http://schemas.microsoft.com/office/drawing/2014/main" id="{77593868-5EB0-4683-A84A-8E737EB81A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71" y="-9054"/>
                  <a:ext cx="726" cy="720"/>
                </a:xfrm>
                <a:custGeom>
                  <a:avLst/>
                  <a:gdLst>
                    <a:gd name="T0" fmla="*/ 378 w 726"/>
                    <a:gd name="T1" fmla="*/ 48 h 720"/>
                    <a:gd name="T2" fmla="*/ 456 w 726"/>
                    <a:gd name="T3" fmla="*/ 228 h 720"/>
                    <a:gd name="T4" fmla="*/ 486 w 726"/>
                    <a:gd name="T5" fmla="*/ 258 h 720"/>
                    <a:gd name="T6" fmla="*/ 504 w 726"/>
                    <a:gd name="T7" fmla="*/ 270 h 720"/>
                    <a:gd name="T8" fmla="*/ 534 w 726"/>
                    <a:gd name="T9" fmla="*/ 300 h 720"/>
                    <a:gd name="T10" fmla="*/ 552 w 726"/>
                    <a:gd name="T11" fmla="*/ 342 h 720"/>
                    <a:gd name="T12" fmla="*/ 582 w 726"/>
                    <a:gd name="T13" fmla="*/ 354 h 720"/>
                    <a:gd name="T14" fmla="*/ 600 w 726"/>
                    <a:gd name="T15" fmla="*/ 312 h 720"/>
                    <a:gd name="T16" fmla="*/ 630 w 726"/>
                    <a:gd name="T17" fmla="*/ 342 h 720"/>
                    <a:gd name="T18" fmla="*/ 642 w 726"/>
                    <a:gd name="T19" fmla="*/ 360 h 720"/>
                    <a:gd name="T20" fmla="*/ 672 w 726"/>
                    <a:gd name="T21" fmla="*/ 402 h 720"/>
                    <a:gd name="T22" fmla="*/ 678 w 726"/>
                    <a:gd name="T23" fmla="*/ 450 h 720"/>
                    <a:gd name="T24" fmla="*/ 648 w 726"/>
                    <a:gd name="T25" fmla="*/ 474 h 720"/>
                    <a:gd name="T26" fmla="*/ 636 w 726"/>
                    <a:gd name="T27" fmla="*/ 522 h 720"/>
                    <a:gd name="T28" fmla="*/ 672 w 726"/>
                    <a:gd name="T29" fmla="*/ 534 h 720"/>
                    <a:gd name="T30" fmla="*/ 714 w 726"/>
                    <a:gd name="T31" fmla="*/ 522 h 720"/>
                    <a:gd name="T32" fmla="*/ 726 w 726"/>
                    <a:gd name="T33" fmla="*/ 564 h 720"/>
                    <a:gd name="T34" fmla="*/ 666 w 726"/>
                    <a:gd name="T35" fmla="*/ 588 h 720"/>
                    <a:gd name="T36" fmla="*/ 600 w 726"/>
                    <a:gd name="T37" fmla="*/ 618 h 720"/>
                    <a:gd name="T38" fmla="*/ 558 w 726"/>
                    <a:gd name="T39" fmla="*/ 636 h 720"/>
                    <a:gd name="T40" fmla="*/ 546 w 726"/>
                    <a:gd name="T41" fmla="*/ 612 h 720"/>
                    <a:gd name="T42" fmla="*/ 522 w 726"/>
                    <a:gd name="T43" fmla="*/ 624 h 720"/>
                    <a:gd name="T44" fmla="*/ 492 w 726"/>
                    <a:gd name="T45" fmla="*/ 606 h 720"/>
                    <a:gd name="T46" fmla="*/ 456 w 726"/>
                    <a:gd name="T47" fmla="*/ 624 h 720"/>
                    <a:gd name="T48" fmla="*/ 438 w 726"/>
                    <a:gd name="T49" fmla="*/ 714 h 720"/>
                    <a:gd name="T50" fmla="*/ 420 w 726"/>
                    <a:gd name="T51" fmla="*/ 702 h 720"/>
                    <a:gd name="T52" fmla="*/ 390 w 726"/>
                    <a:gd name="T53" fmla="*/ 678 h 720"/>
                    <a:gd name="T54" fmla="*/ 372 w 726"/>
                    <a:gd name="T55" fmla="*/ 690 h 720"/>
                    <a:gd name="T56" fmla="*/ 330 w 726"/>
                    <a:gd name="T57" fmla="*/ 666 h 720"/>
                    <a:gd name="T58" fmla="*/ 288 w 726"/>
                    <a:gd name="T59" fmla="*/ 684 h 720"/>
                    <a:gd name="T60" fmla="*/ 174 w 726"/>
                    <a:gd name="T61" fmla="*/ 588 h 720"/>
                    <a:gd name="T62" fmla="*/ 156 w 726"/>
                    <a:gd name="T63" fmla="*/ 558 h 720"/>
                    <a:gd name="T64" fmla="*/ 168 w 726"/>
                    <a:gd name="T65" fmla="*/ 528 h 720"/>
                    <a:gd name="T66" fmla="*/ 132 w 726"/>
                    <a:gd name="T67" fmla="*/ 504 h 720"/>
                    <a:gd name="T68" fmla="*/ 78 w 726"/>
                    <a:gd name="T69" fmla="*/ 468 h 720"/>
                    <a:gd name="T70" fmla="*/ 120 w 726"/>
                    <a:gd name="T71" fmla="*/ 432 h 720"/>
                    <a:gd name="T72" fmla="*/ 186 w 726"/>
                    <a:gd name="T73" fmla="*/ 438 h 720"/>
                    <a:gd name="T74" fmla="*/ 222 w 726"/>
                    <a:gd name="T75" fmla="*/ 462 h 720"/>
                    <a:gd name="T76" fmla="*/ 288 w 726"/>
                    <a:gd name="T77" fmla="*/ 468 h 720"/>
                    <a:gd name="T78" fmla="*/ 330 w 726"/>
                    <a:gd name="T79" fmla="*/ 450 h 720"/>
                    <a:gd name="T80" fmla="*/ 300 w 726"/>
                    <a:gd name="T81" fmla="*/ 426 h 720"/>
                    <a:gd name="T82" fmla="*/ 258 w 726"/>
                    <a:gd name="T83" fmla="*/ 414 h 720"/>
                    <a:gd name="T84" fmla="*/ 294 w 726"/>
                    <a:gd name="T85" fmla="*/ 396 h 720"/>
                    <a:gd name="T86" fmla="*/ 306 w 726"/>
                    <a:gd name="T87" fmla="*/ 372 h 720"/>
                    <a:gd name="T88" fmla="*/ 258 w 726"/>
                    <a:gd name="T89" fmla="*/ 342 h 720"/>
                    <a:gd name="T90" fmla="*/ 174 w 726"/>
                    <a:gd name="T91" fmla="*/ 378 h 720"/>
                    <a:gd name="T92" fmla="*/ 120 w 726"/>
                    <a:gd name="T93" fmla="*/ 366 h 720"/>
                    <a:gd name="T94" fmla="*/ 60 w 726"/>
                    <a:gd name="T95" fmla="*/ 354 h 720"/>
                    <a:gd name="T96" fmla="*/ 30 w 726"/>
                    <a:gd name="T97" fmla="*/ 330 h 720"/>
                    <a:gd name="T98" fmla="*/ 96 w 726"/>
                    <a:gd name="T99" fmla="*/ 306 h 720"/>
                    <a:gd name="T100" fmla="*/ 96 w 726"/>
                    <a:gd name="T101" fmla="*/ 282 h 720"/>
                    <a:gd name="T102" fmla="*/ 24 w 726"/>
                    <a:gd name="T103" fmla="*/ 264 h 720"/>
                    <a:gd name="T104" fmla="*/ 0 w 726"/>
                    <a:gd name="T105" fmla="*/ 228 h 720"/>
                    <a:gd name="T106" fmla="*/ 36 w 726"/>
                    <a:gd name="T107" fmla="*/ 204 h 720"/>
                    <a:gd name="T108" fmla="*/ 66 w 726"/>
                    <a:gd name="T109" fmla="*/ 204 h 720"/>
                    <a:gd name="T110" fmla="*/ 66 w 726"/>
                    <a:gd name="T111" fmla="*/ 174 h 720"/>
                    <a:gd name="T112" fmla="*/ 120 w 726"/>
                    <a:gd name="T113" fmla="*/ 174 h 720"/>
                    <a:gd name="T114" fmla="*/ 186 w 726"/>
                    <a:gd name="T115" fmla="*/ 174 h 720"/>
                    <a:gd name="T116" fmla="*/ 168 w 726"/>
                    <a:gd name="T117" fmla="*/ 108 h 720"/>
                    <a:gd name="T118" fmla="*/ 162 w 726"/>
                    <a:gd name="T119" fmla="*/ 54 h 720"/>
                    <a:gd name="T120" fmla="*/ 204 w 726"/>
                    <a:gd name="T121" fmla="*/ 42 h 720"/>
                    <a:gd name="T122" fmla="*/ 246 w 726"/>
                    <a:gd name="T123" fmla="*/ 42 h 7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26" h="720">
                      <a:moveTo>
                        <a:pt x="282" y="0"/>
                      </a:moveTo>
                      <a:lnTo>
                        <a:pt x="312" y="6"/>
                      </a:lnTo>
                      <a:lnTo>
                        <a:pt x="342" y="18"/>
                      </a:lnTo>
                      <a:lnTo>
                        <a:pt x="378" y="48"/>
                      </a:lnTo>
                      <a:lnTo>
                        <a:pt x="408" y="96"/>
                      </a:lnTo>
                      <a:lnTo>
                        <a:pt x="438" y="144"/>
                      </a:lnTo>
                      <a:lnTo>
                        <a:pt x="450" y="204"/>
                      </a:lnTo>
                      <a:lnTo>
                        <a:pt x="456" y="228"/>
                      </a:lnTo>
                      <a:lnTo>
                        <a:pt x="462" y="240"/>
                      </a:lnTo>
                      <a:lnTo>
                        <a:pt x="468" y="252"/>
                      </a:lnTo>
                      <a:lnTo>
                        <a:pt x="474" y="252"/>
                      </a:lnTo>
                      <a:lnTo>
                        <a:pt x="486" y="258"/>
                      </a:lnTo>
                      <a:lnTo>
                        <a:pt x="492" y="258"/>
                      </a:lnTo>
                      <a:lnTo>
                        <a:pt x="498" y="258"/>
                      </a:lnTo>
                      <a:lnTo>
                        <a:pt x="504" y="264"/>
                      </a:lnTo>
                      <a:lnTo>
                        <a:pt x="504" y="270"/>
                      </a:lnTo>
                      <a:lnTo>
                        <a:pt x="504" y="282"/>
                      </a:lnTo>
                      <a:lnTo>
                        <a:pt x="516" y="294"/>
                      </a:lnTo>
                      <a:lnTo>
                        <a:pt x="522" y="300"/>
                      </a:lnTo>
                      <a:lnTo>
                        <a:pt x="534" y="300"/>
                      </a:lnTo>
                      <a:lnTo>
                        <a:pt x="540" y="306"/>
                      </a:lnTo>
                      <a:lnTo>
                        <a:pt x="552" y="312"/>
                      </a:lnTo>
                      <a:lnTo>
                        <a:pt x="552" y="324"/>
                      </a:lnTo>
                      <a:lnTo>
                        <a:pt x="552" y="342"/>
                      </a:lnTo>
                      <a:lnTo>
                        <a:pt x="558" y="354"/>
                      </a:lnTo>
                      <a:lnTo>
                        <a:pt x="570" y="360"/>
                      </a:lnTo>
                      <a:lnTo>
                        <a:pt x="576" y="360"/>
                      </a:lnTo>
                      <a:lnTo>
                        <a:pt x="582" y="354"/>
                      </a:lnTo>
                      <a:lnTo>
                        <a:pt x="588" y="342"/>
                      </a:lnTo>
                      <a:lnTo>
                        <a:pt x="588" y="330"/>
                      </a:lnTo>
                      <a:lnTo>
                        <a:pt x="594" y="318"/>
                      </a:lnTo>
                      <a:lnTo>
                        <a:pt x="600" y="312"/>
                      </a:lnTo>
                      <a:lnTo>
                        <a:pt x="606" y="312"/>
                      </a:lnTo>
                      <a:lnTo>
                        <a:pt x="612" y="318"/>
                      </a:lnTo>
                      <a:lnTo>
                        <a:pt x="624" y="330"/>
                      </a:lnTo>
                      <a:lnTo>
                        <a:pt x="630" y="342"/>
                      </a:lnTo>
                      <a:lnTo>
                        <a:pt x="630" y="348"/>
                      </a:lnTo>
                      <a:lnTo>
                        <a:pt x="636" y="348"/>
                      </a:lnTo>
                      <a:lnTo>
                        <a:pt x="636" y="354"/>
                      </a:lnTo>
                      <a:lnTo>
                        <a:pt x="642" y="360"/>
                      </a:lnTo>
                      <a:lnTo>
                        <a:pt x="642" y="366"/>
                      </a:lnTo>
                      <a:lnTo>
                        <a:pt x="648" y="372"/>
                      </a:lnTo>
                      <a:lnTo>
                        <a:pt x="660" y="384"/>
                      </a:lnTo>
                      <a:lnTo>
                        <a:pt x="672" y="402"/>
                      </a:lnTo>
                      <a:lnTo>
                        <a:pt x="678" y="420"/>
                      </a:lnTo>
                      <a:lnTo>
                        <a:pt x="684" y="432"/>
                      </a:lnTo>
                      <a:lnTo>
                        <a:pt x="678" y="438"/>
                      </a:lnTo>
                      <a:lnTo>
                        <a:pt x="678" y="450"/>
                      </a:lnTo>
                      <a:lnTo>
                        <a:pt x="672" y="456"/>
                      </a:lnTo>
                      <a:lnTo>
                        <a:pt x="660" y="462"/>
                      </a:lnTo>
                      <a:lnTo>
                        <a:pt x="654" y="468"/>
                      </a:lnTo>
                      <a:lnTo>
                        <a:pt x="648" y="474"/>
                      </a:lnTo>
                      <a:lnTo>
                        <a:pt x="636" y="486"/>
                      </a:lnTo>
                      <a:lnTo>
                        <a:pt x="636" y="492"/>
                      </a:lnTo>
                      <a:lnTo>
                        <a:pt x="630" y="510"/>
                      </a:lnTo>
                      <a:lnTo>
                        <a:pt x="636" y="522"/>
                      </a:lnTo>
                      <a:lnTo>
                        <a:pt x="642" y="528"/>
                      </a:lnTo>
                      <a:lnTo>
                        <a:pt x="648" y="528"/>
                      </a:lnTo>
                      <a:lnTo>
                        <a:pt x="660" y="534"/>
                      </a:lnTo>
                      <a:lnTo>
                        <a:pt x="672" y="534"/>
                      </a:lnTo>
                      <a:lnTo>
                        <a:pt x="684" y="528"/>
                      </a:lnTo>
                      <a:lnTo>
                        <a:pt x="696" y="528"/>
                      </a:lnTo>
                      <a:lnTo>
                        <a:pt x="708" y="522"/>
                      </a:lnTo>
                      <a:lnTo>
                        <a:pt x="714" y="522"/>
                      </a:lnTo>
                      <a:lnTo>
                        <a:pt x="720" y="522"/>
                      </a:lnTo>
                      <a:lnTo>
                        <a:pt x="726" y="534"/>
                      </a:lnTo>
                      <a:lnTo>
                        <a:pt x="726" y="546"/>
                      </a:lnTo>
                      <a:lnTo>
                        <a:pt x="726" y="564"/>
                      </a:lnTo>
                      <a:lnTo>
                        <a:pt x="714" y="576"/>
                      </a:lnTo>
                      <a:lnTo>
                        <a:pt x="702" y="588"/>
                      </a:lnTo>
                      <a:lnTo>
                        <a:pt x="690" y="588"/>
                      </a:lnTo>
                      <a:lnTo>
                        <a:pt x="666" y="588"/>
                      </a:lnTo>
                      <a:lnTo>
                        <a:pt x="642" y="594"/>
                      </a:lnTo>
                      <a:lnTo>
                        <a:pt x="624" y="594"/>
                      </a:lnTo>
                      <a:lnTo>
                        <a:pt x="612" y="606"/>
                      </a:lnTo>
                      <a:lnTo>
                        <a:pt x="600" y="618"/>
                      </a:lnTo>
                      <a:lnTo>
                        <a:pt x="582" y="630"/>
                      </a:lnTo>
                      <a:lnTo>
                        <a:pt x="570" y="636"/>
                      </a:lnTo>
                      <a:lnTo>
                        <a:pt x="564" y="642"/>
                      </a:lnTo>
                      <a:lnTo>
                        <a:pt x="558" y="636"/>
                      </a:lnTo>
                      <a:lnTo>
                        <a:pt x="558" y="630"/>
                      </a:lnTo>
                      <a:lnTo>
                        <a:pt x="552" y="624"/>
                      </a:lnTo>
                      <a:lnTo>
                        <a:pt x="552" y="618"/>
                      </a:lnTo>
                      <a:lnTo>
                        <a:pt x="546" y="612"/>
                      </a:lnTo>
                      <a:lnTo>
                        <a:pt x="540" y="606"/>
                      </a:lnTo>
                      <a:lnTo>
                        <a:pt x="540" y="612"/>
                      </a:lnTo>
                      <a:lnTo>
                        <a:pt x="528" y="618"/>
                      </a:lnTo>
                      <a:lnTo>
                        <a:pt x="522" y="624"/>
                      </a:lnTo>
                      <a:lnTo>
                        <a:pt x="516" y="624"/>
                      </a:lnTo>
                      <a:lnTo>
                        <a:pt x="510" y="624"/>
                      </a:lnTo>
                      <a:lnTo>
                        <a:pt x="504" y="618"/>
                      </a:lnTo>
                      <a:lnTo>
                        <a:pt x="492" y="606"/>
                      </a:lnTo>
                      <a:lnTo>
                        <a:pt x="480" y="600"/>
                      </a:lnTo>
                      <a:lnTo>
                        <a:pt x="474" y="600"/>
                      </a:lnTo>
                      <a:lnTo>
                        <a:pt x="462" y="612"/>
                      </a:lnTo>
                      <a:lnTo>
                        <a:pt x="456" y="624"/>
                      </a:lnTo>
                      <a:lnTo>
                        <a:pt x="450" y="648"/>
                      </a:lnTo>
                      <a:lnTo>
                        <a:pt x="444" y="678"/>
                      </a:lnTo>
                      <a:lnTo>
                        <a:pt x="444" y="702"/>
                      </a:lnTo>
                      <a:lnTo>
                        <a:pt x="438" y="714"/>
                      </a:lnTo>
                      <a:lnTo>
                        <a:pt x="432" y="720"/>
                      </a:lnTo>
                      <a:lnTo>
                        <a:pt x="426" y="720"/>
                      </a:lnTo>
                      <a:lnTo>
                        <a:pt x="426" y="714"/>
                      </a:lnTo>
                      <a:lnTo>
                        <a:pt x="420" y="702"/>
                      </a:lnTo>
                      <a:lnTo>
                        <a:pt x="408" y="696"/>
                      </a:lnTo>
                      <a:lnTo>
                        <a:pt x="402" y="684"/>
                      </a:lnTo>
                      <a:lnTo>
                        <a:pt x="396" y="678"/>
                      </a:lnTo>
                      <a:lnTo>
                        <a:pt x="390" y="678"/>
                      </a:lnTo>
                      <a:lnTo>
                        <a:pt x="390" y="678"/>
                      </a:lnTo>
                      <a:lnTo>
                        <a:pt x="384" y="684"/>
                      </a:lnTo>
                      <a:lnTo>
                        <a:pt x="378" y="690"/>
                      </a:lnTo>
                      <a:lnTo>
                        <a:pt x="372" y="690"/>
                      </a:lnTo>
                      <a:lnTo>
                        <a:pt x="366" y="684"/>
                      </a:lnTo>
                      <a:lnTo>
                        <a:pt x="354" y="678"/>
                      </a:lnTo>
                      <a:lnTo>
                        <a:pt x="342" y="672"/>
                      </a:lnTo>
                      <a:lnTo>
                        <a:pt x="330" y="666"/>
                      </a:lnTo>
                      <a:lnTo>
                        <a:pt x="318" y="672"/>
                      </a:lnTo>
                      <a:lnTo>
                        <a:pt x="306" y="678"/>
                      </a:lnTo>
                      <a:lnTo>
                        <a:pt x="300" y="684"/>
                      </a:lnTo>
                      <a:lnTo>
                        <a:pt x="288" y="684"/>
                      </a:lnTo>
                      <a:lnTo>
                        <a:pt x="282" y="678"/>
                      </a:lnTo>
                      <a:lnTo>
                        <a:pt x="264" y="648"/>
                      </a:lnTo>
                      <a:lnTo>
                        <a:pt x="228" y="612"/>
                      </a:lnTo>
                      <a:lnTo>
                        <a:pt x="174" y="588"/>
                      </a:lnTo>
                      <a:lnTo>
                        <a:pt x="162" y="582"/>
                      </a:lnTo>
                      <a:lnTo>
                        <a:pt x="150" y="576"/>
                      </a:lnTo>
                      <a:lnTo>
                        <a:pt x="150" y="564"/>
                      </a:lnTo>
                      <a:lnTo>
                        <a:pt x="156" y="558"/>
                      </a:lnTo>
                      <a:lnTo>
                        <a:pt x="162" y="546"/>
                      </a:lnTo>
                      <a:lnTo>
                        <a:pt x="162" y="540"/>
                      </a:lnTo>
                      <a:lnTo>
                        <a:pt x="168" y="534"/>
                      </a:lnTo>
                      <a:lnTo>
                        <a:pt x="168" y="528"/>
                      </a:lnTo>
                      <a:lnTo>
                        <a:pt x="168" y="522"/>
                      </a:lnTo>
                      <a:lnTo>
                        <a:pt x="156" y="522"/>
                      </a:lnTo>
                      <a:lnTo>
                        <a:pt x="144" y="510"/>
                      </a:lnTo>
                      <a:lnTo>
                        <a:pt x="132" y="504"/>
                      </a:lnTo>
                      <a:lnTo>
                        <a:pt x="120" y="492"/>
                      </a:lnTo>
                      <a:lnTo>
                        <a:pt x="96" y="480"/>
                      </a:lnTo>
                      <a:lnTo>
                        <a:pt x="84" y="474"/>
                      </a:lnTo>
                      <a:lnTo>
                        <a:pt x="78" y="468"/>
                      </a:lnTo>
                      <a:lnTo>
                        <a:pt x="78" y="456"/>
                      </a:lnTo>
                      <a:lnTo>
                        <a:pt x="84" y="444"/>
                      </a:lnTo>
                      <a:lnTo>
                        <a:pt x="102" y="438"/>
                      </a:lnTo>
                      <a:lnTo>
                        <a:pt x="120" y="432"/>
                      </a:lnTo>
                      <a:lnTo>
                        <a:pt x="144" y="426"/>
                      </a:lnTo>
                      <a:lnTo>
                        <a:pt x="162" y="426"/>
                      </a:lnTo>
                      <a:lnTo>
                        <a:pt x="180" y="432"/>
                      </a:lnTo>
                      <a:lnTo>
                        <a:pt x="186" y="438"/>
                      </a:lnTo>
                      <a:lnTo>
                        <a:pt x="198" y="444"/>
                      </a:lnTo>
                      <a:lnTo>
                        <a:pt x="204" y="450"/>
                      </a:lnTo>
                      <a:lnTo>
                        <a:pt x="210" y="456"/>
                      </a:lnTo>
                      <a:lnTo>
                        <a:pt x="222" y="462"/>
                      </a:lnTo>
                      <a:lnTo>
                        <a:pt x="234" y="468"/>
                      </a:lnTo>
                      <a:lnTo>
                        <a:pt x="258" y="474"/>
                      </a:lnTo>
                      <a:lnTo>
                        <a:pt x="270" y="474"/>
                      </a:lnTo>
                      <a:lnTo>
                        <a:pt x="288" y="468"/>
                      </a:lnTo>
                      <a:lnTo>
                        <a:pt x="300" y="462"/>
                      </a:lnTo>
                      <a:lnTo>
                        <a:pt x="312" y="456"/>
                      </a:lnTo>
                      <a:lnTo>
                        <a:pt x="324" y="450"/>
                      </a:lnTo>
                      <a:lnTo>
                        <a:pt x="330" y="450"/>
                      </a:lnTo>
                      <a:lnTo>
                        <a:pt x="330" y="444"/>
                      </a:lnTo>
                      <a:lnTo>
                        <a:pt x="324" y="438"/>
                      </a:lnTo>
                      <a:lnTo>
                        <a:pt x="312" y="432"/>
                      </a:lnTo>
                      <a:lnTo>
                        <a:pt x="300" y="426"/>
                      </a:lnTo>
                      <a:lnTo>
                        <a:pt x="282" y="420"/>
                      </a:lnTo>
                      <a:lnTo>
                        <a:pt x="264" y="420"/>
                      </a:lnTo>
                      <a:lnTo>
                        <a:pt x="258" y="414"/>
                      </a:lnTo>
                      <a:lnTo>
                        <a:pt x="258" y="414"/>
                      </a:lnTo>
                      <a:lnTo>
                        <a:pt x="258" y="408"/>
                      </a:lnTo>
                      <a:lnTo>
                        <a:pt x="264" y="402"/>
                      </a:lnTo>
                      <a:lnTo>
                        <a:pt x="276" y="396"/>
                      </a:lnTo>
                      <a:lnTo>
                        <a:pt x="294" y="396"/>
                      </a:lnTo>
                      <a:lnTo>
                        <a:pt x="306" y="390"/>
                      </a:lnTo>
                      <a:lnTo>
                        <a:pt x="312" y="384"/>
                      </a:lnTo>
                      <a:lnTo>
                        <a:pt x="312" y="378"/>
                      </a:lnTo>
                      <a:lnTo>
                        <a:pt x="306" y="372"/>
                      </a:lnTo>
                      <a:lnTo>
                        <a:pt x="300" y="360"/>
                      </a:lnTo>
                      <a:lnTo>
                        <a:pt x="294" y="354"/>
                      </a:lnTo>
                      <a:lnTo>
                        <a:pt x="282" y="348"/>
                      </a:lnTo>
                      <a:lnTo>
                        <a:pt x="258" y="342"/>
                      </a:lnTo>
                      <a:lnTo>
                        <a:pt x="234" y="348"/>
                      </a:lnTo>
                      <a:lnTo>
                        <a:pt x="216" y="354"/>
                      </a:lnTo>
                      <a:lnTo>
                        <a:pt x="192" y="366"/>
                      </a:lnTo>
                      <a:lnTo>
                        <a:pt x="174" y="378"/>
                      </a:lnTo>
                      <a:lnTo>
                        <a:pt x="162" y="384"/>
                      </a:lnTo>
                      <a:lnTo>
                        <a:pt x="150" y="384"/>
                      </a:lnTo>
                      <a:lnTo>
                        <a:pt x="132" y="378"/>
                      </a:lnTo>
                      <a:lnTo>
                        <a:pt x="120" y="366"/>
                      </a:lnTo>
                      <a:lnTo>
                        <a:pt x="102" y="360"/>
                      </a:lnTo>
                      <a:lnTo>
                        <a:pt x="90" y="354"/>
                      </a:lnTo>
                      <a:lnTo>
                        <a:pt x="72" y="354"/>
                      </a:lnTo>
                      <a:lnTo>
                        <a:pt x="60" y="354"/>
                      </a:lnTo>
                      <a:lnTo>
                        <a:pt x="42" y="354"/>
                      </a:lnTo>
                      <a:lnTo>
                        <a:pt x="36" y="348"/>
                      </a:lnTo>
                      <a:lnTo>
                        <a:pt x="24" y="336"/>
                      </a:lnTo>
                      <a:lnTo>
                        <a:pt x="30" y="330"/>
                      </a:lnTo>
                      <a:lnTo>
                        <a:pt x="36" y="318"/>
                      </a:lnTo>
                      <a:lnTo>
                        <a:pt x="54" y="312"/>
                      </a:lnTo>
                      <a:lnTo>
                        <a:pt x="78" y="306"/>
                      </a:lnTo>
                      <a:lnTo>
                        <a:pt x="96" y="306"/>
                      </a:lnTo>
                      <a:lnTo>
                        <a:pt x="108" y="300"/>
                      </a:lnTo>
                      <a:lnTo>
                        <a:pt x="108" y="294"/>
                      </a:lnTo>
                      <a:lnTo>
                        <a:pt x="102" y="288"/>
                      </a:lnTo>
                      <a:lnTo>
                        <a:pt x="96" y="282"/>
                      </a:lnTo>
                      <a:lnTo>
                        <a:pt x="84" y="276"/>
                      </a:lnTo>
                      <a:lnTo>
                        <a:pt x="66" y="270"/>
                      </a:lnTo>
                      <a:lnTo>
                        <a:pt x="48" y="270"/>
                      </a:lnTo>
                      <a:lnTo>
                        <a:pt x="24" y="264"/>
                      </a:lnTo>
                      <a:lnTo>
                        <a:pt x="12" y="258"/>
                      </a:lnTo>
                      <a:lnTo>
                        <a:pt x="6" y="252"/>
                      </a:lnTo>
                      <a:lnTo>
                        <a:pt x="0" y="240"/>
                      </a:lnTo>
                      <a:lnTo>
                        <a:pt x="0" y="228"/>
                      </a:lnTo>
                      <a:lnTo>
                        <a:pt x="0" y="222"/>
                      </a:lnTo>
                      <a:lnTo>
                        <a:pt x="6" y="210"/>
                      </a:lnTo>
                      <a:lnTo>
                        <a:pt x="18" y="210"/>
                      </a:lnTo>
                      <a:lnTo>
                        <a:pt x="36" y="204"/>
                      </a:lnTo>
                      <a:lnTo>
                        <a:pt x="54" y="210"/>
                      </a:lnTo>
                      <a:lnTo>
                        <a:pt x="60" y="210"/>
                      </a:lnTo>
                      <a:lnTo>
                        <a:pt x="66" y="210"/>
                      </a:lnTo>
                      <a:lnTo>
                        <a:pt x="66" y="204"/>
                      </a:lnTo>
                      <a:lnTo>
                        <a:pt x="66" y="204"/>
                      </a:lnTo>
                      <a:lnTo>
                        <a:pt x="66" y="192"/>
                      </a:lnTo>
                      <a:lnTo>
                        <a:pt x="66" y="186"/>
                      </a:lnTo>
                      <a:lnTo>
                        <a:pt x="66" y="174"/>
                      </a:lnTo>
                      <a:lnTo>
                        <a:pt x="72" y="168"/>
                      </a:lnTo>
                      <a:lnTo>
                        <a:pt x="84" y="168"/>
                      </a:lnTo>
                      <a:lnTo>
                        <a:pt x="102" y="168"/>
                      </a:lnTo>
                      <a:lnTo>
                        <a:pt x="120" y="174"/>
                      </a:lnTo>
                      <a:lnTo>
                        <a:pt x="144" y="180"/>
                      </a:lnTo>
                      <a:lnTo>
                        <a:pt x="162" y="186"/>
                      </a:lnTo>
                      <a:lnTo>
                        <a:pt x="174" y="180"/>
                      </a:lnTo>
                      <a:lnTo>
                        <a:pt x="186" y="174"/>
                      </a:lnTo>
                      <a:lnTo>
                        <a:pt x="192" y="168"/>
                      </a:lnTo>
                      <a:lnTo>
                        <a:pt x="192" y="150"/>
                      </a:lnTo>
                      <a:lnTo>
                        <a:pt x="180" y="132"/>
                      </a:lnTo>
                      <a:lnTo>
                        <a:pt x="168" y="108"/>
                      </a:lnTo>
                      <a:lnTo>
                        <a:pt x="162" y="90"/>
                      </a:lnTo>
                      <a:lnTo>
                        <a:pt x="156" y="72"/>
                      </a:lnTo>
                      <a:lnTo>
                        <a:pt x="156" y="66"/>
                      </a:lnTo>
                      <a:lnTo>
                        <a:pt x="162" y="54"/>
                      </a:lnTo>
                      <a:lnTo>
                        <a:pt x="174" y="48"/>
                      </a:lnTo>
                      <a:lnTo>
                        <a:pt x="186" y="48"/>
                      </a:lnTo>
                      <a:lnTo>
                        <a:pt x="198" y="42"/>
                      </a:lnTo>
                      <a:lnTo>
                        <a:pt x="204" y="42"/>
                      </a:lnTo>
                      <a:lnTo>
                        <a:pt x="216" y="42"/>
                      </a:lnTo>
                      <a:lnTo>
                        <a:pt x="228" y="48"/>
                      </a:lnTo>
                      <a:lnTo>
                        <a:pt x="240" y="48"/>
                      </a:lnTo>
                      <a:lnTo>
                        <a:pt x="246" y="42"/>
                      </a:lnTo>
                      <a:lnTo>
                        <a:pt x="258" y="36"/>
                      </a:lnTo>
                      <a:lnTo>
                        <a:pt x="264" y="18"/>
                      </a:lnTo>
                      <a:lnTo>
                        <a:pt x="282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1" name="Freeform 348">
                  <a:extLst>
                    <a:ext uri="{FF2B5EF4-FFF2-40B4-BE49-F238E27FC236}">
                      <a16:creationId xmlns:a16="http://schemas.microsoft.com/office/drawing/2014/main" id="{EBBE99DD-192D-410A-9CEA-DE4D648B26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13" y="-8286"/>
                  <a:ext cx="1248" cy="906"/>
                </a:xfrm>
                <a:custGeom>
                  <a:avLst/>
                  <a:gdLst>
                    <a:gd name="T0" fmla="*/ 210 w 1248"/>
                    <a:gd name="T1" fmla="*/ 12 h 906"/>
                    <a:gd name="T2" fmla="*/ 204 w 1248"/>
                    <a:gd name="T3" fmla="*/ 78 h 906"/>
                    <a:gd name="T4" fmla="*/ 234 w 1248"/>
                    <a:gd name="T5" fmla="*/ 126 h 906"/>
                    <a:gd name="T6" fmla="*/ 252 w 1248"/>
                    <a:gd name="T7" fmla="*/ 168 h 906"/>
                    <a:gd name="T8" fmla="*/ 246 w 1248"/>
                    <a:gd name="T9" fmla="*/ 228 h 906"/>
                    <a:gd name="T10" fmla="*/ 378 w 1248"/>
                    <a:gd name="T11" fmla="*/ 216 h 906"/>
                    <a:gd name="T12" fmla="*/ 438 w 1248"/>
                    <a:gd name="T13" fmla="*/ 264 h 906"/>
                    <a:gd name="T14" fmla="*/ 462 w 1248"/>
                    <a:gd name="T15" fmla="*/ 312 h 906"/>
                    <a:gd name="T16" fmla="*/ 396 w 1248"/>
                    <a:gd name="T17" fmla="*/ 342 h 906"/>
                    <a:gd name="T18" fmla="*/ 360 w 1248"/>
                    <a:gd name="T19" fmla="*/ 378 h 906"/>
                    <a:gd name="T20" fmla="*/ 372 w 1248"/>
                    <a:gd name="T21" fmla="*/ 420 h 906"/>
                    <a:gd name="T22" fmla="*/ 342 w 1248"/>
                    <a:gd name="T23" fmla="*/ 468 h 906"/>
                    <a:gd name="T24" fmla="*/ 414 w 1248"/>
                    <a:gd name="T25" fmla="*/ 462 h 906"/>
                    <a:gd name="T26" fmla="*/ 468 w 1248"/>
                    <a:gd name="T27" fmla="*/ 438 h 906"/>
                    <a:gd name="T28" fmla="*/ 450 w 1248"/>
                    <a:gd name="T29" fmla="*/ 492 h 906"/>
                    <a:gd name="T30" fmla="*/ 474 w 1248"/>
                    <a:gd name="T31" fmla="*/ 564 h 906"/>
                    <a:gd name="T32" fmla="*/ 522 w 1248"/>
                    <a:gd name="T33" fmla="*/ 534 h 906"/>
                    <a:gd name="T34" fmla="*/ 540 w 1248"/>
                    <a:gd name="T35" fmla="*/ 558 h 906"/>
                    <a:gd name="T36" fmla="*/ 588 w 1248"/>
                    <a:gd name="T37" fmla="*/ 570 h 906"/>
                    <a:gd name="T38" fmla="*/ 642 w 1248"/>
                    <a:gd name="T39" fmla="*/ 570 h 906"/>
                    <a:gd name="T40" fmla="*/ 702 w 1248"/>
                    <a:gd name="T41" fmla="*/ 570 h 906"/>
                    <a:gd name="T42" fmla="*/ 792 w 1248"/>
                    <a:gd name="T43" fmla="*/ 600 h 906"/>
                    <a:gd name="T44" fmla="*/ 840 w 1248"/>
                    <a:gd name="T45" fmla="*/ 594 h 906"/>
                    <a:gd name="T46" fmla="*/ 900 w 1248"/>
                    <a:gd name="T47" fmla="*/ 594 h 906"/>
                    <a:gd name="T48" fmla="*/ 1038 w 1248"/>
                    <a:gd name="T49" fmla="*/ 582 h 906"/>
                    <a:gd name="T50" fmla="*/ 1068 w 1248"/>
                    <a:gd name="T51" fmla="*/ 612 h 906"/>
                    <a:gd name="T52" fmla="*/ 1098 w 1248"/>
                    <a:gd name="T53" fmla="*/ 630 h 906"/>
                    <a:gd name="T54" fmla="*/ 1146 w 1248"/>
                    <a:gd name="T55" fmla="*/ 672 h 906"/>
                    <a:gd name="T56" fmla="*/ 1176 w 1248"/>
                    <a:gd name="T57" fmla="*/ 678 h 906"/>
                    <a:gd name="T58" fmla="*/ 1200 w 1248"/>
                    <a:gd name="T59" fmla="*/ 726 h 906"/>
                    <a:gd name="T60" fmla="*/ 1242 w 1248"/>
                    <a:gd name="T61" fmla="*/ 768 h 906"/>
                    <a:gd name="T62" fmla="*/ 1218 w 1248"/>
                    <a:gd name="T63" fmla="*/ 810 h 906"/>
                    <a:gd name="T64" fmla="*/ 1194 w 1248"/>
                    <a:gd name="T65" fmla="*/ 876 h 906"/>
                    <a:gd name="T66" fmla="*/ 1122 w 1248"/>
                    <a:gd name="T67" fmla="*/ 894 h 906"/>
                    <a:gd name="T68" fmla="*/ 1032 w 1248"/>
                    <a:gd name="T69" fmla="*/ 906 h 906"/>
                    <a:gd name="T70" fmla="*/ 888 w 1248"/>
                    <a:gd name="T71" fmla="*/ 822 h 906"/>
                    <a:gd name="T72" fmla="*/ 822 w 1248"/>
                    <a:gd name="T73" fmla="*/ 834 h 906"/>
                    <a:gd name="T74" fmla="*/ 732 w 1248"/>
                    <a:gd name="T75" fmla="*/ 786 h 906"/>
                    <a:gd name="T76" fmla="*/ 636 w 1248"/>
                    <a:gd name="T77" fmla="*/ 804 h 906"/>
                    <a:gd name="T78" fmla="*/ 552 w 1248"/>
                    <a:gd name="T79" fmla="*/ 762 h 906"/>
                    <a:gd name="T80" fmla="*/ 504 w 1248"/>
                    <a:gd name="T81" fmla="*/ 756 h 906"/>
                    <a:gd name="T82" fmla="*/ 522 w 1248"/>
                    <a:gd name="T83" fmla="*/ 696 h 906"/>
                    <a:gd name="T84" fmla="*/ 486 w 1248"/>
                    <a:gd name="T85" fmla="*/ 678 h 906"/>
                    <a:gd name="T86" fmla="*/ 438 w 1248"/>
                    <a:gd name="T87" fmla="*/ 696 h 906"/>
                    <a:gd name="T88" fmla="*/ 366 w 1248"/>
                    <a:gd name="T89" fmla="*/ 762 h 906"/>
                    <a:gd name="T90" fmla="*/ 318 w 1248"/>
                    <a:gd name="T91" fmla="*/ 696 h 906"/>
                    <a:gd name="T92" fmla="*/ 306 w 1248"/>
                    <a:gd name="T93" fmla="*/ 636 h 906"/>
                    <a:gd name="T94" fmla="*/ 252 w 1248"/>
                    <a:gd name="T95" fmla="*/ 678 h 906"/>
                    <a:gd name="T96" fmla="*/ 216 w 1248"/>
                    <a:gd name="T97" fmla="*/ 654 h 906"/>
                    <a:gd name="T98" fmla="*/ 204 w 1248"/>
                    <a:gd name="T99" fmla="*/ 462 h 906"/>
                    <a:gd name="T100" fmla="*/ 204 w 1248"/>
                    <a:gd name="T101" fmla="*/ 390 h 906"/>
                    <a:gd name="T102" fmla="*/ 216 w 1248"/>
                    <a:gd name="T103" fmla="*/ 324 h 906"/>
                    <a:gd name="T104" fmla="*/ 120 w 1248"/>
                    <a:gd name="T105" fmla="*/ 312 h 906"/>
                    <a:gd name="T106" fmla="*/ 78 w 1248"/>
                    <a:gd name="T107" fmla="*/ 282 h 906"/>
                    <a:gd name="T108" fmla="*/ 54 w 1248"/>
                    <a:gd name="T109" fmla="*/ 252 h 906"/>
                    <a:gd name="T110" fmla="*/ 48 w 1248"/>
                    <a:gd name="T111" fmla="*/ 186 h 906"/>
                    <a:gd name="T112" fmla="*/ 0 w 1248"/>
                    <a:gd name="T113" fmla="*/ 114 h 906"/>
                    <a:gd name="T114" fmla="*/ 48 w 1248"/>
                    <a:gd name="T115" fmla="*/ 60 h 906"/>
                    <a:gd name="T116" fmla="*/ 126 w 1248"/>
                    <a:gd name="T117" fmla="*/ 48 h 906"/>
                    <a:gd name="T118" fmla="*/ 156 w 1248"/>
                    <a:gd name="T119" fmla="*/ 30 h 9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248" h="906">
                      <a:moveTo>
                        <a:pt x="168" y="0"/>
                      </a:moveTo>
                      <a:lnTo>
                        <a:pt x="174" y="6"/>
                      </a:lnTo>
                      <a:lnTo>
                        <a:pt x="186" y="6"/>
                      </a:lnTo>
                      <a:lnTo>
                        <a:pt x="198" y="12"/>
                      </a:lnTo>
                      <a:lnTo>
                        <a:pt x="210" y="12"/>
                      </a:lnTo>
                      <a:lnTo>
                        <a:pt x="216" y="24"/>
                      </a:lnTo>
                      <a:lnTo>
                        <a:pt x="222" y="30"/>
                      </a:lnTo>
                      <a:lnTo>
                        <a:pt x="216" y="48"/>
                      </a:lnTo>
                      <a:lnTo>
                        <a:pt x="210" y="66"/>
                      </a:lnTo>
                      <a:lnTo>
                        <a:pt x="204" y="78"/>
                      </a:lnTo>
                      <a:lnTo>
                        <a:pt x="198" y="96"/>
                      </a:lnTo>
                      <a:lnTo>
                        <a:pt x="204" y="108"/>
                      </a:lnTo>
                      <a:lnTo>
                        <a:pt x="210" y="120"/>
                      </a:lnTo>
                      <a:lnTo>
                        <a:pt x="222" y="126"/>
                      </a:lnTo>
                      <a:lnTo>
                        <a:pt x="234" y="126"/>
                      </a:lnTo>
                      <a:lnTo>
                        <a:pt x="240" y="126"/>
                      </a:lnTo>
                      <a:lnTo>
                        <a:pt x="246" y="132"/>
                      </a:lnTo>
                      <a:lnTo>
                        <a:pt x="252" y="144"/>
                      </a:lnTo>
                      <a:lnTo>
                        <a:pt x="252" y="156"/>
                      </a:lnTo>
                      <a:lnTo>
                        <a:pt x="252" y="168"/>
                      </a:lnTo>
                      <a:lnTo>
                        <a:pt x="246" y="186"/>
                      </a:lnTo>
                      <a:lnTo>
                        <a:pt x="240" y="204"/>
                      </a:lnTo>
                      <a:lnTo>
                        <a:pt x="240" y="216"/>
                      </a:lnTo>
                      <a:lnTo>
                        <a:pt x="240" y="228"/>
                      </a:lnTo>
                      <a:lnTo>
                        <a:pt x="246" y="228"/>
                      </a:lnTo>
                      <a:lnTo>
                        <a:pt x="258" y="228"/>
                      </a:lnTo>
                      <a:lnTo>
                        <a:pt x="270" y="222"/>
                      </a:lnTo>
                      <a:lnTo>
                        <a:pt x="288" y="216"/>
                      </a:lnTo>
                      <a:lnTo>
                        <a:pt x="330" y="210"/>
                      </a:lnTo>
                      <a:lnTo>
                        <a:pt x="378" y="216"/>
                      </a:lnTo>
                      <a:lnTo>
                        <a:pt x="420" y="228"/>
                      </a:lnTo>
                      <a:lnTo>
                        <a:pt x="432" y="234"/>
                      </a:lnTo>
                      <a:lnTo>
                        <a:pt x="432" y="240"/>
                      </a:lnTo>
                      <a:lnTo>
                        <a:pt x="438" y="252"/>
                      </a:lnTo>
                      <a:lnTo>
                        <a:pt x="438" y="264"/>
                      </a:lnTo>
                      <a:lnTo>
                        <a:pt x="438" y="270"/>
                      </a:lnTo>
                      <a:lnTo>
                        <a:pt x="444" y="282"/>
                      </a:lnTo>
                      <a:lnTo>
                        <a:pt x="456" y="294"/>
                      </a:lnTo>
                      <a:lnTo>
                        <a:pt x="462" y="306"/>
                      </a:lnTo>
                      <a:lnTo>
                        <a:pt x="462" y="312"/>
                      </a:lnTo>
                      <a:lnTo>
                        <a:pt x="456" y="318"/>
                      </a:lnTo>
                      <a:lnTo>
                        <a:pt x="444" y="324"/>
                      </a:lnTo>
                      <a:lnTo>
                        <a:pt x="426" y="330"/>
                      </a:lnTo>
                      <a:lnTo>
                        <a:pt x="408" y="336"/>
                      </a:lnTo>
                      <a:lnTo>
                        <a:pt x="396" y="342"/>
                      </a:lnTo>
                      <a:lnTo>
                        <a:pt x="384" y="342"/>
                      </a:lnTo>
                      <a:lnTo>
                        <a:pt x="372" y="348"/>
                      </a:lnTo>
                      <a:lnTo>
                        <a:pt x="366" y="360"/>
                      </a:lnTo>
                      <a:lnTo>
                        <a:pt x="360" y="366"/>
                      </a:lnTo>
                      <a:lnTo>
                        <a:pt x="360" y="378"/>
                      </a:lnTo>
                      <a:lnTo>
                        <a:pt x="366" y="384"/>
                      </a:lnTo>
                      <a:lnTo>
                        <a:pt x="372" y="396"/>
                      </a:lnTo>
                      <a:lnTo>
                        <a:pt x="384" y="402"/>
                      </a:lnTo>
                      <a:lnTo>
                        <a:pt x="378" y="408"/>
                      </a:lnTo>
                      <a:lnTo>
                        <a:pt x="372" y="420"/>
                      </a:lnTo>
                      <a:lnTo>
                        <a:pt x="360" y="432"/>
                      </a:lnTo>
                      <a:lnTo>
                        <a:pt x="342" y="438"/>
                      </a:lnTo>
                      <a:lnTo>
                        <a:pt x="336" y="450"/>
                      </a:lnTo>
                      <a:lnTo>
                        <a:pt x="336" y="456"/>
                      </a:lnTo>
                      <a:lnTo>
                        <a:pt x="342" y="468"/>
                      </a:lnTo>
                      <a:lnTo>
                        <a:pt x="354" y="474"/>
                      </a:lnTo>
                      <a:lnTo>
                        <a:pt x="366" y="474"/>
                      </a:lnTo>
                      <a:lnTo>
                        <a:pt x="384" y="480"/>
                      </a:lnTo>
                      <a:lnTo>
                        <a:pt x="396" y="474"/>
                      </a:lnTo>
                      <a:lnTo>
                        <a:pt x="414" y="462"/>
                      </a:lnTo>
                      <a:lnTo>
                        <a:pt x="426" y="450"/>
                      </a:lnTo>
                      <a:lnTo>
                        <a:pt x="438" y="438"/>
                      </a:lnTo>
                      <a:lnTo>
                        <a:pt x="456" y="432"/>
                      </a:lnTo>
                      <a:lnTo>
                        <a:pt x="462" y="432"/>
                      </a:lnTo>
                      <a:lnTo>
                        <a:pt x="468" y="438"/>
                      </a:lnTo>
                      <a:lnTo>
                        <a:pt x="474" y="450"/>
                      </a:lnTo>
                      <a:lnTo>
                        <a:pt x="474" y="462"/>
                      </a:lnTo>
                      <a:lnTo>
                        <a:pt x="468" y="474"/>
                      </a:lnTo>
                      <a:lnTo>
                        <a:pt x="462" y="486"/>
                      </a:lnTo>
                      <a:lnTo>
                        <a:pt x="450" y="492"/>
                      </a:lnTo>
                      <a:lnTo>
                        <a:pt x="444" y="504"/>
                      </a:lnTo>
                      <a:lnTo>
                        <a:pt x="444" y="522"/>
                      </a:lnTo>
                      <a:lnTo>
                        <a:pt x="450" y="534"/>
                      </a:lnTo>
                      <a:lnTo>
                        <a:pt x="462" y="552"/>
                      </a:lnTo>
                      <a:lnTo>
                        <a:pt x="474" y="564"/>
                      </a:lnTo>
                      <a:lnTo>
                        <a:pt x="486" y="570"/>
                      </a:lnTo>
                      <a:lnTo>
                        <a:pt x="498" y="564"/>
                      </a:lnTo>
                      <a:lnTo>
                        <a:pt x="510" y="552"/>
                      </a:lnTo>
                      <a:lnTo>
                        <a:pt x="516" y="540"/>
                      </a:lnTo>
                      <a:lnTo>
                        <a:pt x="522" y="534"/>
                      </a:lnTo>
                      <a:lnTo>
                        <a:pt x="534" y="534"/>
                      </a:lnTo>
                      <a:lnTo>
                        <a:pt x="540" y="534"/>
                      </a:lnTo>
                      <a:lnTo>
                        <a:pt x="540" y="540"/>
                      </a:lnTo>
                      <a:lnTo>
                        <a:pt x="540" y="546"/>
                      </a:lnTo>
                      <a:lnTo>
                        <a:pt x="540" y="558"/>
                      </a:lnTo>
                      <a:lnTo>
                        <a:pt x="540" y="558"/>
                      </a:lnTo>
                      <a:lnTo>
                        <a:pt x="546" y="564"/>
                      </a:lnTo>
                      <a:lnTo>
                        <a:pt x="558" y="564"/>
                      </a:lnTo>
                      <a:lnTo>
                        <a:pt x="570" y="570"/>
                      </a:lnTo>
                      <a:lnTo>
                        <a:pt x="588" y="570"/>
                      </a:lnTo>
                      <a:lnTo>
                        <a:pt x="606" y="582"/>
                      </a:lnTo>
                      <a:lnTo>
                        <a:pt x="618" y="582"/>
                      </a:lnTo>
                      <a:lnTo>
                        <a:pt x="624" y="582"/>
                      </a:lnTo>
                      <a:lnTo>
                        <a:pt x="636" y="576"/>
                      </a:lnTo>
                      <a:lnTo>
                        <a:pt x="642" y="570"/>
                      </a:lnTo>
                      <a:lnTo>
                        <a:pt x="648" y="558"/>
                      </a:lnTo>
                      <a:lnTo>
                        <a:pt x="654" y="558"/>
                      </a:lnTo>
                      <a:lnTo>
                        <a:pt x="666" y="558"/>
                      </a:lnTo>
                      <a:lnTo>
                        <a:pt x="684" y="564"/>
                      </a:lnTo>
                      <a:lnTo>
                        <a:pt x="702" y="570"/>
                      </a:lnTo>
                      <a:lnTo>
                        <a:pt x="732" y="582"/>
                      </a:lnTo>
                      <a:lnTo>
                        <a:pt x="750" y="588"/>
                      </a:lnTo>
                      <a:lnTo>
                        <a:pt x="768" y="594"/>
                      </a:lnTo>
                      <a:lnTo>
                        <a:pt x="780" y="600"/>
                      </a:lnTo>
                      <a:lnTo>
                        <a:pt x="792" y="600"/>
                      </a:lnTo>
                      <a:lnTo>
                        <a:pt x="798" y="600"/>
                      </a:lnTo>
                      <a:lnTo>
                        <a:pt x="810" y="600"/>
                      </a:lnTo>
                      <a:lnTo>
                        <a:pt x="822" y="594"/>
                      </a:lnTo>
                      <a:lnTo>
                        <a:pt x="834" y="594"/>
                      </a:lnTo>
                      <a:lnTo>
                        <a:pt x="840" y="594"/>
                      </a:lnTo>
                      <a:lnTo>
                        <a:pt x="846" y="594"/>
                      </a:lnTo>
                      <a:lnTo>
                        <a:pt x="858" y="594"/>
                      </a:lnTo>
                      <a:lnTo>
                        <a:pt x="864" y="600"/>
                      </a:lnTo>
                      <a:lnTo>
                        <a:pt x="882" y="600"/>
                      </a:lnTo>
                      <a:lnTo>
                        <a:pt x="900" y="594"/>
                      </a:lnTo>
                      <a:lnTo>
                        <a:pt x="930" y="588"/>
                      </a:lnTo>
                      <a:lnTo>
                        <a:pt x="954" y="582"/>
                      </a:lnTo>
                      <a:lnTo>
                        <a:pt x="978" y="576"/>
                      </a:lnTo>
                      <a:lnTo>
                        <a:pt x="1020" y="576"/>
                      </a:lnTo>
                      <a:lnTo>
                        <a:pt x="1038" y="582"/>
                      </a:lnTo>
                      <a:lnTo>
                        <a:pt x="1050" y="582"/>
                      </a:lnTo>
                      <a:lnTo>
                        <a:pt x="1056" y="588"/>
                      </a:lnTo>
                      <a:lnTo>
                        <a:pt x="1062" y="594"/>
                      </a:lnTo>
                      <a:lnTo>
                        <a:pt x="1062" y="606"/>
                      </a:lnTo>
                      <a:lnTo>
                        <a:pt x="1068" y="612"/>
                      </a:lnTo>
                      <a:lnTo>
                        <a:pt x="1068" y="618"/>
                      </a:lnTo>
                      <a:lnTo>
                        <a:pt x="1068" y="624"/>
                      </a:lnTo>
                      <a:lnTo>
                        <a:pt x="1074" y="624"/>
                      </a:lnTo>
                      <a:lnTo>
                        <a:pt x="1080" y="630"/>
                      </a:lnTo>
                      <a:lnTo>
                        <a:pt x="1098" y="630"/>
                      </a:lnTo>
                      <a:lnTo>
                        <a:pt x="1110" y="630"/>
                      </a:lnTo>
                      <a:lnTo>
                        <a:pt x="1122" y="642"/>
                      </a:lnTo>
                      <a:lnTo>
                        <a:pt x="1134" y="654"/>
                      </a:lnTo>
                      <a:lnTo>
                        <a:pt x="1140" y="666"/>
                      </a:lnTo>
                      <a:lnTo>
                        <a:pt x="1146" y="672"/>
                      </a:lnTo>
                      <a:lnTo>
                        <a:pt x="1152" y="672"/>
                      </a:lnTo>
                      <a:lnTo>
                        <a:pt x="1152" y="672"/>
                      </a:lnTo>
                      <a:lnTo>
                        <a:pt x="1158" y="672"/>
                      </a:lnTo>
                      <a:lnTo>
                        <a:pt x="1170" y="678"/>
                      </a:lnTo>
                      <a:lnTo>
                        <a:pt x="1176" y="678"/>
                      </a:lnTo>
                      <a:lnTo>
                        <a:pt x="1188" y="684"/>
                      </a:lnTo>
                      <a:lnTo>
                        <a:pt x="1194" y="690"/>
                      </a:lnTo>
                      <a:lnTo>
                        <a:pt x="1194" y="702"/>
                      </a:lnTo>
                      <a:lnTo>
                        <a:pt x="1200" y="714"/>
                      </a:lnTo>
                      <a:lnTo>
                        <a:pt x="1200" y="726"/>
                      </a:lnTo>
                      <a:lnTo>
                        <a:pt x="1206" y="726"/>
                      </a:lnTo>
                      <a:lnTo>
                        <a:pt x="1218" y="732"/>
                      </a:lnTo>
                      <a:lnTo>
                        <a:pt x="1230" y="744"/>
                      </a:lnTo>
                      <a:lnTo>
                        <a:pt x="1236" y="756"/>
                      </a:lnTo>
                      <a:lnTo>
                        <a:pt x="1242" y="768"/>
                      </a:lnTo>
                      <a:lnTo>
                        <a:pt x="1248" y="780"/>
                      </a:lnTo>
                      <a:lnTo>
                        <a:pt x="1242" y="792"/>
                      </a:lnTo>
                      <a:lnTo>
                        <a:pt x="1236" y="798"/>
                      </a:lnTo>
                      <a:lnTo>
                        <a:pt x="1230" y="804"/>
                      </a:lnTo>
                      <a:lnTo>
                        <a:pt x="1218" y="810"/>
                      </a:lnTo>
                      <a:lnTo>
                        <a:pt x="1212" y="816"/>
                      </a:lnTo>
                      <a:lnTo>
                        <a:pt x="1206" y="822"/>
                      </a:lnTo>
                      <a:lnTo>
                        <a:pt x="1200" y="840"/>
                      </a:lnTo>
                      <a:lnTo>
                        <a:pt x="1200" y="858"/>
                      </a:lnTo>
                      <a:lnTo>
                        <a:pt x="1194" y="876"/>
                      </a:lnTo>
                      <a:lnTo>
                        <a:pt x="1182" y="888"/>
                      </a:lnTo>
                      <a:lnTo>
                        <a:pt x="1170" y="894"/>
                      </a:lnTo>
                      <a:lnTo>
                        <a:pt x="1152" y="900"/>
                      </a:lnTo>
                      <a:lnTo>
                        <a:pt x="1140" y="900"/>
                      </a:lnTo>
                      <a:lnTo>
                        <a:pt x="1122" y="894"/>
                      </a:lnTo>
                      <a:lnTo>
                        <a:pt x="1104" y="888"/>
                      </a:lnTo>
                      <a:lnTo>
                        <a:pt x="1086" y="882"/>
                      </a:lnTo>
                      <a:lnTo>
                        <a:pt x="1068" y="888"/>
                      </a:lnTo>
                      <a:lnTo>
                        <a:pt x="1056" y="900"/>
                      </a:lnTo>
                      <a:lnTo>
                        <a:pt x="1032" y="906"/>
                      </a:lnTo>
                      <a:lnTo>
                        <a:pt x="996" y="906"/>
                      </a:lnTo>
                      <a:lnTo>
                        <a:pt x="942" y="882"/>
                      </a:lnTo>
                      <a:lnTo>
                        <a:pt x="912" y="858"/>
                      </a:lnTo>
                      <a:lnTo>
                        <a:pt x="894" y="834"/>
                      </a:lnTo>
                      <a:lnTo>
                        <a:pt x="888" y="822"/>
                      </a:lnTo>
                      <a:lnTo>
                        <a:pt x="882" y="816"/>
                      </a:lnTo>
                      <a:lnTo>
                        <a:pt x="870" y="816"/>
                      </a:lnTo>
                      <a:lnTo>
                        <a:pt x="858" y="816"/>
                      </a:lnTo>
                      <a:lnTo>
                        <a:pt x="846" y="828"/>
                      </a:lnTo>
                      <a:lnTo>
                        <a:pt x="822" y="834"/>
                      </a:lnTo>
                      <a:lnTo>
                        <a:pt x="792" y="828"/>
                      </a:lnTo>
                      <a:lnTo>
                        <a:pt x="762" y="816"/>
                      </a:lnTo>
                      <a:lnTo>
                        <a:pt x="750" y="804"/>
                      </a:lnTo>
                      <a:lnTo>
                        <a:pt x="744" y="792"/>
                      </a:lnTo>
                      <a:lnTo>
                        <a:pt x="732" y="786"/>
                      </a:lnTo>
                      <a:lnTo>
                        <a:pt x="720" y="786"/>
                      </a:lnTo>
                      <a:lnTo>
                        <a:pt x="702" y="792"/>
                      </a:lnTo>
                      <a:lnTo>
                        <a:pt x="690" y="804"/>
                      </a:lnTo>
                      <a:lnTo>
                        <a:pt x="666" y="810"/>
                      </a:lnTo>
                      <a:lnTo>
                        <a:pt x="636" y="804"/>
                      </a:lnTo>
                      <a:lnTo>
                        <a:pt x="606" y="792"/>
                      </a:lnTo>
                      <a:lnTo>
                        <a:pt x="588" y="774"/>
                      </a:lnTo>
                      <a:lnTo>
                        <a:pt x="576" y="768"/>
                      </a:lnTo>
                      <a:lnTo>
                        <a:pt x="564" y="762"/>
                      </a:lnTo>
                      <a:lnTo>
                        <a:pt x="552" y="762"/>
                      </a:lnTo>
                      <a:lnTo>
                        <a:pt x="540" y="768"/>
                      </a:lnTo>
                      <a:lnTo>
                        <a:pt x="528" y="768"/>
                      </a:lnTo>
                      <a:lnTo>
                        <a:pt x="516" y="768"/>
                      </a:lnTo>
                      <a:lnTo>
                        <a:pt x="510" y="762"/>
                      </a:lnTo>
                      <a:lnTo>
                        <a:pt x="504" y="756"/>
                      </a:lnTo>
                      <a:lnTo>
                        <a:pt x="504" y="744"/>
                      </a:lnTo>
                      <a:lnTo>
                        <a:pt x="510" y="732"/>
                      </a:lnTo>
                      <a:lnTo>
                        <a:pt x="516" y="720"/>
                      </a:lnTo>
                      <a:lnTo>
                        <a:pt x="522" y="708"/>
                      </a:lnTo>
                      <a:lnTo>
                        <a:pt x="522" y="696"/>
                      </a:lnTo>
                      <a:lnTo>
                        <a:pt x="522" y="684"/>
                      </a:lnTo>
                      <a:lnTo>
                        <a:pt x="516" y="678"/>
                      </a:lnTo>
                      <a:lnTo>
                        <a:pt x="504" y="678"/>
                      </a:lnTo>
                      <a:lnTo>
                        <a:pt x="498" y="678"/>
                      </a:lnTo>
                      <a:lnTo>
                        <a:pt x="486" y="678"/>
                      </a:lnTo>
                      <a:lnTo>
                        <a:pt x="480" y="684"/>
                      </a:lnTo>
                      <a:lnTo>
                        <a:pt x="468" y="690"/>
                      </a:lnTo>
                      <a:lnTo>
                        <a:pt x="462" y="684"/>
                      </a:lnTo>
                      <a:lnTo>
                        <a:pt x="450" y="690"/>
                      </a:lnTo>
                      <a:lnTo>
                        <a:pt x="438" y="696"/>
                      </a:lnTo>
                      <a:lnTo>
                        <a:pt x="426" y="708"/>
                      </a:lnTo>
                      <a:lnTo>
                        <a:pt x="408" y="726"/>
                      </a:lnTo>
                      <a:lnTo>
                        <a:pt x="396" y="744"/>
                      </a:lnTo>
                      <a:lnTo>
                        <a:pt x="378" y="756"/>
                      </a:lnTo>
                      <a:lnTo>
                        <a:pt x="366" y="762"/>
                      </a:lnTo>
                      <a:lnTo>
                        <a:pt x="354" y="762"/>
                      </a:lnTo>
                      <a:lnTo>
                        <a:pt x="342" y="750"/>
                      </a:lnTo>
                      <a:lnTo>
                        <a:pt x="330" y="732"/>
                      </a:lnTo>
                      <a:lnTo>
                        <a:pt x="324" y="714"/>
                      </a:lnTo>
                      <a:lnTo>
                        <a:pt x="318" y="696"/>
                      </a:lnTo>
                      <a:lnTo>
                        <a:pt x="312" y="678"/>
                      </a:lnTo>
                      <a:lnTo>
                        <a:pt x="312" y="666"/>
                      </a:lnTo>
                      <a:lnTo>
                        <a:pt x="312" y="654"/>
                      </a:lnTo>
                      <a:lnTo>
                        <a:pt x="312" y="642"/>
                      </a:lnTo>
                      <a:lnTo>
                        <a:pt x="306" y="636"/>
                      </a:lnTo>
                      <a:lnTo>
                        <a:pt x="294" y="636"/>
                      </a:lnTo>
                      <a:lnTo>
                        <a:pt x="282" y="642"/>
                      </a:lnTo>
                      <a:lnTo>
                        <a:pt x="270" y="654"/>
                      </a:lnTo>
                      <a:lnTo>
                        <a:pt x="258" y="672"/>
                      </a:lnTo>
                      <a:lnTo>
                        <a:pt x="252" y="678"/>
                      </a:lnTo>
                      <a:lnTo>
                        <a:pt x="246" y="678"/>
                      </a:lnTo>
                      <a:lnTo>
                        <a:pt x="240" y="678"/>
                      </a:lnTo>
                      <a:lnTo>
                        <a:pt x="234" y="672"/>
                      </a:lnTo>
                      <a:lnTo>
                        <a:pt x="228" y="666"/>
                      </a:lnTo>
                      <a:lnTo>
                        <a:pt x="216" y="654"/>
                      </a:lnTo>
                      <a:lnTo>
                        <a:pt x="192" y="624"/>
                      </a:lnTo>
                      <a:lnTo>
                        <a:pt x="180" y="582"/>
                      </a:lnTo>
                      <a:lnTo>
                        <a:pt x="186" y="534"/>
                      </a:lnTo>
                      <a:lnTo>
                        <a:pt x="198" y="492"/>
                      </a:lnTo>
                      <a:lnTo>
                        <a:pt x="204" y="462"/>
                      </a:lnTo>
                      <a:lnTo>
                        <a:pt x="192" y="432"/>
                      </a:lnTo>
                      <a:lnTo>
                        <a:pt x="186" y="426"/>
                      </a:lnTo>
                      <a:lnTo>
                        <a:pt x="192" y="414"/>
                      </a:lnTo>
                      <a:lnTo>
                        <a:pt x="198" y="402"/>
                      </a:lnTo>
                      <a:lnTo>
                        <a:pt x="204" y="390"/>
                      </a:lnTo>
                      <a:lnTo>
                        <a:pt x="216" y="378"/>
                      </a:lnTo>
                      <a:lnTo>
                        <a:pt x="222" y="366"/>
                      </a:lnTo>
                      <a:lnTo>
                        <a:pt x="228" y="354"/>
                      </a:lnTo>
                      <a:lnTo>
                        <a:pt x="222" y="336"/>
                      </a:lnTo>
                      <a:lnTo>
                        <a:pt x="216" y="324"/>
                      </a:lnTo>
                      <a:lnTo>
                        <a:pt x="198" y="318"/>
                      </a:lnTo>
                      <a:lnTo>
                        <a:pt x="180" y="318"/>
                      </a:lnTo>
                      <a:lnTo>
                        <a:pt x="156" y="318"/>
                      </a:lnTo>
                      <a:lnTo>
                        <a:pt x="138" y="318"/>
                      </a:lnTo>
                      <a:lnTo>
                        <a:pt x="120" y="312"/>
                      </a:lnTo>
                      <a:lnTo>
                        <a:pt x="108" y="306"/>
                      </a:lnTo>
                      <a:lnTo>
                        <a:pt x="102" y="300"/>
                      </a:lnTo>
                      <a:lnTo>
                        <a:pt x="90" y="294"/>
                      </a:lnTo>
                      <a:lnTo>
                        <a:pt x="84" y="288"/>
                      </a:lnTo>
                      <a:lnTo>
                        <a:pt x="78" y="282"/>
                      </a:lnTo>
                      <a:lnTo>
                        <a:pt x="66" y="282"/>
                      </a:lnTo>
                      <a:lnTo>
                        <a:pt x="60" y="276"/>
                      </a:lnTo>
                      <a:lnTo>
                        <a:pt x="54" y="270"/>
                      </a:lnTo>
                      <a:lnTo>
                        <a:pt x="54" y="264"/>
                      </a:lnTo>
                      <a:lnTo>
                        <a:pt x="54" y="252"/>
                      </a:lnTo>
                      <a:lnTo>
                        <a:pt x="60" y="234"/>
                      </a:lnTo>
                      <a:lnTo>
                        <a:pt x="60" y="216"/>
                      </a:lnTo>
                      <a:lnTo>
                        <a:pt x="60" y="204"/>
                      </a:lnTo>
                      <a:lnTo>
                        <a:pt x="54" y="198"/>
                      </a:lnTo>
                      <a:lnTo>
                        <a:pt x="48" y="186"/>
                      </a:lnTo>
                      <a:lnTo>
                        <a:pt x="36" y="174"/>
                      </a:lnTo>
                      <a:lnTo>
                        <a:pt x="24" y="162"/>
                      </a:lnTo>
                      <a:lnTo>
                        <a:pt x="12" y="144"/>
                      </a:lnTo>
                      <a:lnTo>
                        <a:pt x="0" y="126"/>
                      </a:lnTo>
                      <a:lnTo>
                        <a:pt x="0" y="114"/>
                      </a:lnTo>
                      <a:lnTo>
                        <a:pt x="0" y="102"/>
                      </a:lnTo>
                      <a:lnTo>
                        <a:pt x="6" y="90"/>
                      </a:lnTo>
                      <a:lnTo>
                        <a:pt x="18" y="84"/>
                      </a:lnTo>
                      <a:lnTo>
                        <a:pt x="30" y="72"/>
                      </a:lnTo>
                      <a:lnTo>
                        <a:pt x="48" y="60"/>
                      </a:lnTo>
                      <a:lnTo>
                        <a:pt x="60" y="48"/>
                      </a:lnTo>
                      <a:lnTo>
                        <a:pt x="78" y="48"/>
                      </a:lnTo>
                      <a:lnTo>
                        <a:pt x="90" y="42"/>
                      </a:lnTo>
                      <a:lnTo>
                        <a:pt x="108" y="48"/>
                      </a:lnTo>
                      <a:lnTo>
                        <a:pt x="126" y="48"/>
                      </a:lnTo>
                      <a:lnTo>
                        <a:pt x="138" y="48"/>
                      </a:lnTo>
                      <a:lnTo>
                        <a:pt x="150" y="48"/>
                      </a:lnTo>
                      <a:lnTo>
                        <a:pt x="156" y="42"/>
                      </a:lnTo>
                      <a:lnTo>
                        <a:pt x="156" y="36"/>
                      </a:lnTo>
                      <a:lnTo>
                        <a:pt x="156" y="30"/>
                      </a:lnTo>
                      <a:lnTo>
                        <a:pt x="156" y="12"/>
                      </a:lnTo>
                      <a:lnTo>
                        <a:pt x="156" y="6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2" name="Freeform 349">
                  <a:extLst>
                    <a:ext uri="{FF2B5EF4-FFF2-40B4-BE49-F238E27FC236}">
                      <a16:creationId xmlns:a16="http://schemas.microsoft.com/office/drawing/2014/main" id="{CB511051-37CD-4D42-A8E4-769EBC6653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33" y="-7872"/>
                  <a:ext cx="204" cy="192"/>
                </a:xfrm>
                <a:custGeom>
                  <a:avLst/>
                  <a:gdLst>
                    <a:gd name="T0" fmla="*/ 90 w 204"/>
                    <a:gd name="T1" fmla="*/ 0 h 192"/>
                    <a:gd name="T2" fmla="*/ 126 w 204"/>
                    <a:gd name="T3" fmla="*/ 6 h 192"/>
                    <a:gd name="T4" fmla="*/ 162 w 204"/>
                    <a:gd name="T5" fmla="*/ 18 h 192"/>
                    <a:gd name="T6" fmla="*/ 186 w 204"/>
                    <a:gd name="T7" fmla="*/ 30 h 192"/>
                    <a:gd name="T8" fmla="*/ 198 w 204"/>
                    <a:gd name="T9" fmla="*/ 54 h 192"/>
                    <a:gd name="T10" fmla="*/ 204 w 204"/>
                    <a:gd name="T11" fmla="*/ 90 h 192"/>
                    <a:gd name="T12" fmla="*/ 204 w 204"/>
                    <a:gd name="T13" fmla="*/ 132 h 192"/>
                    <a:gd name="T14" fmla="*/ 204 w 204"/>
                    <a:gd name="T15" fmla="*/ 168 h 192"/>
                    <a:gd name="T16" fmla="*/ 198 w 204"/>
                    <a:gd name="T17" fmla="*/ 186 h 192"/>
                    <a:gd name="T18" fmla="*/ 192 w 204"/>
                    <a:gd name="T19" fmla="*/ 192 h 192"/>
                    <a:gd name="T20" fmla="*/ 186 w 204"/>
                    <a:gd name="T21" fmla="*/ 192 h 192"/>
                    <a:gd name="T22" fmla="*/ 180 w 204"/>
                    <a:gd name="T23" fmla="*/ 192 h 192"/>
                    <a:gd name="T24" fmla="*/ 174 w 204"/>
                    <a:gd name="T25" fmla="*/ 186 h 192"/>
                    <a:gd name="T26" fmla="*/ 162 w 204"/>
                    <a:gd name="T27" fmla="*/ 174 h 192"/>
                    <a:gd name="T28" fmla="*/ 156 w 204"/>
                    <a:gd name="T29" fmla="*/ 168 h 192"/>
                    <a:gd name="T30" fmla="*/ 144 w 204"/>
                    <a:gd name="T31" fmla="*/ 162 h 192"/>
                    <a:gd name="T32" fmla="*/ 138 w 204"/>
                    <a:gd name="T33" fmla="*/ 156 h 192"/>
                    <a:gd name="T34" fmla="*/ 132 w 204"/>
                    <a:gd name="T35" fmla="*/ 162 h 192"/>
                    <a:gd name="T36" fmla="*/ 126 w 204"/>
                    <a:gd name="T37" fmla="*/ 162 h 192"/>
                    <a:gd name="T38" fmla="*/ 120 w 204"/>
                    <a:gd name="T39" fmla="*/ 168 h 192"/>
                    <a:gd name="T40" fmla="*/ 114 w 204"/>
                    <a:gd name="T41" fmla="*/ 168 h 192"/>
                    <a:gd name="T42" fmla="*/ 96 w 204"/>
                    <a:gd name="T43" fmla="*/ 162 h 192"/>
                    <a:gd name="T44" fmla="*/ 84 w 204"/>
                    <a:gd name="T45" fmla="*/ 156 h 192"/>
                    <a:gd name="T46" fmla="*/ 66 w 204"/>
                    <a:gd name="T47" fmla="*/ 150 h 192"/>
                    <a:gd name="T48" fmla="*/ 54 w 204"/>
                    <a:gd name="T49" fmla="*/ 138 h 192"/>
                    <a:gd name="T50" fmla="*/ 54 w 204"/>
                    <a:gd name="T51" fmla="*/ 126 h 192"/>
                    <a:gd name="T52" fmla="*/ 54 w 204"/>
                    <a:gd name="T53" fmla="*/ 114 h 192"/>
                    <a:gd name="T54" fmla="*/ 48 w 204"/>
                    <a:gd name="T55" fmla="*/ 114 h 192"/>
                    <a:gd name="T56" fmla="*/ 42 w 204"/>
                    <a:gd name="T57" fmla="*/ 108 h 192"/>
                    <a:gd name="T58" fmla="*/ 36 w 204"/>
                    <a:gd name="T59" fmla="*/ 108 h 192"/>
                    <a:gd name="T60" fmla="*/ 30 w 204"/>
                    <a:gd name="T61" fmla="*/ 108 h 192"/>
                    <a:gd name="T62" fmla="*/ 18 w 204"/>
                    <a:gd name="T63" fmla="*/ 108 h 192"/>
                    <a:gd name="T64" fmla="*/ 12 w 204"/>
                    <a:gd name="T65" fmla="*/ 108 h 192"/>
                    <a:gd name="T66" fmla="*/ 6 w 204"/>
                    <a:gd name="T67" fmla="*/ 102 h 192"/>
                    <a:gd name="T68" fmla="*/ 0 w 204"/>
                    <a:gd name="T69" fmla="*/ 90 h 192"/>
                    <a:gd name="T70" fmla="*/ 6 w 204"/>
                    <a:gd name="T71" fmla="*/ 78 h 192"/>
                    <a:gd name="T72" fmla="*/ 12 w 204"/>
                    <a:gd name="T73" fmla="*/ 60 h 192"/>
                    <a:gd name="T74" fmla="*/ 18 w 204"/>
                    <a:gd name="T75" fmla="*/ 42 h 192"/>
                    <a:gd name="T76" fmla="*/ 36 w 204"/>
                    <a:gd name="T77" fmla="*/ 30 h 192"/>
                    <a:gd name="T78" fmla="*/ 54 w 204"/>
                    <a:gd name="T79" fmla="*/ 12 h 192"/>
                    <a:gd name="T80" fmla="*/ 90 w 204"/>
                    <a:gd name="T81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04" h="192">
                      <a:moveTo>
                        <a:pt x="90" y="0"/>
                      </a:moveTo>
                      <a:lnTo>
                        <a:pt x="126" y="6"/>
                      </a:lnTo>
                      <a:lnTo>
                        <a:pt x="162" y="18"/>
                      </a:lnTo>
                      <a:lnTo>
                        <a:pt x="186" y="30"/>
                      </a:lnTo>
                      <a:lnTo>
                        <a:pt x="198" y="54"/>
                      </a:lnTo>
                      <a:lnTo>
                        <a:pt x="204" y="90"/>
                      </a:lnTo>
                      <a:lnTo>
                        <a:pt x="204" y="132"/>
                      </a:lnTo>
                      <a:lnTo>
                        <a:pt x="204" y="168"/>
                      </a:lnTo>
                      <a:lnTo>
                        <a:pt x="198" y="186"/>
                      </a:lnTo>
                      <a:lnTo>
                        <a:pt x="192" y="192"/>
                      </a:lnTo>
                      <a:lnTo>
                        <a:pt x="186" y="192"/>
                      </a:lnTo>
                      <a:lnTo>
                        <a:pt x="180" y="192"/>
                      </a:lnTo>
                      <a:lnTo>
                        <a:pt x="174" y="186"/>
                      </a:lnTo>
                      <a:lnTo>
                        <a:pt x="162" y="174"/>
                      </a:lnTo>
                      <a:lnTo>
                        <a:pt x="156" y="168"/>
                      </a:lnTo>
                      <a:lnTo>
                        <a:pt x="144" y="162"/>
                      </a:lnTo>
                      <a:lnTo>
                        <a:pt x="138" y="156"/>
                      </a:lnTo>
                      <a:lnTo>
                        <a:pt x="132" y="162"/>
                      </a:lnTo>
                      <a:lnTo>
                        <a:pt x="126" y="162"/>
                      </a:lnTo>
                      <a:lnTo>
                        <a:pt x="120" y="168"/>
                      </a:lnTo>
                      <a:lnTo>
                        <a:pt x="114" y="168"/>
                      </a:lnTo>
                      <a:lnTo>
                        <a:pt x="96" y="162"/>
                      </a:lnTo>
                      <a:lnTo>
                        <a:pt x="84" y="156"/>
                      </a:lnTo>
                      <a:lnTo>
                        <a:pt x="66" y="150"/>
                      </a:lnTo>
                      <a:lnTo>
                        <a:pt x="54" y="138"/>
                      </a:lnTo>
                      <a:lnTo>
                        <a:pt x="54" y="126"/>
                      </a:lnTo>
                      <a:lnTo>
                        <a:pt x="54" y="114"/>
                      </a:lnTo>
                      <a:lnTo>
                        <a:pt x="48" y="114"/>
                      </a:lnTo>
                      <a:lnTo>
                        <a:pt x="42" y="108"/>
                      </a:lnTo>
                      <a:lnTo>
                        <a:pt x="36" y="108"/>
                      </a:lnTo>
                      <a:lnTo>
                        <a:pt x="30" y="108"/>
                      </a:lnTo>
                      <a:lnTo>
                        <a:pt x="18" y="108"/>
                      </a:lnTo>
                      <a:lnTo>
                        <a:pt x="12" y="108"/>
                      </a:lnTo>
                      <a:lnTo>
                        <a:pt x="6" y="102"/>
                      </a:lnTo>
                      <a:lnTo>
                        <a:pt x="0" y="90"/>
                      </a:lnTo>
                      <a:lnTo>
                        <a:pt x="6" y="78"/>
                      </a:lnTo>
                      <a:lnTo>
                        <a:pt x="12" y="60"/>
                      </a:lnTo>
                      <a:lnTo>
                        <a:pt x="18" y="42"/>
                      </a:lnTo>
                      <a:lnTo>
                        <a:pt x="36" y="30"/>
                      </a:lnTo>
                      <a:lnTo>
                        <a:pt x="54" y="12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3" name="Freeform 352">
                  <a:extLst>
                    <a:ext uri="{FF2B5EF4-FFF2-40B4-BE49-F238E27FC236}">
                      <a16:creationId xmlns:a16="http://schemas.microsoft.com/office/drawing/2014/main" id="{DF7E6873-F3CB-47FC-B45D-90AA19521A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93" y="-7338"/>
                  <a:ext cx="2106" cy="2544"/>
                </a:xfrm>
                <a:custGeom>
                  <a:avLst/>
                  <a:gdLst>
                    <a:gd name="T0" fmla="*/ 378 w 2106"/>
                    <a:gd name="T1" fmla="*/ 192 h 2544"/>
                    <a:gd name="T2" fmla="*/ 336 w 2106"/>
                    <a:gd name="T3" fmla="*/ 534 h 2544"/>
                    <a:gd name="T4" fmla="*/ 438 w 2106"/>
                    <a:gd name="T5" fmla="*/ 444 h 2544"/>
                    <a:gd name="T6" fmla="*/ 498 w 2106"/>
                    <a:gd name="T7" fmla="*/ 360 h 2544"/>
                    <a:gd name="T8" fmla="*/ 606 w 2106"/>
                    <a:gd name="T9" fmla="*/ 204 h 2544"/>
                    <a:gd name="T10" fmla="*/ 720 w 2106"/>
                    <a:gd name="T11" fmla="*/ 96 h 2544"/>
                    <a:gd name="T12" fmla="*/ 816 w 2106"/>
                    <a:gd name="T13" fmla="*/ 270 h 2544"/>
                    <a:gd name="T14" fmla="*/ 792 w 2106"/>
                    <a:gd name="T15" fmla="*/ 468 h 2544"/>
                    <a:gd name="T16" fmla="*/ 894 w 2106"/>
                    <a:gd name="T17" fmla="*/ 474 h 2544"/>
                    <a:gd name="T18" fmla="*/ 1002 w 2106"/>
                    <a:gd name="T19" fmla="*/ 468 h 2544"/>
                    <a:gd name="T20" fmla="*/ 1170 w 2106"/>
                    <a:gd name="T21" fmla="*/ 462 h 2544"/>
                    <a:gd name="T22" fmla="*/ 1206 w 2106"/>
                    <a:gd name="T23" fmla="*/ 564 h 2544"/>
                    <a:gd name="T24" fmla="*/ 1230 w 2106"/>
                    <a:gd name="T25" fmla="*/ 654 h 2544"/>
                    <a:gd name="T26" fmla="*/ 1332 w 2106"/>
                    <a:gd name="T27" fmla="*/ 756 h 2544"/>
                    <a:gd name="T28" fmla="*/ 1500 w 2106"/>
                    <a:gd name="T29" fmla="*/ 720 h 2544"/>
                    <a:gd name="T30" fmla="*/ 1416 w 2106"/>
                    <a:gd name="T31" fmla="*/ 822 h 2544"/>
                    <a:gd name="T32" fmla="*/ 1566 w 2106"/>
                    <a:gd name="T33" fmla="*/ 912 h 2544"/>
                    <a:gd name="T34" fmla="*/ 1728 w 2106"/>
                    <a:gd name="T35" fmla="*/ 972 h 2544"/>
                    <a:gd name="T36" fmla="*/ 1638 w 2106"/>
                    <a:gd name="T37" fmla="*/ 1074 h 2544"/>
                    <a:gd name="T38" fmla="*/ 1800 w 2106"/>
                    <a:gd name="T39" fmla="*/ 1056 h 2544"/>
                    <a:gd name="T40" fmla="*/ 1770 w 2106"/>
                    <a:gd name="T41" fmla="*/ 1242 h 2544"/>
                    <a:gd name="T42" fmla="*/ 1716 w 2106"/>
                    <a:gd name="T43" fmla="*/ 1338 h 2544"/>
                    <a:gd name="T44" fmla="*/ 1824 w 2106"/>
                    <a:gd name="T45" fmla="*/ 1482 h 2544"/>
                    <a:gd name="T46" fmla="*/ 1890 w 2106"/>
                    <a:gd name="T47" fmla="*/ 1602 h 2544"/>
                    <a:gd name="T48" fmla="*/ 1956 w 2106"/>
                    <a:gd name="T49" fmla="*/ 1692 h 2544"/>
                    <a:gd name="T50" fmla="*/ 2094 w 2106"/>
                    <a:gd name="T51" fmla="*/ 1680 h 2544"/>
                    <a:gd name="T52" fmla="*/ 1980 w 2106"/>
                    <a:gd name="T53" fmla="*/ 1818 h 2544"/>
                    <a:gd name="T54" fmla="*/ 1902 w 2106"/>
                    <a:gd name="T55" fmla="*/ 1932 h 2544"/>
                    <a:gd name="T56" fmla="*/ 1836 w 2106"/>
                    <a:gd name="T57" fmla="*/ 2004 h 2544"/>
                    <a:gd name="T58" fmla="*/ 1686 w 2106"/>
                    <a:gd name="T59" fmla="*/ 1872 h 2544"/>
                    <a:gd name="T60" fmla="*/ 1614 w 2106"/>
                    <a:gd name="T61" fmla="*/ 1764 h 2544"/>
                    <a:gd name="T62" fmla="*/ 1524 w 2106"/>
                    <a:gd name="T63" fmla="*/ 1794 h 2544"/>
                    <a:gd name="T64" fmla="*/ 1482 w 2106"/>
                    <a:gd name="T65" fmla="*/ 1890 h 2544"/>
                    <a:gd name="T66" fmla="*/ 1572 w 2106"/>
                    <a:gd name="T67" fmla="*/ 2028 h 2544"/>
                    <a:gd name="T68" fmla="*/ 1638 w 2106"/>
                    <a:gd name="T69" fmla="*/ 2328 h 2544"/>
                    <a:gd name="T70" fmla="*/ 1560 w 2106"/>
                    <a:gd name="T71" fmla="*/ 2400 h 2544"/>
                    <a:gd name="T72" fmla="*/ 1338 w 2106"/>
                    <a:gd name="T73" fmla="*/ 2268 h 2544"/>
                    <a:gd name="T74" fmla="*/ 1332 w 2106"/>
                    <a:gd name="T75" fmla="*/ 2358 h 2544"/>
                    <a:gd name="T76" fmla="*/ 1260 w 2106"/>
                    <a:gd name="T77" fmla="*/ 2478 h 2544"/>
                    <a:gd name="T78" fmla="*/ 1014 w 2106"/>
                    <a:gd name="T79" fmla="*/ 2298 h 2544"/>
                    <a:gd name="T80" fmla="*/ 954 w 2106"/>
                    <a:gd name="T81" fmla="*/ 2136 h 2544"/>
                    <a:gd name="T82" fmla="*/ 822 w 2106"/>
                    <a:gd name="T83" fmla="*/ 1986 h 2544"/>
                    <a:gd name="T84" fmla="*/ 696 w 2106"/>
                    <a:gd name="T85" fmla="*/ 1848 h 2544"/>
                    <a:gd name="T86" fmla="*/ 510 w 2106"/>
                    <a:gd name="T87" fmla="*/ 1938 h 2544"/>
                    <a:gd name="T88" fmla="*/ 630 w 2106"/>
                    <a:gd name="T89" fmla="*/ 1776 h 2544"/>
                    <a:gd name="T90" fmla="*/ 882 w 2106"/>
                    <a:gd name="T91" fmla="*/ 1824 h 2544"/>
                    <a:gd name="T92" fmla="*/ 1158 w 2106"/>
                    <a:gd name="T93" fmla="*/ 1524 h 2544"/>
                    <a:gd name="T94" fmla="*/ 1200 w 2106"/>
                    <a:gd name="T95" fmla="*/ 1410 h 2544"/>
                    <a:gd name="T96" fmla="*/ 1128 w 2106"/>
                    <a:gd name="T97" fmla="*/ 1194 h 2544"/>
                    <a:gd name="T98" fmla="*/ 1014 w 2106"/>
                    <a:gd name="T99" fmla="*/ 1158 h 2544"/>
                    <a:gd name="T100" fmla="*/ 996 w 2106"/>
                    <a:gd name="T101" fmla="*/ 1086 h 2544"/>
                    <a:gd name="T102" fmla="*/ 924 w 2106"/>
                    <a:gd name="T103" fmla="*/ 906 h 2544"/>
                    <a:gd name="T104" fmla="*/ 882 w 2106"/>
                    <a:gd name="T105" fmla="*/ 786 h 2544"/>
                    <a:gd name="T106" fmla="*/ 774 w 2106"/>
                    <a:gd name="T107" fmla="*/ 858 h 2544"/>
                    <a:gd name="T108" fmla="*/ 648 w 2106"/>
                    <a:gd name="T109" fmla="*/ 846 h 2544"/>
                    <a:gd name="T110" fmla="*/ 498 w 2106"/>
                    <a:gd name="T111" fmla="*/ 834 h 2544"/>
                    <a:gd name="T112" fmla="*/ 234 w 2106"/>
                    <a:gd name="T113" fmla="*/ 672 h 2544"/>
                    <a:gd name="T114" fmla="*/ 60 w 2106"/>
                    <a:gd name="T115" fmla="*/ 672 h 2544"/>
                    <a:gd name="T116" fmla="*/ 12 w 2106"/>
                    <a:gd name="T117" fmla="*/ 492 h 2544"/>
                    <a:gd name="T118" fmla="*/ 192 w 2106"/>
                    <a:gd name="T119" fmla="*/ 528 h 2544"/>
                    <a:gd name="T120" fmla="*/ 78 w 2106"/>
                    <a:gd name="T121" fmla="*/ 228 h 2544"/>
                    <a:gd name="T122" fmla="*/ 234 w 2106"/>
                    <a:gd name="T123" fmla="*/ 42 h 25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106" h="2544">
                      <a:moveTo>
                        <a:pt x="480" y="0"/>
                      </a:moveTo>
                      <a:lnTo>
                        <a:pt x="546" y="12"/>
                      </a:lnTo>
                      <a:lnTo>
                        <a:pt x="564" y="18"/>
                      </a:lnTo>
                      <a:lnTo>
                        <a:pt x="576" y="24"/>
                      </a:lnTo>
                      <a:lnTo>
                        <a:pt x="576" y="30"/>
                      </a:lnTo>
                      <a:lnTo>
                        <a:pt x="570" y="36"/>
                      </a:lnTo>
                      <a:lnTo>
                        <a:pt x="564" y="42"/>
                      </a:lnTo>
                      <a:lnTo>
                        <a:pt x="546" y="48"/>
                      </a:lnTo>
                      <a:lnTo>
                        <a:pt x="534" y="54"/>
                      </a:lnTo>
                      <a:lnTo>
                        <a:pt x="516" y="60"/>
                      </a:lnTo>
                      <a:lnTo>
                        <a:pt x="498" y="72"/>
                      </a:lnTo>
                      <a:lnTo>
                        <a:pt x="480" y="78"/>
                      </a:lnTo>
                      <a:lnTo>
                        <a:pt x="462" y="84"/>
                      </a:lnTo>
                      <a:lnTo>
                        <a:pt x="426" y="102"/>
                      </a:lnTo>
                      <a:lnTo>
                        <a:pt x="396" y="138"/>
                      </a:lnTo>
                      <a:lnTo>
                        <a:pt x="378" y="192"/>
                      </a:lnTo>
                      <a:lnTo>
                        <a:pt x="378" y="264"/>
                      </a:lnTo>
                      <a:lnTo>
                        <a:pt x="378" y="312"/>
                      </a:lnTo>
                      <a:lnTo>
                        <a:pt x="372" y="342"/>
                      </a:lnTo>
                      <a:lnTo>
                        <a:pt x="366" y="360"/>
                      </a:lnTo>
                      <a:lnTo>
                        <a:pt x="360" y="372"/>
                      </a:lnTo>
                      <a:lnTo>
                        <a:pt x="360" y="402"/>
                      </a:lnTo>
                      <a:lnTo>
                        <a:pt x="354" y="444"/>
                      </a:lnTo>
                      <a:lnTo>
                        <a:pt x="348" y="474"/>
                      </a:lnTo>
                      <a:lnTo>
                        <a:pt x="336" y="492"/>
                      </a:lnTo>
                      <a:lnTo>
                        <a:pt x="312" y="516"/>
                      </a:lnTo>
                      <a:lnTo>
                        <a:pt x="306" y="522"/>
                      </a:lnTo>
                      <a:lnTo>
                        <a:pt x="306" y="528"/>
                      </a:lnTo>
                      <a:lnTo>
                        <a:pt x="306" y="534"/>
                      </a:lnTo>
                      <a:lnTo>
                        <a:pt x="318" y="534"/>
                      </a:lnTo>
                      <a:lnTo>
                        <a:pt x="324" y="534"/>
                      </a:lnTo>
                      <a:lnTo>
                        <a:pt x="336" y="534"/>
                      </a:lnTo>
                      <a:lnTo>
                        <a:pt x="348" y="534"/>
                      </a:lnTo>
                      <a:lnTo>
                        <a:pt x="354" y="540"/>
                      </a:lnTo>
                      <a:lnTo>
                        <a:pt x="366" y="540"/>
                      </a:lnTo>
                      <a:lnTo>
                        <a:pt x="366" y="546"/>
                      </a:lnTo>
                      <a:lnTo>
                        <a:pt x="372" y="552"/>
                      </a:lnTo>
                      <a:lnTo>
                        <a:pt x="378" y="552"/>
                      </a:lnTo>
                      <a:lnTo>
                        <a:pt x="390" y="552"/>
                      </a:lnTo>
                      <a:lnTo>
                        <a:pt x="396" y="546"/>
                      </a:lnTo>
                      <a:lnTo>
                        <a:pt x="408" y="540"/>
                      </a:lnTo>
                      <a:lnTo>
                        <a:pt x="414" y="534"/>
                      </a:lnTo>
                      <a:lnTo>
                        <a:pt x="420" y="516"/>
                      </a:lnTo>
                      <a:lnTo>
                        <a:pt x="420" y="504"/>
                      </a:lnTo>
                      <a:lnTo>
                        <a:pt x="426" y="486"/>
                      </a:lnTo>
                      <a:lnTo>
                        <a:pt x="432" y="468"/>
                      </a:lnTo>
                      <a:lnTo>
                        <a:pt x="438" y="456"/>
                      </a:lnTo>
                      <a:lnTo>
                        <a:pt x="438" y="444"/>
                      </a:lnTo>
                      <a:lnTo>
                        <a:pt x="432" y="432"/>
                      </a:lnTo>
                      <a:lnTo>
                        <a:pt x="420" y="420"/>
                      </a:lnTo>
                      <a:lnTo>
                        <a:pt x="420" y="414"/>
                      </a:lnTo>
                      <a:lnTo>
                        <a:pt x="420" y="402"/>
                      </a:lnTo>
                      <a:lnTo>
                        <a:pt x="426" y="390"/>
                      </a:lnTo>
                      <a:lnTo>
                        <a:pt x="426" y="378"/>
                      </a:lnTo>
                      <a:lnTo>
                        <a:pt x="426" y="354"/>
                      </a:lnTo>
                      <a:lnTo>
                        <a:pt x="426" y="342"/>
                      </a:lnTo>
                      <a:lnTo>
                        <a:pt x="432" y="330"/>
                      </a:lnTo>
                      <a:lnTo>
                        <a:pt x="438" y="330"/>
                      </a:lnTo>
                      <a:lnTo>
                        <a:pt x="444" y="330"/>
                      </a:lnTo>
                      <a:lnTo>
                        <a:pt x="456" y="330"/>
                      </a:lnTo>
                      <a:lnTo>
                        <a:pt x="468" y="342"/>
                      </a:lnTo>
                      <a:lnTo>
                        <a:pt x="480" y="348"/>
                      </a:lnTo>
                      <a:lnTo>
                        <a:pt x="492" y="360"/>
                      </a:lnTo>
                      <a:lnTo>
                        <a:pt x="498" y="360"/>
                      </a:lnTo>
                      <a:lnTo>
                        <a:pt x="504" y="360"/>
                      </a:lnTo>
                      <a:lnTo>
                        <a:pt x="504" y="348"/>
                      </a:lnTo>
                      <a:lnTo>
                        <a:pt x="504" y="342"/>
                      </a:lnTo>
                      <a:lnTo>
                        <a:pt x="504" y="324"/>
                      </a:lnTo>
                      <a:lnTo>
                        <a:pt x="504" y="306"/>
                      </a:lnTo>
                      <a:lnTo>
                        <a:pt x="492" y="270"/>
                      </a:lnTo>
                      <a:lnTo>
                        <a:pt x="480" y="240"/>
                      </a:lnTo>
                      <a:lnTo>
                        <a:pt x="474" y="210"/>
                      </a:lnTo>
                      <a:lnTo>
                        <a:pt x="480" y="192"/>
                      </a:lnTo>
                      <a:lnTo>
                        <a:pt x="510" y="180"/>
                      </a:lnTo>
                      <a:lnTo>
                        <a:pt x="540" y="186"/>
                      </a:lnTo>
                      <a:lnTo>
                        <a:pt x="570" y="204"/>
                      </a:lnTo>
                      <a:lnTo>
                        <a:pt x="582" y="210"/>
                      </a:lnTo>
                      <a:lnTo>
                        <a:pt x="594" y="216"/>
                      </a:lnTo>
                      <a:lnTo>
                        <a:pt x="600" y="210"/>
                      </a:lnTo>
                      <a:lnTo>
                        <a:pt x="606" y="204"/>
                      </a:lnTo>
                      <a:lnTo>
                        <a:pt x="606" y="192"/>
                      </a:lnTo>
                      <a:lnTo>
                        <a:pt x="600" y="180"/>
                      </a:lnTo>
                      <a:lnTo>
                        <a:pt x="600" y="168"/>
                      </a:lnTo>
                      <a:lnTo>
                        <a:pt x="594" y="150"/>
                      </a:lnTo>
                      <a:lnTo>
                        <a:pt x="600" y="132"/>
                      </a:lnTo>
                      <a:lnTo>
                        <a:pt x="612" y="126"/>
                      </a:lnTo>
                      <a:lnTo>
                        <a:pt x="624" y="114"/>
                      </a:lnTo>
                      <a:lnTo>
                        <a:pt x="642" y="114"/>
                      </a:lnTo>
                      <a:lnTo>
                        <a:pt x="660" y="114"/>
                      </a:lnTo>
                      <a:lnTo>
                        <a:pt x="672" y="120"/>
                      </a:lnTo>
                      <a:lnTo>
                        <a:pt x="684" y="126"/>
                      </a:lnTo>
                      <a:lnTo>
                        <a:pt x="690" y="132"/>
                      </a:lnTo>
                      <a:lnTo>
                        <a:pt x="702" y="132"/>
                      </a:lnTo>
                      <a:lnTo>
                        <a:pt x="708" y="126"/>
                      </a:lnTo>
                      <a:lnTo>
                        <a:pt x="714" y="108"/>
                      </a:lnTo>
                      <a:lnTo>
                        <a:pt x="720" y="96"/>
                      </a:lnTo>
                      <a:lnTo>
                        <a:pt x="726" y="90"/>
                      </a:lnTo>
                      <a:lnTo>
                        <a:pt x="738" y="90"/>
                      </a:lnTo>
                      <a:lnTo>
                        <a:pt x="750" y="96"/>
                      </a:lnTo>
                      <a:lnTo>
                        <a:pt x="762" y="96"/>
                      </a:lnTo>
                      <a:lnTo>
                        <a:pt x="780" y="102"/>
                      </a:lnTo>
                      <a:lnTo>
                        <a:pt x="792" y="108"/>
                      </a:lnTo>
                      <a:lnTo>
                        <a:pt x="804" y="108"/>
                      </a:lnTo>
                      <a:lnTo>
                        <a:pt x="816" y="114"/>
                      </a:lnTo>
                      <a:lnTo>
                        <a:pt x="828" y="120"/>
                      </a:lnTo>
                      <a:lnTo>
                        <a:pt x="834" y="132"/>
                      </a:lnTo>
                      <a:lnTo>
                        <a:pt x="840" y="144"/>
                      </a:lnTo>
                      <a:lnTo>
                        <a:pt x="834" y="162"/>
                      </a:lnTo>
                      <a:lnTo>
                        <a:pt x="828" y="174"/>
                      </a:lnTo>
                      <a:lnTo>
                        <a:pt x="810" y="198"/>
                      </a:lnTo>
                      <a:lnTo>
                        <a:pt x="804" y="222"/>
                      </a:lnTo>
                      <a:lnTo>
                        <a:pt x="816" y="270"/>
                      </a:lnTo>
                      <a:lnTo>
                        <a:pt x="822" y="312"/>
                      </a:lnTo>
                      <a:lnTo>
                        <a:pt x="816" y="342"/>
                      </a:lnTo>
                      <a:lnTo>
                        <a:pt x="798" y="360"/>
                      </a:lnTo>
                      <a:lnTo>
                        <a:pt x="780" y="366"/>
                      </a:lnTo>
                      <a:lnTo>
                        <a:pt x="768" y="372"/>
                      </a:lnTo>
                      <a:lnTo>
                        <a:pt x="762" y="378"/>
                      </a:lnTo>
                      <a:lnTo>
                        <a:pt x="762" y="390"/>
                      </a:lnTo>
                      <a:lnTo>
                        <a:pt x="756" y="408"/>
                      </a:lnTo>
                      <a:lnTo>
                        <a:pt x="756" y="420"/>
                      </a:lnTo>
                      <a:lnTo>
                        <a:pt x="756" y="438"/>
                      </a:lnTo>
                      <a:lnTo>
                        <a:pt x="756" y="450"/>
                      </a:lnTo>
                      <a:lnTo>
                        <a:pt x="756" y="462"/>
                      </a:lnTo>
                      <a:lnTo>
                        <a:pt x="762" y="468"/>
                      </a:lnTo>
                      <a:lnTo>
                        <a:pt x="768" y="474"/>
                      </a:lnTo>
                      <a:lnTo>
                        <a:pt x="774" y="474"/>
                      </a:lnTo>
                      <a:lnTo>
                        <a:pt x="792" y="468"/>
                      </a:lnTo>
                      <a:lnTo>
                        <a:pt x="810" y="456"/>
                      </a:lnTo>
                      <a:lnTo>
                        <a:pt x="828" y="450"/>
                      </a:lnTo>
                      <a:lnTo>
                        <a:pt x="840" y="438"/>
                      </a:lnTo>
                      <a:lnTo>
                        <a:pt x="852" y="426"/>
                      </a:lnTo>
                      <a:lnTo>
                        <a:pt x="864" y="402"/>
                      </a:lnTo>
                      <a:lnTo>
                        <a:pt x="864" y="390"/>
                      </a:lnTo>
                      <a:lnTo>
                        <a:pt x="870" y="384"/>
                      </a:lnTo>
                      <a:lnTo>
                        <a:pt x="876" y="384"/>
                      </a:lnTo>
                      <a:lnTo>
                        <a:pt x="882" y="384"/>
                      </a:lnTo>
                      <a:lnTo>
                        <a:pt x="888" y="396"/>
                      </a:lnTo>
                      <a:lnTo>
                        <a:pt x="888" y="408"/>
                      </a:lnTo>
                      <a:lnTo>
                        <a:pt x="894" y="414"/>
                      </a:lnTo>
                      <a:lnTo>
                        <a:pt x="888" y="432"/>
                      </a:lnTo>
                      <a:lnTo>
                        <a:pt x="888" y="444"/>
                      </a:lnTo>
                      <a:lnTo>
                        <a:pt x="888" y="462"/>
                      </a:lnTo>
                      <a:lnTo>
                        <a:pt x="894" y="474"/>
                      </a:lnTo>
                      <a:lnTo>
                        <a:pt x="906" y="486"/>
                      </a:lnTo>
                      <a:lnTo>
                        <a:pt x="918" y="498"/>
                      </a:lnTo>
                      <a:lnTo>
                        <a:pt x="930" y="504"/>
                      </a:lnTo>
                      <a:lnTo>
                        <a:pt x="936" y="504"/>
                      </a:lnTo>
                      <a:lnTo>
                        <a:pt x="942" y="498"/>
                      </a:lnTo>
                      <a:lnTo>
                        <a:pt x="942" y="492"/>
                      </a:lnTo>
                      <a:lnTo>
                        <a:pt x="948" y="486"/>
                      </a:lnTo>
                      <a:lnTo>
                        <a:pt x="948" y="474"/>
                      </a:lnTo>
                      <a:lnTo>
                        <a:pt x="954" y="474"/>
                      </a:lnTo>
                      <a:lnTo>
                        <a:pt x="966" y="474"/>
                      </a:lnTo>
                      <a:lnTo>
                        <a:pt x="978" y="480"/>
                      </a:lnTo>
                      <a:lnTo>
                        <a:pt x="996" y="480"/>
                      </a:lnTo>
                      <a:lnTo>
                        <a:pt x="1002" y="480"/>
                      </a:lnTo>
                      <a:lnTo>
                        <a:pt x="1008" y="474"/>
                      </a:lnTo>
                      <a:lnTo>
                        <a:pt x="1008" y="474"/>
                      </a:lnTo>
                      <a:lnTo>
                        <a:pt x="1002" y="468"/>
                      </a:lnTo>
                      <a:lnTo>
                        <a:pt x="996" y="462"/>
                      </a:lnTo>
                      <a:lnTo>
                        <a:pt x="984" y="450"/>
                      </a:lnTo>
                      <a:lnTo>
                        <a:pt x="978" y="444"/>
                      </a:lnTo>
                      <a:lnTo>
                        <a:pt x="972" y="438"/>
                      </a:lnTo>
                      <a:lnTo>
                        <a:pt x="972" y="426"/>
                      </a:lnTo>
                      <a:lnTo>
                        <a:pt x="972" y="420"/>
                      </a:lnTo>
                      <a:lnTo>
                        <a:pt x="984" y="414"/>
                      </a:lnTo>
                      <a:lnTo>
                        <a:pt x="996" y="402"/>
                      </a:lnTo>
                      <a:lnTo>
                        <a:pt x="1032" y="396"/>
                      </a:lnTo>
                      <a:lnTo>
                        <a:pt x="1068" y="402"/>
                      </a:lnTo>
                      <a:lnTo>
                        <a:pt x="1098" y="420"/>
                      </a:lnTo>
                      <a:lnTo>
                        <a:pt x="1116" y="438"/>
                      </a:lnTo>
                      <a:lnTo>
                        <a:pt x="1128" y="450"/>
                      </a:lnTo>
                      <a:lnTo>
                        <a:pt x="1140" y="462"/>
                      </a:lnTo>
                      <a:lnTo>
                        <a:pt x="1152" y="468"/>
                      </a:lnTo>
                      <a:lnTo>
                        <a:pt x="1170" y="462"/>
                      </a:lnTo>
                      <a:lnTo>
                        <a:pt x="1176" y="462"/>
                      </a:lnTo>
                      <a:lnTo>
                        <a:pt x="1188" y="462"/>
                      </a:lnTo>
                      <a:lnTo>
                        <a:pt x="1194" y="462"/>
                      </a:lnTo>
                      <a:lnTo>
                        <a:pt x="1200" y="468"/>
                      </a:lnTo>
                      <a:lnTo>
                        <a:pt x="1200" y="474"/>
                      </a:lnTo>
                      <a:lnTo>
                        <a:pt x="1200" y="486"/>
                      </a:lnTo>
                      <a:lnTo>
                        <a:pt x="1194" y="504"/>
                      </a:lnTo>
                      <a:lnTo>
                        <a:pt x="1182" y="528"/>
                      </a:lnTo>
                      <a:lnTo>
                        <a:pt x="1176" y="546"/>
                      </a:lnTo>
                      <a:lnTo>
                        <a:pt x="1170" y="552"/>
                      </a:lnTo>
                      <a:lnTo>
                        <a:pt x="1170" y="564"/>
                      </a:lnTo>
                      <a:lnTo>
                        <a:pt x="1176" y="564"/>
                      </a:lnTo>
                      <a:lnTo>
                        <a:pt x="1182" y="570"/>
                      </a:lnTo>
                      <a:lnTo>
                        <a:pt x="1188" y="564"/>
                      </a:lnTo>
                      <a:lnTo>
                        <a:pt x="1194" y="564"/>
                      </a:lnTo>
                      <a:lnTo>
                        <a:pt x="1206" y="564"/>
                      </a:lnTo>
                      <a:lnTo>
                        <a:pt x="1218" y="558"/>
                      </a:lnTo>
                      <a:lnTo>
                        <a:pt x="1230" y="558"/>
                      </a:lnTo>
                      <a:lnTo>
                        <a:pt x="1236" y="558"/>
                      </a:lnTo>
                      <a:lnTo>
                        <a:pt x="1248" y="558"/>
                      </a:lnTo>
                      <a:lnTo>
                        <a:pt x="1254" y="564"/>
                      </a:lnTo>
                      <a:lnTo>
                        <a:pt x="1254" y="570"/>
                      </a:lnTo>
                      <a:lnTo>
                        <a:pt x="1254" y="576"/>
                      </a:lnTo>
                      <a:lnTo>
                        <a:pt x="1248" y="588"/>
                      </a:lnTo>
                      <a:lnTo>
                        <a:pt x="1236" y="594"/>
                      </a:lnTo>
                      <a:lnTo>
                        <a:pt x="1224" y="600"/>
                      </a:lnTo>
                      <a:lnTo>
                        <a:pt x="1212" y="612"/>
                      </a:lnTo>
                      <a:lnTo>
                        <a:pt x="1206" y="624"/>
                      </a:lnTo>
                      <a:lnTo>
                        <a:pt x="1206" y="630"/>
                      </a:lnTo>
                      <a:lnTo>
                        <a:pt x="1212" y="642"/>
                      </a:lnTo>
                      <a:lnTo>
                        <a:pt x="1218" y="648"/>
                      </a:lnTo>
                      <a:lnTo>
                        <a:pt x="1230" y="654"/>
                      </a:lnTo>
                      <a:lnTo>
                        <a:pt x="1248" y="654"/>
                      </a:lnTo>
                      <a:lnTo>
                        <a:pt x="1260" y="660"/>
                      </a:lnTo>
                      <a:lnTo>
                        <a:pt x="1272" y="666"/>
                      </a:lnTo>
                      <a:lnTo>
                        <a:pt x="1272" y="672"/>
                      </a:lnTo>
                      <a:lnTo>
                        <a:pt x="1278" y="678"/>
                      </a:lnTo>
                      <a:lnTo>
                        <a:pt x="1278" y="690"/>
                      </a:lnTo>
                      <a:lnTo>
                        <a:pt x="1278" y="696"/>
                      </a:lnTo>
                      <a:lnTo>
                        <a:pt x="1284" y="702"/>
                      </a:lnTo>
                      <a:lnTo>
                        <a:pt x="1296" y="708"/>
                      </a:lnTo>
                      <a:lnTo>
                        <a:pt x="1302" y="708"/>
                      </a:lnTo>
                      <a:lnTo>
                        <a:pt x="1308" y="714"/>
                      </a:lnTo>
                      <a:lnTo>
                        <a:pt x="1308" y="726"/>
                      </a:lnTo>
                      <a:lnTo>
                        <a:pt x="1314" y="732"/>
                      </a:lnTo>
                      <a:lnTo>
                        <a:pt x="1314" y="744"/>
                      </a:lnTo>
                      <a:lnTo>
                        <a:pt x="1320" y="750"/>
                      </a:lnTo>
                      <a:lnTo>
                        <a:pt x="1332" y="756"/>
                      </a:lnTo>
                      <a:lnTo>
                        <a:pt x="1344" y="756"/>
                      </a:lnTo>
                      <a:lnTo>
                        <a:pt x="1362" y="756"/>
                      </a:lnTo>
                      <a:lnTo>
                        <a:pt x="1368" y="756"/>
                      </a:lnTo>
                      <a:lnTo>
                        <a:pt x="1374" y="750"/>
                      </a:lnTo>
                      <a:lnTo>
                        <a:pt x="1374" y="738"/>
                      </a:lnTo>
                      <a:lnTo>
                        <a:pt x="1380" y="726"/>
                      </a:lnTo>
                      <a:lnTo>
                        <a:pt x="1386" y="708"/>
                      </a:lnTo>
                      <a:lnTo>
                        <a:pt x="1392" y="696"/>
                      </a:lnTo>
                      <a:lnTo>
                        <a:pt x="1404" y="690"/>
                      </a:lnTo>
                      <a:lnTo>
                        <a:pt x="1416" y="690"/>
                      </a:lnTo>
                      <a:lnTo>
                        <a:pt x="1428" y="690"/>
                      </a:lnTo>
                      <a:lnTo>
                        <a:pt x="1440" y="696"/>
                      </a:lnTo>
                      <a:lnTo>
                        <a:pt x="1458" y="702"/>
                      </a:lnTo>
                      <a:lnTo>
                        <a:pt x="1470" y="708"/>
                      </a:lnTo>
                      <a:lnTo>
                        <a:pt x="1488" y="714"/>
                      </a:lnTo>
                      <a:lnTo>
                        <a:pt x="1500" y="720"/>
                      </a:lnTo>
                      <a:lnTo>
                        <a:pt x="1512" y="720"/>
                      </a:lnTo>
                      <a:lnTo>
                        <a:pt x="1518" y="720"/>
                      </a:lnTo>
                      <a:lnTo>
                        <a:pt x="1530" y="720"/>
                      </a:lnTo>
                      <a:lnTo>
                        <a:pt x="1542" y="720"/>
                      </a:lnTo>
                      <a:lnTo>
                        <a:pt x="1554" y="732"/>
                      </a:lnTo>
                      <a:lnTo>
                        <a:pt x="1566" y="744"/>
                      </a:lnTo>
                      <a:lnTo>
                        <a:pt x="1572" y="750"/>
                      </a:lnTo>
                      <a:lnTo>
                        <a:pt x="1572" y="756"/>
                      </a:lnTo>
                      <a:lnTo>
                        <a:pt x="1572" y="762"/>
                      </a:lnTo>
                      <a:lnTo>
                        <a:pt x="1566" y="768"/>
                      </a:lnTo>
                      <a:lnTo>
                        <a:pt x="1554" y="780"/>
                      </a:lnTo>
                      <a:lnTo>
                        <a:pt x="1542" y="786"/>
                      </a:lnTo>
                      <a:lnTo>
                        <a:pt x="1494" y="804"/>
                      </a:lnTo>
                      <a:lnTo>
                        <a:pt x="1446" y="810"/>
                      </a:lnTo>
                      <a:lnTo>
                        <a:pt x="1428" y="816"/>
                      </a:lnTo>
                      <a:lnTo>
                        <a:pt x="1416" y="822"/>
                      </a:lnTo>
                      <a:lnTo>
                        <a:pt x="1410" y="828"/>
                      </a:lnTo>
                      <a:lnTo>
                        <a:pt x="1398" y="834"/>
                      </a:lnTo>
                      <a:lnTo>
                        <a:pt x="1398" y="846"/>
                      </a:lnTo>
                      <a:lnTo>
                        <a:pt x="1398" y="852"/>
                      </a:lnTo>
                      <a:lnTo>
                        <a:pt x="1404" y="864"/>
                      </a:lnTo>
                      <a:lnTo>
                        <a:pt x="1422" y="870"/>
                      </a:lnTo>
                      <a:lnTo>
                        <a:pt x="1464" y="882"/>
                      </a:lnTo>
                      <a:lnTo>
                        <a:pt x="1506" y="876"/>
                      </a:lnTo>
                      <a:lnTo>
                        <a:pt x="1560" y="876"/>
                      </a:lnTo>
                      <a:lnTo>
                        <a:pt x="1572" y="876"/>
                      </a:lnTo>
                      <a:lnTo>
                        <a:pt x="1578" y="882"/>
                      </a:lnTo>
                      <a:lnTo>
                        <a:pt x="1584" y="882"/>
                      </a:lnTo>
                      <a:lnTo>
                        <a:pt x="1578" y="888"/>
                      </a:lnTo>
                      <a:lnTo>
                        <a:pt x="1578" y="900"/>
                      </a:lnTo>
                      <a:lnTo>
                        <a:pt x="1572" y="906"/>
                      </a:lnTo>
                      <a:lnTo>
                        <a:pt x="1566" y="912"/>
                      </a:lnTo>
                      <a:lnTo>
                        <a:pt x="1566" y="918"/>
                      </a:lnTo>
                      <a:lnTo>
                        <a:pt x="1566" y="924"/>
                      </a:lnTo>
                      <a:lnTo>
                        <a:pt x="1578" y="924"/>
                      </a:lnTo>
                      <a:lnTo>
                        <a:pt x="1608" y="930"/>
                      </a:lnTo>
                      <a:lnTo>
                        <a:pt x="1632" y="930"/>
                      </a:lnTo>
                      <a:lnTo>
                        <a:pt x="1650" y="924"/>
                      </a:lnTo>
                      <a:lnTo>
                        <a:pt x="1668" y="918"/>
                      </a:lnTo>
                      <a:lnTo>
                        <a:pt x="1674" y="918"/>
                      </a:lnTo>
                      <a:lnTo>
                        <a:pt x="1686" y="912"/>
                      </a:lnTo>
                      <a:lnTo>
                        <a:pt x="1698" y="918"/>
                      </a:lnTo>
                      <a:lnTo>
                        <a:pt x="1710" y="918"/>
                      </a:lnTo>
                      <a:lnTo>
                        <a:pt x="1722" y="930"/>
                      </a:lnTo>
                      <a:lnTo>
                        <a:pt x="1728" y="936"/>
                      </a:lnTo>
                      <a:lnTo>
                        <a:pt x="1734" y="954"/>
                      </a:lnTo>
                      <a:lnTo>
                        <a:pt x="1734" y="966"/>
                      </a:lnTo>
                      <a:lnTo>
                        <a:pt x="1728" y="972"/>
                      </a:lnTo>
                      <a:lnTo>
                        <a:pt x="1722" y="978"/>
                      </a:lnTo>
                      <a:lnTo>
                        <a:pt x="1704" y="972"/>
                      </a:lnTo>
                      <a:lnTo>
                        <a:pt x="1686" y="972"/>
                      </a:lnTo>
                      <a:lnTo>
                        <a:pt x="1662" y="978"/>
                      </a:lnTo>
                      <a:lnTo>
                        <a:pt x="1638" y="990"/>
                      </a:lnTo>
                      <a:lnTo>
                        <a:pt x="1614" y="996"/>
                      </a:lnTo>
                      <a:lnTo>
                        <a:pt x="1602" y="1002"/>
                      </a:lnTo>
                      <a:lnTo>
                        <a:pt x="1596" y="1014"/>
                      </a:lnTo>
                      <a:lnTo>
                        <a:pt x="1596" y="1020"/>
                      </a:lnTo>
                      <a:lnTo>
                        <a:pt x="1602" y="1026"/>
                      </a:lnTo>
                      <a:lnTo>
                        <a:pt x="1608" y="1038"/>
                      </a:lnTo>
                      <a:lnTo>
                        <a:pt x="1620" y="1050"/>
                      </a:lnTo>
                      <a:lnTo>
                        <a:pt x="1632" y="1062"/>
                      </a:lnTo>
                      <a:lnTo>
                        <a:pt x="1632" y="1068"/>
                      </a:lnTo>
                      <a:lnTo>
                        <a:pt x="1638" y="1074"/>
                      </a:lnTo>
                      <a:lnTo>
                        <a:pt x="1638" y="1074"/>
                      </a:lnTo>
                      <a:lnTo>
                        <a:pt x="1638" y="1074"/>
                      </a:lnTo>
                      <a:lnTo>
                        <a:pt x="1644" y="1068"/>
                      </a:lnTo>
                      <a:lnTo>
                        <a:pt x="1650" y="1062"/>
                      </a:lnTo>
                      <a:lnTo>
                        <a:pt x="1656" y="1056"/>
                      </a:lnTo>
                      <a:lnTo>
                        <a:pt x="1668" y="1050"/>
                      </a:lnTo>
                      <a:lnTo>
                        <a:pt x="1680" y="1044"/>
                      </a:lnTo>
                      <a:lnTo>
                        <a:pt x="1692" y="1038"/>
                      </a:lnTo>
                      <a:lnTo>
                        <a:pt x="1698" y="1044"/>
                      </a:lnTo>
                      <a:lnTo>
                        <a:pt x="1716" y="1056"/>
                      </a:lnTo>
                      <a:lnTo>
                        <a:pt x="1728" y="1056"/>
                      </a:lnTo>
                      <a:lnTo>
                        <a:pt x="1740" y="1050"/>
                      </a:lnTo>
                      <a:lnTo>
                        <a:pt x="1752" y="1038"/>
                      </a:lnTo>
                      <a:lnTo>
                        <a:pt x="1764" y="1032"/>
                      </a:lnTo>
                      <a:lnTo>
                        <a:pt x="1776" y="1032"/>
                      </a:lnTo>
                      <a:lnTo>
                        <a:pt x="1788" y="1038"/>
                      </a:lnTo>
                      <a:lnTo>
                        <a:pt x="1800" y="1056"/>
                      </a:lnTo>
                      <a:lnTo>
                        <a:pt x="1812" y="1074"/>
                      </a:lnTo>
                      <a:lnTo>
                        <a:pt x="1812" y="1104"/>
                      </a:lnTo>
                      <a:lnTo>
                        <a:pt x="1782" y="1122"/>
                      </a:lnTo>
                      <a:lnTo>
                        <a:pt x="1746" y="1146"/>
                      </a:lnTo>
                      <a:lnTo>
                        <a:pt x="1716" y="1158"/>
                      </a:lnTo>
                      <a:lnTo>
                        <a:pt x="1704" y="1170"/>
                      </a:lnTo>
                      <a:lnTo>
                        <a:pt x="1698" y="1182"/>
                      </a:lnTo>
                      <a:lnTo>
                        <a:pt x="1698" y="1188"/>
                      </a:lnTo>
                      <a:lnTo>
                        <a:pt x="1704" y="1200"/>
                      </a:lnTo>
                      <a:lnTo>
                        <a:pt x="1710" y="1206"/>
                      </a:lnTo>
                      <a:lnTo>
                        <a:pt x="1716" y="1206"/>
                      </a:lnTo>
                      <a:lnTo>
                        <a:pt x="1728" y="1212"/>
                      </a:lnTo>
                      <a:lnTo>
                        <a:pt x="1746" y="1218"/>
                      </a:lnTo>
                      <a:lnTo>
                        <a:pt x="1758" y="1224"/>
                      </a:lnTo>
                      <a:lnTo>
                        <a:pt x="1764" y="1230"/>
                      </a:lnTo>
                      <a:lnTo>
                        <a:pt x="1770" y="1242"/>
                      </a:lnTo>
                      <a:lnTo>
                        <a:pt x="1764" y="1248"/>
                      </a:lnTo>
                      <a:lnTo>
                        <a:pt x="1752" y="1248"/>
                      </a:lnTo>
                      <a:lnTo>
                        <a:pt x="1734" y="1254"/>
                      </a:lnTo>
                      <a:lnTo>
                        <a:pt x="1716" y="1254"/>
                      </a:lnTo>
                      <a:lnTo>
                        <a:pt x="1698" y="1254"/>
                      </a:lnTo>
                      <a:lnTo>
                        <a:pt x="1674" y="1254"/>
                      </a:lnTo>
                      <a:lnTo>
                        <a:pt x="1662" y="1260"/>
                      </a:lnTo>
                      <a:lnTo>
                        <a:pt x="1656" y="1260"/>
                      </a:lnTo>
                      <a:lnTo>
                        <a:pt x="1656" y="1272"/>
                      </a:lnTo>
                      <a:lnTo>
                        <a:pt x="1662" y="1278"/>
                      </a:lnTo>
                      <a:lnTo>
                        <a:pt x="1668" y="1290"/>
                      </a:lnTo>
                      <a:lnTo>
                        <a:pt x="1674" y="1296"/>
                      </a:lnTo>
                      <a:lnTo>
                        <a:pt x="1686" y="1308"/>
                      </a:lnTo>
                      <a:lnTo>
                        <a:pt x="1692" y="1320"/>
                      </a:lnTo>
                      <a:lnTo>
                        <a:pt x="1704" y="1326"/>
                      </a:lnTo>
                      <a:lnTo>
                        <a:pt x="1716" y="1338"/>
                      </a:lnTo>
                      <a:lnTo>
                        <a:pt x="1722" y="1356"/>
                      </a:lnTo>
                      <a:lnTo>
                        <a:pt x="1734" y="1368"/>
                      </a:lnTo>
                      <a:lnTo>
                        <a:pt x="1734" y="1386"/>
                      </a:lnTo>
                      <a:lnTo>
                        <a:pt x="1734" y="1398"/>
                      </a:lnTo>
                      <a:lnTo>
                        <a:pt x="1728" y="1416"/>
                      </a:lnTo>
                      <a:lnTo>
                        <a:pt x="1734" y="1428"/>
                      </a:lnTo>
                      <a:lnTo>
                        <a:pt x="1746" y="1434"/>
                      </a:lnTo>
                      <a:lnTo>
                        <a:pt x="1764" y="1440"/>
                      </a:lnTo>
                      <a:lnTo>
                        <a:pt x="1776" y="1446"/>
                      </a:lnTo>
                      <a:lnTo>
                        <a:pt x="1794" y="1446"/>
                      </a:lnTo>
                      <a:lnTo>
                        <a:pt x="1806" y="1446"/>
                      </a:lnTo>
                      <a:lnTo>
                        <a:pt x="1812" y="1452"/>
                      </a:lnTo>
                      <a:lnTo>
                        <a:pt x="1818" y="1458"/>
                      </a:lnTo>
                      <a:lnTo>
                        <a:pt x="1818" y="1470"/>
                      </a:lnTo>
                      <a:lnTo>
                        <a:pt x="1818" y="1476"/>
                      </a:lnTo>
                      <a:lnTo>
                        <a:pt x="1824" y="1482"/>
                      </a:lnTo>
                      <a:lnTo>
                        <a:pt x="1830" y="1488"/>
                      </a:lnTo>
                      <a:lnTo>
                        <a:pt x="1842" y="1494"/>
                      </a:lnTo>
                      <a:lnTo>
                        <a:pt x="1848" y="1494"/>
                      </a:lnTo>
                      <a:lnTo>
                        <a:pt x="1854" y="1500"/>
                      </a:lnTo>
                      <a:lnTo>
                        <a:pt x="1860" y="1512"/>
                      </a:lnTo>
                      <a:lnTo>
                        <a:pt x="1860" y="1518"/>
                      </a:lnTo>
                      <a:lnTo>
                        <a:pt x="1860" y="1524"/>
                      </a:lnTo>
                      <a:lnTo>
                        <a:pt x="1866" y="1536"/>
                      </a:lnTo>
                      <a:lnTo>
                        <a:pt x="1878" y="1542"/>
                      </a:lnTo>
                      <a:lnTo>
                        <a:pt x="1884" y="1548"/>
                      </a:lnTo>
                      <a:lnTo>
                        <a:pt x="1890" y="1554"/>
                      </a:lnTo>
                      <a:lnTo>
                        <a:pt x="1890" y="1566"/>
                      </a:lnTo>
                      <a:lnTo>
                        <a:pt x="1884" y="1578"/>
                      </a:lnTo>
                      <a:lnTo>
                        <a:pt x="1884" y="1584"/>
                      </a:lnTo>
                      <a:lnTo>
                        <a:pt x="1884" y="1596"/>
                      </a:lnTo>
                      <a:lnTo>
                        <a:pt x="1890" y="1602"/>
                      </a:lnTo>
                      <a:lnTo>
                        <a:pt x="1896" y="1608"/>
                      </a:lnTo>
                      <a:lnTo>
                        <a:pt x="1908" y="1614"/>
                      </a:lnTo>
                      <a:lnTo>
                        <a:pt x="1908" y="1620"/>
                      </a:lnTo>
                      <a:lnTo>
                        <a:pt x="1908" y="1626"/>
                      </a:lnTo>
                      <a:lnTo>
                        <a:pt x="1908" y="1638"/>
                      </a:lnTo>
                      <a:lnTo>
                        <a:pt x="1902" y="1644"/>
                      </a:lnTo>
                      <a:lnTo>
                        <a:pt x="1902" y="1656"/>
                      </a:lnTo>
                      <a:lnTo>
                        <a:pt x="1902" y="1662"/>
                      </a:lnTo>
                      <a:lnTo>
                        <a:pt x="1908" y="1662"/>
                      </a:lnTo>
                      <a:lnTo>
                        <a:pt x="1920" y="1662"/>
                      </a:lnTo>
                      <a:lnTo>
                        <a:pt x="1920" y="1668"/>
                      </a:lnTo>
                      <a:lnTo>
                        <a:pt x="1926" y="1674"/>
                      </a:lnTo>
                      <a:lnTo>
                        <a:pt x="1926" y="1680"/>
                      </a:lnTo>
                      <a:lnTo>
                        <a:pt x="1932" y="1686"/>
                      </a:lnTo>
                      <a:lnTo>
                        <a:pt x="1938" y="1686"/>
                      </a:lnTo>
                      <a:lnTo>
                        <a:pt x="1956" y="1692"/>
                      </a:lnTo>
                      <a:lnTo>
                        <a:pt x="1968" y="1692"/>
                      </a:lnTo>
                      <a:lnTo>
                        <a:pt x="1974" y="1698"/>
                      </a:lnTo>
                      <a:lnTo>
                        <a:pt x="1980" y="1704"/>
                      </a:lnTo>
                      <a:lnTo>
                        <a:pt x="1980" y="1710"/>
                      </a:lnTo>
                      <a:lnTo>
                        <a:pt x="1980" y="1716"/>
                      </a:lnTo>
                      <a:lnTo>
                        <a:pt x="1986" y="1716"/>
                      </a:lnTo>
                      <a:lnTo>
                        <a:pt x="1986" y="1716"/>
                      </a:lnTo>
                      <a:lnTo>
                        <a:pt x="1992" y="1710"/>
                      </a:lnTo>
                      <a:lnTo>
                        <a:pt x="1998" y="1698"/>
                      </a:lnTo>
                      <a:lnTo>
                        <a:pt x="2010" y="1692"/>
                      </a:lnTo>
                      <a:lnTo>
                        <a:pt x="2016" y="1680"/>
                      </a:lnTo>
                      <a:lnTo>
                        <a:pt x="2028" y="1674"/>
                      </a:lnTo>
                      <a:lnTo>
                        <a:pt x="2046" y="1668"/>
                      </a:lnTo>
                      <a:lnTo>
                        <a:pt x="2064" y="1668"/>
                      </a:lnTo>
                      <a:lnTo>
                        <a:pt x="2082" y="1674"/>
                      </a:lnTo>
                      <a:lnTo>
                        <a:pt x="2094" y="1680"/>
                      </a:lnTo>
                      <a:lnTo>
                        <a:pt x="2106" y="1686"/>
                      </a:lnTo>
                      <a:lnTo>
                        <a:pt x="2106" y="1698"/>
                      </a:lnTo>
                      <a:lnTo>
                        <a:pt x="2106" y="1710"/>
                      </a:lnTo>
                      <a:lnTo>
                        <a:pt x="2100" y="1722"/>
                      </a:lnTo>
                      <a:lnTo>
                        <a:pt x="2094" y="1734"/>
                      </a:lnTo>
                      <a:lnTo>
                        <a:pt x="2082" y="1740"/>
                      </a:lnTo>
                      <a:lnTo>
                        <a:pt x="2064" y="1752"/>
                      </a:lnTo>
                      <a:lnTo>
                        <a:pt x="2058" y="1764"/>
                      </a:lnTo>
                      <a:lnTo>
                        <a:pt x="2052" y="1770"/>
                      </a:lnTo>
                      <a:lnTo>
                        <a:pt x="2046" y="1782"/>
                      </a:lnTo>
                      <a:lnTo>
                        <a:pt x="2040" y="1788"/>
                      </a:lnTo>
                      <a:lnTo>
                        <a:pt x="2028" y="1794"/>
                      </a:lnTo>
                      <a:lnTo>
                        <a:pt x="2010" y="1800"/>
                      </a:lnTo>
                      <a:lnTo>
                        <a:pt x="1998" y="1806"/>
                      </a:lnTo>
                      <a:lnTo>
                        <a:pt x="1986" y="1812"/>
                      </a:lnTo>
                      <a:lnTo>
                        <a:pt x="1980" y="1818"/>
                      </a:lnTo>
                      <a:lnTo>
                        <a:pt x="1980" y="1824"/>
                      </a:lnTo>
                      <a:lnTo>
                        <a:pt x="1980" y="1836"/>
                      </a:lnTo>
                      <a:lnTo>
                        <a:pt x="1980" y="1848"/>
                      </a:lnTo>
                      <a:lnTo>
                        <a:pt x="1986" y="1866"/>
                      </a:lnTo>
                      <a:lnTo>
                        <a:pt x="1986" y="1878"/>
                      </a:lnTo>
                      <a:lnTo>
                        <a:pt x="1986" y="1896"/>
                      </a:lnTo>
                      <a:lnTo>
                        <a:pt x="1986" y="1902"/>
                      </a:lnTo>
                      <a:lnTo>
                        <a:pt x="1980" y="1902"/>
                      </a:lnTo>
                      <a:lnTo>
                        <a:pt x="1974" y="1908"/>
                      </a:lnTo>
                      <a:lnTo>
                        <a:pt x="1968" y="1902"/>
                      </a:lnTo>
                      <a:lnTo>
                        <a:pt x="1956" y="1902"/>
                      </a:lnTo>
                      <a:lnTo>
                        <a:pt x="1944" y="1908"/>
                      </a:lnTo>
                      <a:lnTo>
                        <a:pt x="1920" y="1908"/>
                      </a:lnTo>
                      <a:lnTo>
                        <a:pt x="1908" y="1914"/>
                      </a:lnTo>
                      <a:lnTo>
                        <a:pt x="1902" y="1920"/>
                      </a:lnTo>
                      <a:lnTo>
                        <a:pt x="1902" y="1932"/>
                      </a:lnTo>
                      <a:lnTo>
                        <a:pt x="1896" y="1938"/>
                      </a:lnTo>
                      <a:lnTo>
                        <a:pt x="1896" y="1950"/>
                      </a:lnTo>
                      <a:lnTo>
                        <a:pt x="1896" y="1956"/>
                      </a:lnTo>
                      <a:lnTo>
                        <a:pt x="1896" y="1962"/>
                      </a:lnTo>
                      <a:lnTo>
                        <a:pt x="1890" y="1962"/>
                      </a:lnTo>
                      <a:lnTo>
                        <a:pt x="1884" y="1962"/>
                      </a:lnTo>
                      <a:lnTo>
                        <a:pt x="1878" y="1956"/>
                      </a:lnTo>
                      <a:lnTo>
                        <a:pt x="1866" y="1944"/>
                      </a:lnTo>
                      <a:lnTo>
                        <a:pt x="1854" y="1938"/>
                      </a:lnTo>
                      <a:lnTo>
                        <a:pt x="1848" y="1938"/>
                      </a:lnTo>
                      <a:lnTo>
                        <a:pt x="1842" y="1944"/>
                      </a:lnTo>
                      <a:lnTo>
                        <a:pt x="1836" y="1950"/>
                      </a:lnTo>
                      <a:lnTo>
                        <a:pt x="1836" y="1962"/>
                      </a:lnTo>
                      <a:lnTo>
                        <a:pt x="1836" y="1980"/>
                      </a:lnTo>
                      <a:lnTo>
                        <a:pt x="1836" y="1992"/>
                      </a:lnTo>
                      <a:lnTo>
                        <a:pt x="1836" y="2004"/>
                      </a:lnTo>
                      <a:lnTo>
                        <a:pt x="1836" y="2028"/>
                      </a:lnTo>
                      <a:lnTo>
                        <a:pt x="1836" y="2046"/>
                      </a:lnTo>
                      <a:lnTo>
                        <a:pt x="1830" y="2058"/>
                      </a:lnTo>
                      <a:lnTo>
                        <a:pt x="1824" y="2064"/>
                      </a:lnTo>
                      <a:lnTo>
                        <a:pt x="1812" y="2064"/>
                      </a:lnTo>
                      <a:lnTo>
                        <a:pt x="1800" y="2058"/>
                      </a:lnTo>
                      <a:lnTo>
                        <a:pt x="1794" y="2046"/>
                      </a:lnTo>
                      <a:lnTo>
                        <a:pt x="1782" y="2028"/>
                      </a:lnTo>
                      <a:lnTo>
                        <a:pt x="1770" y="2004"/>
                      </a:lnTo>
                      <a:lnTo>
                        <a:pt x="1764" y="1986"/>
                      </a:lnTo>
                      <a:lnTo>
                        <a:pt x="1746" y="1962"/>
                      </a:lnTo>
                      <a:lnTo>
                        <a:pt x="1728" y="1944"/>
                      </a:lnTo>
                      <a:lnTo>
                        <a:pt x="1710" y="1920"/>
                      </a:lnTo>
                      <a:lnTo>
                        <a:pt x="1698" y="1896"/>
                      </a:lnTo>
                      <a:lnTo>
                        <a:pt x="1686" y="1884"/>
                      </a:lnTo>
                      <a:lnTo>
                        <a:pt x="1686" y="1872"/>
                      </a:lnTo>
                      <a:lnTo>
                        <a:pt x="1686" y="1860"/>
                      </a:lnTo>
                      <a:lnTo>
                        <a:pt x="1698" y="1848"/>
                      </a:lnTo>
                      <a:lnTo>
                        <a:pt x="1704" y="1836"/>
                      </a:lnTo>
                      <a:lnTo>
                        <a:pt x="1716" y="1824"/>
                      </a:lnTo>
                      <a:lnTo>
                        <a:pt x="1722" y="1812"/>
                      </a:lnTo>
                      <a:lnTo>
                        <a:pt x="1722" y="1806"/>
                      </a:lnTo>
                      <a:lnTo>
                        <a:pt x="1722" y="1800"/>
                      </a:lnTo>
                      <a:lnTo>
                        <a:pt x="1710" y="1794"/>
                      </a:lnTo>
                      <a:lnTo>
                        <a:pt x="1698" y="1794"/>
                      </a:lnTo>
                      <a:lnTo>
                        <a:pt x="1686" y="1794"/>
                      </a:lnTo>
                      <a:lnTo>
                        <a:pt x="1668" y="1794"/>
                      </a:lnTo>
                      <a:lnTo>
                        <a:pt x="1650" y="1794"/>
                      </a:lnTo>
                      <a:lnTo>
                        <a:pt x="1638" y="1788"/>
                      </a:lnTo>
                      <a:lnTo>
                        <a:pt x="1632" y="1782"/>
                      </a:lnTo>
                      <a:lnTo>
                        <a:pt x="1626" y="1776"/>
                      </a:lnTo>
                      <a:lnTo>
                        <a:pt x="1614" y="1764"/>
                      </a:lnTo>
                      <a:lnTo>
                        <a:pt x="1602" y="1746"/>
                      </a:lnTo>
                      <a:lnTo>
                        <a:pt x="1596" y="1734"/>
                      </a:lnTo>
                      <a:lnTo>
                        <a:pt x="1584" y="1722"/>
                      </a:lnTo>
                      <a:lnTo>
                        <a:pt x="1578" y="1722"/>
                      </a:lnTo>
                      <a:lnTo>
                        <a:pt x="1572" y="1728"/>
                      </a:lnTo>
                      <a:lnTo>
                        <a:pt x="1566" y="1728"/>
                      </a:lnTo>
                      <a:lnTo>
                        <a:pt x="1560" y="1728"/>
                      </a:lnTo>
                      <a:lnTo>
                        <a:pt x="1548" y="1728"/>
                      </a:lnTo>
                      <a:lnTo>
                        <a:pt x="1536" y="1728"/>
                      </a:lnTo>
                      <a:lnTo>
                        <a:pt x="1530" y="1734"/>
                      </a:lnTo>
                      <a:lnTo>
                        <a:pt x="1518" y="1740"/>
                      </a:lnTo>
                      <a:lnTo>
                        <a:pt x="1506" y="1746"/>
                      </a:lnTo>
                      <a:lnTo>
                        <a:pt x="1506" y="1752"/>
                      </a:lnTo>
                      <a:lnTo>
                        <a:pt x="1506" y="1764"/>
                      </a:lnTo>
                      <a:lnTo>
                        <a:pt x="1512" y="1776"/>
                      </a:lnTo>
                      <a:lnTo>
                        <a:pt x="1524" y="1794"/>
                      </a:lnTo>
                      <a:lnTo>
                        <a:pt x="1530" y="1800"/>
                      </a:lnTo>
                      <a:lnTo>
                        <a:pt x="1536" y="1812"/>
                      </a:lnTo>
                      <a:lnTo>
                        <a:pt x="1536" y="1824"/>
                      </a:lnTo>
                      <a:lnTo>
                        <a:pt x="1530" y="1830"/>
                      </a:lnTo>
                      <a:lnTo>
                        <a:pt x="1524" y="1830"/>
                      </a:lnTo>
                      <a:lnTo>
                        <a:pt x="1506" y="1830"/>
                      </a:lnTo>
                      <a:lnTo>
                        <a:pt x="1488" y="1824"/>
                      </a:lnTo>
                      <a:lnTo>
                        <a:pt x="1470" y="1824"/>
                      </a:lnTo>
                      <a:lnTo>
                        <a:pt x="1458" y="1824"/>
                      </a:lnTo>
                      <a:lnTo>
                        <a:pt x="1452" y="1830"/>
                      </a:lnTo>
                      <a:lnTo>
                        <a:pt x="1452" y="1836"/>
                      </a:lnTo>
                      <a:lnTo>
                        <a:pt x="1452" y="1848"/>
                      </a:lnTo>
                      <a:lnTo>
                        <a:pt x="1458" y="1854"/>
                      </a:lnTo>
                      <a:lnTo>
                        <a:pt x="1464" y="1866"/>
                      </a:lnTo>
                      <a:lnTo>
                        <a:pt x="1470" y="1878"/>
                      </a:lnTo>
                      <a:lnTo>
                        <a:pt x="1482" y="1890"/>
                      </a:lnTo>
                      <a:lnTo>
                        <a:pt x="1488" y="1896"/>
                      </a:lnTo>
                      <a:lnTo>
                        <a:pt x="1494" y="1902"/>
                      </a:lnTo>
                      <a:lnTo>
                        <a:pt x="1500" y="1914"/>
                      </a:lnTo>
                      <a:lnTo>
                        <a:pt x="1512" y="1926"/>
                      </a:lnTo>
                      <a:lnTo>
                        <a:pt x="1512" y="1944"/>
                      </a:lnTo>
                      <a:lnTo>
                        <a:pt x="1518" y="1962"/>
                      </a:lnTo>
                      <a:lnTo>
                        <a:pt x="1524" y="1974"/>
                      </a:lnTo>
                      <a:lnTo>
                        <a:pt x="1530" y="1980"/>
                      </a:lnTo>
                      <a:lnTo>
                        <a:pt x="1536" y="1986"/>
                      </a:lnTo>
                      <a:lnTo>
                        <a:pt x="1548" y="1986"/>
                      </a:lnTo>
                      <a:lnTo>
                        <a:pt x="1548" y="1992"/>
                      </a:lnTo>
                      <a:lnTo>
                        <a:pt x="1554" y="1998"/>
                      </a:lnTo>
                      <a:lnTo>
                        <a:pt x="1554" y="2010"/>
                      </a:lnTo>
                      <a:lnTo>
                        <a:pt x="1560" y="2016"/>
                      </a:lnTo>
                      <a:lnTo>
                        <a:pt x="1566" y="2022"/>
                      </a:lnTo>
                      <a:lnTo>
                        <a:pt x="1572" y="2028"/>
                      </a:lnTo>
                      <a:lnTo>
                        <a:pt x="1584" y="2034"/>
                      </a:lnTo>
                      <a:lnTo>
                        <a:pt x="1596" y="2046"/>
                      </a:lnTo>
                      <a:lnTo>
                        <a:pt x="1602" y="2064"/>
                      </a:lnTo>
                      <a:lnTo>
                        <a:pt x="1608" y="2082"/>
                      </a:lnTo>
                      <a:lnTo>
                        <a:pt x="1614" y="2100"/>
                      </a:lnTo>
                      <a:lnTo>
                        <a:pt x="1620" y="2118"/>
                      </a:lnTo>
                      <a:lnTo>
                        <a:pt x="1626" y="2136"/>
                      </a:lnTo>
                      <a:lnTo>
                        <a:pt x="1632" y="2148"/>
                      </a:lnTo>
                      <a:lnTo>
                        <a:pt x="1632" y="2160"/>
                      </a:lnTo>
                      <a:lnTo>
                        <a:pt x="1632" y="2172"/>
                      </a:lnTo>
                      <a:lnTo>
                        <a:pt x="1632" y="2190"/>
                      </a:lnTo>
                      <a:lnTo>
                        <a:pt x="1626" y="2226"/>
                      </a:lnTo>
                      <a:lnTo>
                        <a:pt x="1632" y="2256"/>
                      </a:lnTo>
                      <a:lnTo>
                        <a:pt x="1638" y="2292"/>
                      </a:lnTo>
                      <a:lnTo>
                        <a:pt x="1644" y="2316"/>
                      </a:lnTo>
                      <a:lnTo>
                        <a:pt x="1638" y="2328"/>
                      </a:lnTo>
                      <a:lnTo>
                        <a:pt x="1638" y="2340"/>
                      </a:lnTo>
                      <a:lnTo>
                        <a:pt x="1632" y="2346"/>
                      </a:lnTo>
                      <a:lnTo>
                        <a:pt x="1620" y="2346"/>
                      </a:lnTo>
                      <a:lnTo>
                        <a:pt x="1614" y="2340"/>
                      </a:lnTo>
                      <a:lnTo>
                        <a:pt x="1602" y="2328"/>
                      </a:lnTo>
                      <a:lnTo>
                        <a:pt x="1596" y="2328"/>
                      </a:lnTo>
                      <a:lnTo>
                        <a:pt x="1590" y="2328"/>
                      </a:lnTo>
                      <a:lnTo>
                        <a:pt x="1584" y="2340"/>
                      </a:lnTo>
                      <a:lnTo>
                        <a:pt x="1584" y="2352"/>
                      </a:lnTo>
                      <a:lnTo>
                        <a:pt x="1584" y="2364"/>
                      </a:lnTo>
                      <a:lnTo>
                        <a:pt x="1578" y="2370"/>
                      </a:lnTo>
                      <a:lnTo>
                        <a:pt x="1572" y="2376"/>
                      </a:lnTo>
                      <a:lnTo>
                        <a:pt x="1572" y="2376"/>
                      </a:lnTo>
                      <a:lnTo>
                        <a:pt x="1566" y="2382"/>
                      </a:lnTo>
                      <a:lnTo>
                        <a:pt x="1560" y="2388"/>
                      </a:lnTo>
                      <a:lnTo>
                        <a:pt x="1560" y="2400"/>
                      </a:lnTo>
                      <a:lnTo>
                        <a:pt x="1560" y="2412"/>
                      </a:lnTo>
                      <a:lnTo>
                        <a:pt x="1554" y="2418"/>
                      </a:lnTo>
                      <a:lnTo>
                        <a:pt x="1548" y="2418"/>
                      </a:lnTo>
                      <a:lnTo>
                        <a:pt x="1536" y="2412"/>
                      </a:lnTo>
                      <a:lnTo>
                        <a:pt x="1518" y="2406"/>
                      </a:lnTo>
                      <a:lnTo>
                        <a:pt x="1506" y="2394"/>
                      </a:lnTo>
                      <a:lnTo>
                        <a:pt x="1482" y="2382"/>
                      </a:lnTo>
                      <a:lnTo>
                        <a:pt x="1458" y="2364"/>
                      </a:lnTo>
                      <a:lnTo>
                        <a:pt x="1440" y="2352"/>
                      </a:lnTo>
                      <a:lnTo>
                        <a:pt x="1422" y="2334"/>
                      </a:lnTo>
                      <a:lnTo>
                        <a:pt x="1410" y="2316"/>
                      </a:lnTo>
                      <a:lnTo>
                        <a:pt x="1398" y="2298"/>
                      </a:lnTo>
                      <a:lnTo>
                        <a:pt x="1386" y="2286"/>
                      </a:lnTo>
                      <a:lnTo>
                        <a:pt x="1374" y="2280"/>
                      </a:lnTo>
                      <a:lnTo>
                        <a:pt x="1356" y="2274"/>
                      </a:lnTo>
                      <a:lnTo>
                        <a:pt x="1338" y="2268"/>
                      </a:lnTo>
                      <a:lnTo>
                        <a:pt x="1320" y="2262"/>
                      </a:lnTo>
                      <a:lnTo>
                        <a:pt x="1308" y="2250"/>
                      </a:lnTo>
                      <a:lnTo>
                        <a:pt x="1296" y="2244"/>
                      </a:lnTo>
                      <a:lnTo>
                        <a:pt x="1284" y="2238"/>
                      </a:lnTo>
                      <a:lnTo>
                        <a:pt x="1284" y="2238"/>
                      </a:lnTo>
                      <a:lnTo>
                        <a:pt x="1278" y="2244"/>
                      </a:lnTo>
                      <a:lnTo>
                        <a:pt x="1278" y="2250"/>
                      </a:lnTo>
                      <a:lnTo>
                        <a:pt x="1278" y="2262"/>
                      </a:lnTo>
                      <a:lnTo>
                        <a:pt x="1278" y="2280"/>
                      </a:lnTo>
                      <a:lnTo>
                        <a:pt x="1284" y="2292"/>
                      </a:lnTo>
                      <a:lnTo>
                        <a:pt x="1284" y="2316"/>
                      </a:lnTo>
                      <a:lnTo>
                        <a:pt x="1290" y="2328"/>
                      </a:lnTo>
                      <a:lnTo>
                        <a:pt x="1296" y="2334"/>
                      </a:lnTo>
                      <a:lnTo>
                        <a:pt x="1302" y="2340"/>
                      </a:lnTo>
                      <a:lnTo>
                        <a:pt x="1314" y="2346"/>
                      </a:lnTo>
                      <a:lnTo>
                        <a:pt x="1332" y="2358"/>
                      </a:lnTo>
                      <a:lnTo>
                        <a:pt x="1362" y="2382"/>
                      </a:lnTo>
                      <a:lnTo>
                        <a:pt x="1386" y="2412"/>
                      </a:lnTo>
                      <a:lnTo>
                        <a:pt x="1422" y="2460"/>
                      </a:lnTo>
                      <a:lnTo>
                        <a:pt x="1434" y="2478"/>
                      </a:lnTo>
                      <a:lnTo>
                        <a:pt x="1440" y="2496"/>
                      </a:lnTo>
                      <a:lnTo>
                        <a:pt x="1434" y="2514"/>
                      </a:lnTo>
                      <a:lnTo>
                        <a:pt x="1428" y="2526"/>
                      </a:lnTo>
                      <a:lnTo>
                        <a:pt x="1422" y="2538"/>
                      </a:lnTo>
                      <a:lnTo>
                        <a:pt x="1410" y="2544"/>
                      </a:lnTo>
                      <a:lnTo>
                        <a:pt x="1398" y="2544"/>
                      </a:lnTo>
                      <a:lnTo>
                        <a:pt x="1386" y="2538"/>
                      </a:lnTo>
                      <a:lnTo>
                        <a:pt x="1362" y="2532"/>
                      </a:lnTo>
                      <a:lnTo>
                        <a:pt x="1338" y="2526"/>
                      </a:lnTo>
                      <a:lnTo>
                        <a:pt x="1314" y="2514"/>
                      </a:lnTo>
                      <a:lnTo>
                        <a:pt x="1296" y="2496"/>
                      </a:lnTo>
                      <a:lnTo>
                        <a:pt x="1260" y="2478"/>
                      </a:lnTo>
                      <a:lnTo>
                        <a:pt x="1224" y="2460"/>
                      </a:lnTo>
                      <a:lnTo>
                        <a:pt x="1200" y="2430"/>
                      </a:lnTo>
                      <a:lnTo>
                        <a:pt x="1188" y="2418"/>
                      </a:lnTo>
                      <a:lnTo>
                        <a:pt x="1170" y="2406"/>
                      </a:lnTo>
                      <a:lnTo>
                        <a:pt x="1158" y="2400"/>
                      </a:lnTo>
                      <a:lnTo>
                        <a:pt x="1146" y="2394"/>
                      </a:lnTo>
                      <a:lnTo>
                        <a:pt x="1128" y="2388"/>
                      </a:lnTo>
                      <a:lnTo>
                        <a:pt x="1122" y="2376"/>
                      </a:lnTo>
                      <a:lnTo>
                        <a:pt x="1116" y="2358"/>
                      </a:lnTo>
                      <a:lnTo>
                        <a:pt x="1104" y="2346"/>
                      </a:lnTo>
                      <a:lnTo>
                        <a:pt x="1092" y="2328"/>
                      </a:lnTo>
                      <a:lnTo>
                        <a:pt x="1080" y="2322"/>
                      </a:lnTo>
                      <a:lnTo>
                        <a:pt x="1062" y="2316"/>
                      </a:lnTo>
                      <a:lnTo>
                        <a:pt x="1050" y="2310"/>
                      </a:lnTo>
                      <a:lnTo>
                        <a:pt x="1032" y="2304"/>
                      </a:lnTo>
                      <a:lnTo>
                        <a:pt x="1014" y="2298"/>
                      </a:lnTo>
                      <a:lnTo>
                        <a:pt x="1002" y="2292"/>
                      </a:lnTo>
                      <a:lnTo>
                        <a:pt x="996" y="2280"/>
                      </a:lnTo>
                      <a:lnTo>
                        <a:pt x="1002" y="2274"/>
                      </a:lnTo>
                      <a:lnTo>
                        <a:pt x="1008" y="2262"/>
                      </a:lnTo>
                      <a:lnTo>
                        <a:pt x="1020" y="2256"/>
                      </a:lnTo>
                      <a:lnTo>
                        <a:pt x="1026" y="2250"/>
                      </a:lnTo>
                      <a:lnTo>
                        <a:pt x="1026" y="2244"/>
                      </a:lnTo>
                      <a:lnTo>
                        <a:pt x="1014" y="2232"/>
                      </a:lnTo>
                      <a:lnTo>
                        <a:pt x="1002" y="2226"/>
                      </a:lnTo>
                      <a:lnTo>
                        <a:pt x="990" y="2214"/>
                      </a:lnTo>
                      <a:lnTo>
                        <a:pt x="984" y="2202"/>
                      </a:lnTo>
                      <a:lnTo>
                        <a:pt x="978" y="2190"/>
                      </a:lnTo>
                      <a:lnTo>
                        <a:pt x="978" y="2178"/>
                      </a:lnTo>
                      <a:lnTo>
                        <a:pt x="972" y="2160"/>
                      </a:lnTo>
                      <a:lnTo>
                        <a:pt x="966" y="2148"/>
                      </a:lnTo>
                      <a:lnTo>
                        <a:pt x="954" y="2136"/>
                      </a:lnTo>
                      <a:lnTo>
                        <a:pt x="930" y="2112"/>
                      </a:lnTo>
                      <a:lnTo>
                        <a:pt x="918" y="2076"/>
                      </a:lnTo>
                      <a:lnTo>
                        <a:pt x="906" y="2040"/>
                      </a:lnTo>
                      <a:lnTo>
                        <a:pt x="894" y="1998"/>
                      </a:lnTo>
                      <a:lnTo>
                        <a:pt x="888" y="1962"/>
                      </a:lnTo>
                      <a:lnTo>
                        <a:pt x="882" y="1938"/>
                      </a:lnTo>
                      <a:lnTo>
                        <a:pt x="870" y="1932"/>
                      </a:lnTo>
                      <a:lnTo>
                        <a:pt x="864" y="1926"/>
                      </a:lnTo>
                      <a:lnTo>
                        <a:pt x="858" y="1926"/>
                      </a:lnTo>
                      <a:lnTo>
                        <a:pt x="852" y="1932"/>
                      </a:lnTo>
                      <a:lnTo>
                        <a:pt x="846" y="1944"/>
                      </a:lnTo>
                      <a:lnTo>
                        <a:pt x="846" y="1956"/>
                      </a:lnTo>
                      <a:lnTo>
                        <a:pt x="846" y="1968"/>
                      </a:lnTo>
                      <a:lnTo>
                        <a:pt x="840" y="1980"/>
                      </a:lnTo>
                      <a:lnTo>
                        <a:pt x="834" y="1986"/>
                      </a:lnTo>
                      <a:lnTo>
                        <a:pt x="822" y="1986"/>
                      </a:lnTo>
                      <a:lnTo>
                        <a:pt x="810" y="1980"/>
                      </a:lnTo>
                      <a:lnTo>
                        <a:pt x="798" y="1974"/>
                      </a:lnTo>
                      <a:lnTo>
                        <a:pt x="792" y="1962"/>
                      </a:lnTo>
                      <a:lnTo>
                        <a:pt x="780" y="1950"/>
                      </a:lnTo>
                      <a:lnTo>
                        <a:pt x="780" y="1932"/>
                      </a:lnTo>
                      <a:lnTo>
                        <a:pt x="780" y="1920"/>
                      </a:lnTo>
                      <a:lnTo>
                        <a:pt x="780" y="1902"/>
                      </a:lnTo>
                      <a:lnTo>
                        <a:pt x="780" y="1890"/>
                      </a:lnTo>
                      <a:lnTo>
                        <a:pt x="780" y="1878"/>
                      </a:lnTo>
                      <a:lnTo>
                        <a:pt x="768" y="1866"/>
                      </a:lnTo>
                      <a:lnTo>
                        <a:pt x="750" y="1860"/>
                      </a:lnTo>
                      <a:lnTo>
                        <a:pt x="732" y="1848"/>
                      </a:lnTo>
                      <a:lnTo>
                        <a:pt x="720" y="1842"/>
                      </a:lnTo>
                      <a:lnTo>
                        <a:pt x="708" y="1842"/>
                      </a:lnTo>
                      <a:lnTo>
                        <a:pt x="702" y="1842"/>
                      </a:lnTo>
                      <a:lnTo>
                        <a:pt x="696" y="1848"/>
                      </a:lnTo>
                      <a:lnTo>
                        <a:pt x="690" y="1860"/>
                      </a:lnTo>
                      <a:lnTo>
                        <a:pt x="690" y="1866"/>
                      </a:lnTo>
                      <a:lnTo>
                        <a:pt x="696" y="1872"/>
                      </a:lnTo>
                      <a:lnTo>
                        <a:pt x="708" y="1878"/>
                      </a:lnTo>
                      <a:lnTo>
                        <a:pt x="720" y="1890"/>
                      </a:lnTo>
                      <a:lnTo>
                        <a:pt x="726" y="1896"/>
                      </a:lnTo>
                      <a:lnTo>
                        <a:pt x="726" y="1908"/>
                      </a:lnTo>
                      <a:lnTo>
                        <a:pt x="720" y="1926"/>
                      </a:lnTo>
                      <a:lnTo>
                        <a:pt x="720" y="1938"/>
                      </a:lnTo>
                      <a:lnTo>
                        <a:pt x="720" y="1956"/>
                      </a:lnTo>
                      <a:lnTo>
                        <a:pt x="702" y="1974"/>
                      </a:lnTo>
                      <a:lnTo>
                        <a:pt x="666" y="1986"/>
                      </a:lnTo>
                      <a:lnTo>
                        <a:pt x="624" y="1992"/>
                      </a:lnTo>
                      <a:lnTo>
                        <a:pt x="576" y="1986"/>
                      </a:lnTo>
                      <a:lnTo>
                        <a:pt x="534" y="1968"/>
                      </a:lnTo>
                      <a:lnTo>
                        <a:pt x="510" y="1938"/>
                      </a:lnTo>
                      <a:lnTo>
                        <a:pt x="510" y="1908"/>
                      </a:lnTo>
                      <a:lnTo>
                        <a:pt x="516" y="1878"/>
                      </a:lnTo>
                      <a:lnTo>
                        <a:pt x="528" y="1854"/>
                      </a:lnTo>
                      <a:lnTo>
                        <a:pt x="534" y="1848"/>
                      </a:lnTo>
                      <a:lnTo>
                        <a:pt x="540" y="1842"/>
                      </a:lnTo>
                      <a:lnTo>
                        <a:pt x="552" y="1836"/>
                      </a:lnTo>
                      <a:lnTo>
                        <a:pt x="558" y="1836"/>
                      </a:lnTo>
                      <a:lnTo>
                        <a:pt x="564" y="1830"/>
                      </a:lnTo>
                      <a:lnTo>
                        <a:pt x="570" y="1824"/>
                      </a:lnTo>
                      <a:lnTo>
                        <a:pt x="576" y="1806"/>
                      </a:lnTo>
                      <a:lnTo>
                        <a:pt x="576" y="1794"/>
                      </a:lnTo>
                      <a:lnTo>
                        <a:pt x="582" y="1788"/>
                      </a:lnTo>
                      <a:lnTo>
                        <a:pt x="594" y="1782"/>
                      </a:lnTo>
                      <a:lnTo>
                        <a:pt x="606" y="1776"/>
                      </a:lnTo>
                      <a:lnTo>
                        <a:pt x="618" y="1776"/>
                      </a:lnTo>
                      <a:lnTo>
                        <a:pt x="630" y="1776"/>
                      </a:lnTo>
                      <a:lnTo>
                        <a:pt x="642" y="1782"/>
                      </a:lnTo>
                      <a:lnTo>
                        <a:pt x="654" y="1782"/>
                      </a:lnTo>
                      <a:lnTo>
                        <a:pt x="678" y="1782"/>
                      </a:lnTo>
                      <a:lnTo>
                        <a:pt x="714" y="1782"/>
                      </a:lnTo>
                      <a:lnTo>
                        <a:pt x="744" y="1782"/>
                      </a:lnTo>
                      <a:lnTo>
                        <a:pt x="756" y="1794"/>
                      </a:lnTo>
                      <a:lnTo>
                        <a:pt x="762" y="1806"/>
                      </a:lnTo>
                      <a:lnTo>
                        <a:pt x="774" y="1812"/>
                      </a:lnTo>
                      <a:lnTo>
                        <a:pt x="780" y="1812"/>
                      </a:lnTo>
                      <a:lnTo>
                        <a:pt x="792" y="1812"/>
                      </a:lnTo>
                      <a:lnTo>
                        <a:pt x="804" y="1806"/>
                      </a:lnTo>
                      <a:lnTo>
                        <a:pt x="816" y="1806"/>
                      </a:lnTo>
                      <a:lnTo>
                        <a:pt x="828" y="1800"/>
                      </a:lnTo>
                      <a:lnTo>
                        <a:pt x="846" y="1806"/>
                      </a:lnTo>
                      <a:lnTo>
                        <a:pt x="858" y="1812"/>
                      </a:lnTo>
                      <a:lnTo>
                        <a:pt x="882" y="1824"/>
                      </a:lnTo>
                      <a:lnTo>
                        <a:pt x="900" y="1830"/>
                      </a:lnTo>
                      <a:lnTo>
                        <a:pt x="912" y="1824"/>
                      </a:lnTo>
                      <a:lnTo>
                        <a:pt x="924" y="1812"/>
                      </a:lnTo>
                      <a:lnTo>
                        <a:pt x="936" y="1788"/>
                      </a:lnTo>
                      <a:lnTo>
                        <a:pt x="942" y="1764"/>
                      </a:lnTo>
                      <a:lnTo>
                        <a:pt x="942" y="1734"/>
                      </a:lnTo>
                      <a:lnTo>
                        <a:pt x="942" y="1698"/>
                      </a:lnTo>
                      <a:lnTo>
                        <a:pt x="954" y="1674"/>
                      </a:lnTo>
                      <a:lnTo>
                        <a:pt x="972" y="1656"/>
                      </a:lnTo>
                      <a:lnTo>
                        <a:pt x="996" y="1626"/>
                      </a:lnTo>
                      <a:lnTo>
                        <a:pt x="1044" y="1584"/>
                      </a:lnTo>
                      <a:lnTo>
                        <a:pt x="1098" y="1560"/>
                      </a:lnTo>
                      <a:lnTo>
                        <a:pt x="1140" y="1542"/>
                      </a:lnTo>
                      <a:lnTo>
                        <a:pt x="1146" y="1542"/>
                      </a:lnTo>
                      <a:lnTo>
                        <a:pt x="1152" y="1530"/>
                      </a:lnTo>
                      <a:lnTo>
                        <a:pt x="1158" y="1524"/>
                      </a:lnTo>
                      <a:lnTo>
                        <a:pt x="1158" y="1512"/>
                      </a:lnTo>
                      <a:lnTo>
                        <a:pt x="1164" y="1500"/>
                      </a:lnTo>
                      <a:lnTo>
                        <a:pt x="1164" y="1488"/>
                      </a:lnTo>
                      <a:lnTo>
                        <a:pt x="1176" y="1476"/>
                      </a:lnTo>
                      <a:lnTo>
                        <a:pt x="1188" y="1470"/>
                      </a:lnTo>
                      <a:lnTo>
                        <a:pt x="1200" y="1464"/>
                      </a:lnTo>
                      <a:lnTo>
                        <a:pt x="1200" y="1458"/>
                      </a:lnTo>
                      <a:lnTo>
                        <a:pt x="1200" y="1452"/>
                      </a:lnTo>
                      <a:lnTo>
                        <a:pt x="1194" y="1452"/>
                      </a:lnTo>
                      <a:lnTo>
                        <a:pt x="1188" y="1446"/>
                      </a:lnTo>
                      <a:lnTo>
                        <a:pt x="1188" y="1440"/>
                      </a:lnTo>
                      <a:lnTo>
                        <a:pt x="1182" y="1440"/>
                      </a:lnTo>
                      <a:lnTo>
                        <a:pt x="1188" y="1434"/>
                      </a:lnTo>
                      <a:lnTo>
                        <a:pt x="1200" y="1428"/>
                      </a:lnTo>
                      <a:lnTo>
                        <a:pt x="1200" y="1422"/>
                      </a:lnTo>
                      <a:lnTo>
                        <a:pt x="1200" y="1410"/>
                      </a:lnTo>
                      <a:lnTo>
                        <a:pt x="1200" y="1398"/>
                      </a:lnTo>
                      <a:lnTo>
                        <a:pt x="1188" y="1380"/>
                      </a:lnTo>
                      <a:lnTo>
                        <a:pt x="1176" y="1362"/>
                      </a:lnTo>
                      <a:lnTo>
                        <a:pt x="1170" y="1338"/>
                      </a:lnTo>
                      <a:lnTo>
                        <a:pt x="1164" y="1320"/>
                      </a:lnTo>
                      <a:lnTo>
                        <a:pt x="1170" y="1296"/>
                      </a:lnTo>
                      <a:lnTo>
                        <a:pt x="1182" y="1272"/>
                      </a:lnTo>
                      <a:lnTo>
                        <a:pt x="1182" y="1254"/>
                      </a:lnTo>
                      <a:lnTo>
                        <a:pt x="1188" y="1230"/>
                      </a:lnTo>
                      <a:lnTo>
                        <a:pt x="1188" y="1200"/>
                      </a:lnTo>
                      <a:lnTo>
                        <a:pt x="1188" y="1188"/>
                      </a:lnTo>
                      <a:lnTo>
                        <a:pt x="1182" y="1182"/>
                      </a:lnTo>
                      <a:lnTo>
                        <a:pt x="1176" y="1176"/>
                      </a:lnTo>
                      <a:lnTo>
                        <a:pt x="1158" y="1182"/>
                      </a:lnTo>
                      <a:lnTo>
                        <a:pt x="1146" y="1188"/>
                      </a:lnTo>
                      <a:lnTo>
                        <a:pt x="1128" y="1194"/>
                      </a:lnTo>
                      <a:lnTo>
                        <a:pt x="1104" y="1206"/>
                      </a:lnTo>
                      <a:lnTo>
                        <a:pt x="1092" y="1212"/>
                      </a:lnTo>
                      <a:lnTo>
                        <a:pt x="1080" y="1218"/>
                      </a:lnTo>
                      <a:lnTo>
                        <a:pt x="1074" y="1212"/>
                      </a:lnTo>
                      <a:lnTo>
                        <a:pt x="1068" y="1206"/>
                      </a:lnTo>
                      <a:lnTo>
                        <a:pt x="1062" y="1194"/>
                      </a:lnTo>
                      <a:lnTo>
                        <a:pt x="1062" y="1182"/>
                      </a:lnTo>
                      <a:lnTo>
                        <a:pt x="1062" y="1170"/>
                      </a:lnTo>
                      <a:lnTo>
                        <a:pt x="1056" y="1158"/>
                      </a:lnTo>
                      <a:lnTo>
                        <a:pt x="1056" y="1146"/>
                      </a:lnTo>
                      <a:lnTo>
                        <a:pt x="1050" y="1134"/>
                      </a:lnTo>
                      <a:lnTo>
                        <a:pt x="1044" y="1128"/>
                      </a:lnTo>
                      <a:lnTo>
                        <a:pt x="1032" y="1134"/>
                      </a:lnTo>
                      <a:lnTo>
                        <a:pt x="1026" y="1140"/>
                      </a:lnTo>
                      <a:lnTo>
                        <a:pt x="1020" y="1146"/>
                      </a:lnTo>
                      <a:lnTo>
                        <a:pt x="1014" y="1158"/>
                      </a:lnTo>
                      <a:lnTo>
                        <a:pt x="1008" y="1164"/>
                      </a:lnTo>
                      <a:lnTo>
                        <a:pt x="996" y="1170"/>
                      </a:lnTo>
                      <a:lnTo>
                        <a:pt x="984" y="1176"/>
                      </a:lnTo>
                      <a:lnTo>
                        <a:pt x="972" y="1182"/>
                      </a:lnTo>
                      <a:lnTo>
                        <a:pt x="954" y="1182"/>
                      </a:lnTo>
                      <a:lnTo>
                        <a:pt x="942" y="1182"/>
                      </a:lnTo>
                      <a:lnTo>
                        <a:pt x="930" y="1176"/>
                      </a:lnTo>
                      <a:lnTo>
                        <a:pt x="924" y="1164"/>
                      </a:lnTo>
                      <a:lnTo>
                        <a:pt x="924" y="1152"/>
                      </a:lnTo>
                      <a:lnTo>
                        <a:pt x="924" y="1146"/>
                      </a:lnTo>
                      <a:lnTo>
                        <a:pt x="936" y="1134"/>
                      </a:lnTo>
                      <a:lnTo>
                        <a:pt x="942" y="1128"/>
                      </a:lnTo>
                      <a:lnTo>
                        <a:pt x="960" y="1116"/>
                      </a:lnTo>
                      <a:lnTo>
                        <a:pt x="978" y="1110"/>
                      </a:lnTo>
                      <a:lnTo>
                        <a:pt x="990" y="1098"/>
                      </a:lnTo>
                      <a:lnTo>
                        <a:pt x="996" y="1086"/>
                      </a:lnTo>
                      <a:lnTo>
                        <a:pt x="996" y="1068"/>
                      </a:lnTo>
                      <a:lnTo>
                        <a:pt x="996" y="1050"/>
                      </a:lnTo>
                      <a:lnTo>
                        <a:pt x="990" y="1038"/>
                      </a:lnTo>
                      <a:lnTo>
                        <a:pt x="984" y="1020"/>
                      </a:lnTo>
                      <a:lnTo>
                        <a:pt x="978" y="1008"/>
                      </a:lnTo>
                      <a:lnTo>
                        <a:pt x="972" y="996"/>
                      </a:lnTo>
                      <a:lnTo>
                        <a:pt x="960" y="990"/>
                      </a:lnTo>
                      <a:lnTo>
                        <a:pt x="948" y="984"/>
                      </a:lnTo>
                      <a:lnTo>
                        <a:pt x="930" y="984"/>
                      </a:lnTo>
                      <a:lnTo>
                        <a:pt x="918" y="978"/>
                      </a:lnTo>
                      <a:lnTo>
                        <a:pt x="906" y="972"/>
                      </a:lnTo>
                      <a:lnTo>
                        <a:pt x="906" y="960"/>
                      </a:lnTo>
                      <a:lnTo>
                        <a:pt x="906" y="948"/>
                      </a:lnTo>
                      <a:lnTo>
                        <a:pt x="912" y="936"/>
                      </a:lnTo>
                      <a:lnTo>
                        <a:pt x="918" y="918"/>
                      </a:lnTo>
                      <a:lnTo>
                        <a:pt x="924" y="906"/>
                      </a:lnTo>
                      <a:lnTo>
                        <a:pt x="924" y="894"/>
                      </a:lnTo>
                      <a:lnTo>
                        <a:pt x="930" y="882"/>
                      </a:lnTo>
                      <a:lnTo>
                        <a:pt x="924" y="870"/>
                      </a:lnTo>
                      <a:lnTo>
                        <a:pt x="912" y="858"/>
                      </a:lnTo>
                      <a:lnTo>
                        <a:pt x="900" y="852"/>
                      </a:lnTo>
                      <a:lnTo>
                        <a:pt x="882" y="846"/>
                      </a:lnTo>
                      <a:lnTo>
                        <a:pt x="864" y="846"/>
                      </a:lnTo>
                      <a:lnTo>
                        <a:pt x="852" y="846"/>
                      </a:lnTo>
                      <a:lnTo>
                        <a:pt x="846" y="840"/>
                      </a:lnTo>
                      <a:lnTo>
                        <a:pt x="846" y="834"/>
                      </a:lnTo>
                      <a:lnTo>
                        <a:pt x="846" y="828"/>
                      </a:lnTo>
                      <a:lnTo>
                        <a:pt x="852" y="816"/>
                      </a:lnTo>
                      <a:lnTo>
                        <a:pt x="858" y="810"/>
                      </a:lnTo>
                      <a:lnTo>
                        <a:pt x="864" y="804"/>
                      </a:lnTo>
                      <a:lnTo>
                        <a:pt x="876" y="798"/>
                      </a:lnTo>
                      <a:lnTo>
                        <a:pt x="882" y="786"/>
                      </a:lnTo>
                      <a:lnTo>
                        <a:pt x="882" y="780"/>
                      </a:lnTo>
                      <a:lnTo>
                        <a:pt x="870" y="768"/>
                      </a:lnTo>
                      <a:lnTo>
                        <a:pt x="858" y="762"/>
                      </a:lnTo>
                      <a:lnTo>
                        <a:pt x="840" y="756"/>
                      </a:lnTo>
                      <a:lnTo>
                        <a:pt x="828" y="756"/>
                      </a:lnTo>
                      <a:lnTo>
                        <a:pt x="816" y="762"/>
                      </a:lnTo>
                      <a:lnTo>
                        <a:pt x="804" y="768"/>
                      </a:lnTo>
                      <a:lnTo>
                        <a:pt x="798" y="780"/>
                      </a:lnTo>
                      <a:lnTo>
                        <a:pt x="786" y="792"/>
                      </a:lnTo>
                      <a:lnTo>
                        <a:pt x="780" y="804"/>
                      </a:lnTo>
                      <a:lnTo>
                        <a:pt x="768" y="816"/>
                      </a:lnTo>
                      <a:lnTo>
                        <a:pt x="768" y="822"/>
                      </a:lnTo>
                      <a:lnTo>
                        <a:pt x="768" y="834"/>
                      </a:lnTo>
                      <a:lnTo>
                        <a:pt x="768" y="840"/>
                      </a:lnTo>
                      <a:lnTo>
                        <a:pt x="774" y="846"/>
                      </a:lnTo>
                      <a:lnTo>
                        <a:pt x="774" y="858"/>
                      </a:lnTo>
                      <a:lnTo>
                        <a:pt x="780" y="870"/>
                      </a:lnTo>
                      <a:lnTo>
                        <a:pt x="786" y="882"/>
                      </a:lnTo>
                      <a:lnTo>
                        <a:pt x="786" y="894"/>
                      </a:lnTo>
                      <a:lnTo>
                        <a:pt x="786" y="906"/>
                      </a:lnTo>
                      <a:lnTo>
                        <a:pt x="774" y="912"/>
                      </a:lnTo>
                      <a:lnTo>
                        <a:pt x="768" y="918"/>
                      </a:lnTo>
                      <a:lnTo>
                        <a:pt x="750" y="924"/>
                      </a:lnTo>
                      <a:lnTo>
                        <a:pt x="732" y="924"/>
                      </a:lnTo>
                      <a:lnTo>
                        <a:pt x="714" y="918"/>
                      </a:lnTo>
                      <a:lnTo>
                        <a:pt x="702" y="912"/>
                      </a:lnTo>
                      <a:lnTo>
                        <a:pt x="690" y="900"/>
                      </a:lnTo>
                      <a:lnTo>
                        <a:pt x="684" y="888"/>
                      </a:lnTo>
                      <a:lnTo>
                        <a:pt x="678" y="870"/>
                      </a:lnTo>
                      <a:lnTo>
                        <a:pt x="672" y="864"/>
                      </a:lnTo>
                      <a:lnTo>
                        <a:pt x="660" y="858"/>
                      </a:lnTo>
                      <a:lnTo>
                        <a:pt x="648" y="846"/>
                      </a:lnTo>
                      <a:lnTo>
                        <a:pt x="636" y="840"/>
                      </a:lnTo>
                      <a:lnTo>
                        <a:pt x="624" y="822"/>
                      </a:lnTo>
                      <a:lnTo>
                        <a:pt x="612" y="810"/>
                      </a:lnTo>
                      <a:lnTo>
                        <a:pt x="594" y="798"/>
                      </a:lnTo>
                      <a:lnTo>
                        <a:pt x="582" y="798"/>
                      </a:lnTo>
                      <a:lnTo>
                        <a:pt x="570" y="798"/>
                      </a:lnTo>
                      <a:lnTo>
                        <a:pt x="564" y="804"/>
                      </a:lnTo>
                      <a:lnTo>
                        <a:pt x="558" y="810"/>
                      </a:lnTo>
                      <a:lnTo>
                        <a:pt x="564" y="822"/>
                      </a:lnTo>
                      <a:lnTo>
                        <a:pt x="564" y="840"/>
                      </a:lnTo>
                      <a:lnTo>
                        <a:pt x="564" y="852"/>
                      </a:lnTo>
                      <a:lnTo>
                        <a:pt x="558" y="858"/>
                      </a:lnTo>
                      <a:lnTo>
                        <a:pt x="546" y="858"/>
                      </a:lnTo>
                      <a:lnTo>
                        <a:pt x="534" y="858"/>
                      </a:lnTo>
                      <a:lnTo>
                        <a:pt x="516" y="852"/>
                      </a:lnTo>
                      <a:lnTo>
                        <a:pt x="498" y="834"/>
                      </a:lnTo>
                      <a:lnTo>
                        <a:pt x="480" y="816"/>
                      </a:lnTo>
                      <a:lnTo>
                        <a:pt x="462" y="792"/>
                      </a:lnTo>
                      <a:lnTo>
                        <a:pt x="450" y="780"/>
                      </a:lnTo>
                      <a:lnTo>
                        <a:pt x="432" y="774"/>
                      </a:lnTo>
                      <a:lnTo>
                        <a:pt x="414" y="774"/>
                      </a:lnTo>
                      <a:lnTo>
                        <a:pt x="402" y="774"/>
                      </a:lnTo>
                      <a:lnTo>
                        <a:pt x="384" y="768"/>
                      </a:lnTo>
                      <a:lnTo>
                        <a:pt x="372" y="762"/>
                      </a:lnTo>
                      <a:lnTo>
                        <a:pt x="348" y="750"/>
                      </a:lnTo>
                      <a:lnTo>
                        <a:pt x="318" y="738"/>
                      </a:lnTo>
                      <a:lnTo>
                        <a:pt x="288" y="732"/>
                      </a:lnTo>
                      <a:lnTo>
                        <a:pt x="270" y="732"/>
                      </a:lnTo>
                      <a:lnTo>
                        <a:pt x="252" y="720"/>
                      </a:lnTo>
                      <a:lnTo>
                        <a:pt x="240" y="708"/>
                      </a:lnTo>
                      <a:lnTo>
                        <a:pt x="234" y="690"/>
                      </a:lnTo>
                      <a:lnTo>
                        <a:pt x="234" y="672"/>
                      </a:lnTo>
                      <a:lnTo>
                        <a:pt x="228" y="660"/>
                      </a:lnTo>
                      <a:lnTo>
                        <a:pt x="222" y="654"/>
                      </a:lnTo>
                      <a:lnTo>
                        <a:pt x="210" y="648"/>
                      </a:lnTo>
                      <a:lnTo>
                        <a:pt x="198" y="648"/>
                      </a:lnTo>
                      <a:lnTo>
                        <a:pt x="186" y="648"/>
                      </a:lnTo>
                      <a:lnTo>
                        <a:pt x="174" y="642"/>
                      </a:lnTo>
                      <a:lnTo>
                        <a:pt x="162" y="636"/>
                      </a:lnTo>
                      <a:lnTo>
                        <a:pt x="150" y="630"/>
                      </a:lnTo>
                      <a:lnTo>
                        <a:pt x="138" y="630"/>
                      </a:lnTo>
                      <a:lnTo>
                        <a:pt x="126" y="642"/>
                      </a:lnTo>
                      <a:lnTo>
                        <a:pt x="114" y="654"/>
                      </a:lnTo>
                      <a:lnTo>
                        <a:pt x="96" y="672"/>
                      </a:lnTo>
                      <a:lnTo>
                        <a:pt x="84" y="684"/>
                      </a:lnTo>
                      <a:lnTo>
                        <a:pt x="72" y="684"/>
                      </a:lnTo>
                      <a:lnTo>
                        <a:pt x="66" y="684"/>
                      </a:lnTo>
                      <a:lnTo>
                        <a:pt x="60" y="672"/>
                      </a:lnTo>
                      <a:lnTo>
                        <a:pt x="54" y="666"/>
                      </a:lnTo>
                      <a:lnTo>
                        <a:pt x="48" y="654"/>
                      </a:lnTo>
                      <a:lnTo>
                        <a:pt x="54" y="642"/>
                      </a:lnTo>
                      <a:lnTo>
                        <a:pt x="60" y="630"/>
                      </a:lnTo>
                      <a:lnTo>
                        <a:pt x="54" y="618"/>
                      </a:lnTo>
                      <a:lnTo>
                        <a:pt x="48" y="606"/>
                      </a:lnTo>
                      <a:lnTo>
                        <a:pt x="42" y="600"/>
                      </a:lnTo>
                      <a:lnTo>
                        <a:pt x="36" y="588"/>
                      </a:lnTo>
                      <a:lnTo>
                        <a:pt x="30" y="576"/>
                      </a:lnTo>
                      <a:lnTo>
                        <a:pt x="30" y="564"/>
                      </a:lnTo>
                      <a:lnTo>
                        <a:pt x="18" y="552"/>
                      </a:lnTo>
                      <a:lnTo>
                        <a:pt x="12" y="540"/>
                      </a:lnTo>
                      <a:lnTo>
                        <a:pt x="6" y="528"/>
                      </a:lnTo>
                      <a:lnTo>
                        <a:pt x="0" y="516"/>
                      </a:lnTo>
                      <a:lnTo>
                        <a:pt x="6" y="504"/>
                      </a:lnTo>
                      <a:lnTo>
                        <a:pt x="12" y="492"/>
                      </a:lnTo>
                      <a:lnTo>
                        <a:pt x="18" y="486"/>
                      </a:lnTo>
                      <a:lnTo>
                        <a:pt x="30" y="486"/>
                      </a:lnTo>
                      <a:lnTo>
                        <a:pt x="42" y="492"/>
                      </a:lnTo>
                      <a:lnTo>
                        <a:pt x="54" y="492"/>
                      </a:lnTo>
                      <a:lnTo>
                        <a:pt x="66" y="498"/>
                      </a:lnTo>
                      <a:lnTo>
                        <a:pt x="84" y="498"/>
                      </a:lnTo>
                      <a:lnTo>
                        <a:pt x="96" y="504"/>
                      </a:lnTo>
                      <a:lnTo>
                        <a:pt x="114" y="516"/>
                      </a:lnTo>
                      <a:lnTo>
                        <a:pt x="132" y="528"/>
                      </a:lnTo>
                      <a:lnTo>
                        <a:pt x="150" y="546"/>
                      </a:lnTo>
                      <a:lnTo>
                        <a:pt x="168" y="552"/>
                      </a:lnTo>
                      <a:lnTo>
                        <a:pt x="180" y="558"/>
                      </a:lnTo>
                      <a:lnTo>
                        <a:pt x="192" y="552"/>
                      </a:lnTo>
                      <a:lnTo>
                        <a:pt x="192" y="546"/>
                      </a:lnTo>
                      <a:lnTo>
                        <a:pt x="198" y="540"/>
                      </a:lnTo>
                      <a:lnTo>
                        <a:pt x="192" y="528"/>
                      </a:lnTo>
                      <a:lnTo>
                        <a:pt x="192" y="510"/>
                      </a:lnTo>
                      <a:lnTo>
                        <a:pt x="186" y="498"/>
                      </a:lnTo>
                      <a:lnTo>
                        <a:pt x="180" y="486"/>
                      </a:lnTo>
                      <a:lnTo>
                        <a:pt x="150" y="456"/>
                      </a:lnTo>
                      <a:lnTo>
                        <a:pt x="114" y="438"/>
                      </a:lnTo>
                      <a:lnTo>
                        <a:pt x="72" y="432"/>
                      </a:lnTo>
                      <a:lnTo>
                        <a:pt x="48" y="432"/>
                      </a:lnTo>
                      <a:lnTo>
                        <a:pt x="36" y="426"/>
                      </a:lnTo>
                      <a:lnTo>
                        <a:pt x="30" y="420"/>
                      </a:lnTo>
                      <a:lnTo>
                        <a:pt x="24" y="408"/>
                      </a:lnTo>
                      <a:lnTo>
                        <a:pt x="18" y="390"/>
                      </a:lnTo>
                      <a:lnTo>
                        <a:pt x="18" y="360"/>
                      </a:lnTo>
                      <a:lnTo>
                        <a:pt x="24" y="324"/>
                      </a:lnTo>
                      <a:lnTo>
                        <a:pt x="42" y="282"/>
                      </a:lnTo>
                      <a:lnTo>
                        <a:pt x="66" y="252"/>
                      </a:lnTo>
                      <a:lnTo>
                        <a:pt x="78" y="228"/>
                      </a:lnTo>
                      <a:lnTo>
                        <a:pt x="78" y="210"/>
                      </a:lnTo>
                      <a:lnTo>
                        <a:pt x="84" y="192"/>
                      </a:lnTo>
                      <a:lnTo>
                        <a:pt x="96" y="174"/>
                      </a:lnTo>
                      <a:lnTo>
                        <a:pt x="114" y="156"/>
                      </a:lnTo>
                      <a:lnTo>
                        <a:pt x="132" y="150"/>
                      </a:lnTo>
                      <a:lnTo>
                        <a:pt x="150" y="144"/>
                      </a:lnTo>
                      <a:lnTo>
                        <a:pt x="168" y="144"/>
                      </a:lnTo>
                      <a:lnTo>
                        <a:pt x="186" y="144"/>
                      </a:lnTo>
                      <a:lnTo>
                        <a:pt x="198" y="144"/>
                      </a:lnTo>
                      <a:lnTo>
                        <a:pt x="204" y="138"/>
                      </a:lnTo>
                      <a:lnTo>
                        <a:pt x="210" y="132"/>
                      </a:lnTo>
                      <a:lnTo>
                        <a:pt x="204" y="114"/>
                      </a:lnTo>
                      <a:lnTo>
                        <a:pt x="204" y="90"/>
                      </a:lnTo>
                      <a:lnTo>
                        <a:pt x="210" y="72"/>
                      </a:lnTo>
                      <a:lnTo>
                        <a:pt x="222" y="60"/>
                      </a:lnTo>
                      <a:lnTo>
                        <a:pt x="234" y="42"/>
                      </a:lnTo>
                      <a:lnTo>
                        <a:pt x="252" y="30"/>
                      </a:lnTo>
                      <a:lnTo>
                        <a:pt x="282" y="12"/>
                      </a:lnTo>
                      <a:lnTo>
                        <a:pt x="324" y="12"/>
                      </a:lnTo>
                      <a:lnTo>
                        <a:pt x="354" y="12"/>
                      </a:lnTo>
                      <a:lnTo>
                        <a:pt x="378" y="6"/>
                      </a:lnTo>
                      <a:lnTo>
                        <a:pt x="426" y="0"/>
                      </a:lnTo>
                      <a:lnTo>
                        <a:pt x="48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4" name="Freeform 354">
                  <a:extLst>
                    <a:ext uri="{FF2B5EF4-FFF2-40B4-BE49-F238E27FC236}">
                      <a16:creationId xmlns:a16="http://schemas.microsoft.com/office/drawing/2014/main" id="{A50717D3-3952-42D7-AC15-32DB93899D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079" y="-6030"/>
                  <a:ext cx="78" cy="42"/>
                </a:xfrm>
                <a:custGeom>
                  <a:avLst/>
                  <a:gdLst>
                    <a:gd name="T0" fmla="*/ 12 w 78"/>
                    <a:gd name="T1" fmla="*/ 0 h 42"/>
                    <a:gd name="T2" fmla="*/ 30 w 78"/>
                    <a:gd name="T3" fmla="*/ 0 h 42"/>
                    <a:gd name="T4" fmla="*/ 42 w 78"/>
                    <a:gd name="T5" fmla="*/ 6 h 42"/>
                    <a:gd name="T6" fmla="*/ 54 w 78"/>
                    <a:gd name="T7" fmla="*/ 6 h 42"/>
                    <a:gd name="T8" fmla="*/ 66 w 78"/>
                    <a:gd name="T9" fmla="*/ 12 h 42"/>
                    <a:gd name="T10" fmla="*/ 72 w 78"/>
                    <a:gd name="T11" fmla="*/ 18 h 42"/>
                    <a:gd name="T12" fmla="*/ 78 w 78"/>
                    <a:gd name="T13" fmla="*/ 24 h 42"/>
                    <a:gd name="T14" fmla="*/ 72 w 78"/>
                    <a:gd name="T15" fmla="*/ 30 h 42"/>
                    <a:gd name="T16" fmla="*/ 60 w 78"/>
                    <a:gd name="T17" fmla="*/ 36 h 42"/>
                    <a:gd name="T18" fmla="*/ 48 w 78"/>
                    <a:gd name="T19" fmla="*/ 42 h 42"/>
                    <a:gd name="T20" fmla="*/ 36 w 78"/>
                    <a:gd name="T21" fmla="*/ 36 h 42"/>
                    <a:gd name="T22" fmla="*/ 24 w 78"/>
                    <a:gd name="T23" fmla="*/ 36 h 42"/>
                    <a:gd name="T24" fmla="*/ 12 w 78"/>
                    <a:gd name="T25" fmla="*/ 30 h 42"/>
                    <a:gd name="T26" fmla="*/ 6 w 78"/>
                    <a:gd name="T27" fmla="*/ 24 h 42"/>
                    <a:gd name="T28" fmla="*/ 0 w 78"/>
                    <a:gd name="T29" fmla="*/ 18 h 42"/>
                    <a:gd name="T30" fmla="*/ 0 w 78"/>
                    <a:gd name="T31" fmla="*/ 12 h 42"/>
                    <a:gd name="T32" fmla="*/ 0 w 78"/>
                    <a:gd name="T33" fmla="*/ 6 h 42"/>
                    <a:gd name="T34" fmla="*/ 12 w 78"/>
                    <a:gd name="T35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8" h="42">
                      <a:moveTo>
                        <a:pt x="12" y="0"/>
                      </a:moveTo>
                      <a:lnTo>
                        <a:pt x="30" y="0"/>
                      </a:lnTo>
                      <a:lnTo>
                        <a:pt x="42" y="6"/>
                      </a:lnTo>
                      <a:lnTo>
                        <a:pt x="54" y="6"/>
                      </a:lnTo>
                      <a:lnTo>
                        <a:pt x="66" y="12"/>
                      </a:lnTo>
                      <a:lnTo>
                        <a:pt x="72" y="18"/>
                      </a:lnTo>
                      <a:lnTo>
                        <a:pt x="78" y="24"/>
                      </a:lnTo>
                      <a:lnTo>
                        <a:pt x="72" y="30"/>
                      </a:lnTo>
                      <a:lnTo>
                        <a:pt x="60" y="36"/>
                      </a:lnTo>
                      <a:lnTo>
                        <a:pt x="48" y="42"/>
                      </a:lnTo>
                      <a:lnTo>
                        <a:pt x="36" y="36"/>
                      </a:lnTo>
                      <a:lnTo>
                        <a:pt x="24" y="36"/>
                      </a:lnTo>
                      <a:lnTo>
                        <a:pt x="12" y="30"/>
                      </a:lnTo>
                      <a:lnTo>
                        <a:pt x="6" y="24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5" name="Freeform 355">
                  <a:extLst>
                    <a:ext uri="{FF2B5EF4-FFF2-40B4-BE49-F238E27FC236}">
                      <a16:creationId xmlns:a16="http://schemas.microsoft.com/office/drawing/2014/main" id="{9B80F214-887B-458E-A1DA-F7505928B5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415" y="-6342"/>
                  <a:ext cx="90" cy="78"/>
                </a:xfrm>
                <a:custGeom>
                  <a:avLst/>
                  <a:gdLst>
                    <a:gd name="T0" fmla="*/ 78 w 90"/>
                    <a:gd name="T1" fmla="*/ 0 h 78"/>
                    <a:gd name="T2" fmla="*/ 90 w 90"/>
                    <a:gd name="T3" fmla="*/ 6 h 78"/>
                    <a:gd name="T4" fmla="*/ 90 w 90"/>
                    <a:gd name="T5" fmla="*/ 12 h 78"/>
                    <a:gd name="T6" fmla="*/ 90 w 90"/>
                    <a:gd name="T7" fmla="*/ 18 h 78"/>
                    <a:gd name="T8" fmla="*/ 84 w 90"/>
                    <a:gd name="T9" fmla="*/ 30 h 78"/>
                    <a:gd name="T10" fmla="*/ 78 w 90"/>
                    <a:gd name="T11" fmla="*/ 42 h 78"/>
                    <a:gd name="T12" fmla="*/ 66 w 90"/>
                    <a:gd name="T13" fmla="*/ 54 h 78"/>
                    <a:gd name="T14" fmla="*/ 48 w 90"/>
                    <a:gd name="T15" fmla="*/ 66 h 78"/>
                    <a:gd name="T16" fmla="*/ 30 w 90"/>
                    <a:gd name="T17" fmla="*/ 72 h 78"/>
                    <a:gd name="T18" fmla="*/ 18 w 90"/>
                    <a:gd name="T19" fmla="*/ 78 h 78"/>
                    <a:gd name="T20" fmla="*/ 12 w 90"/>
                    <a:gd name="T21" fmla="*/ 72 h 78"/>
                    <a:gd name="T22" fmla="*/ 6 w 90"/>
                    <a:gd name="T23" fmla="*/ 72 h 78"/>
                    <a:gd name="T24" fmla="*/ 0 w 90"/>
                    <a:gd name="T25" fmla="*/ 60 h 78"/>
                    <a:gd name="T26" fmla="*/ 0 w 90"/>
                    <a:gd name="T27" fmla="*/ 54 h 78"/>
                    <a:gd name="T28" fmla="*/ 6 w 90"/>
                    <a:gd name="T29" fmla="*/ 42 h 78"/>
                    <a:gd name="T30" fmla="*/ 12 w 90"/>
                    <a:gd name="T31" fmla="*/ 30 h 78"/>
                    <a:gd name="T32" fmla="*/ 18 w 90"/>
                    <a:gd name="T33" fmla="*/ 24 h 78"/>
                    <a:gd name="T34" fmla="*/ 30 w 90"/>
                    <a:gd name="T35" fmla="*/ 12 h 78"/>
                    <a:gd name="T36" fmla="*/ 48 w 90"/>
                    <a:gd name="T37" fmla="*/ 6 h 78"/>
                    <a:gd name="T38" fmla="*/ 66 w 90"/>
                    <a:gd name="T39" fmla="*/ 0 h 78"/>
                    <a:gd name="T40" fmla="*/ 78 w 90"/>
                    <a:gd name="T41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0" h="78">
                      <a:moveTo>
                        <a:pt x="78" y="0"/>
                      </a:moveTo>
                      <a:lnTo>
                        <a:pt x="90" y="6"/>
                      </a:lnTo>
                      <a:lnTo>
                        <a:pt x="90" y="12"/>
                      </a:lnTo>
                      <a:lnTo>
                        <a:pt x="90" y="18"/>
                      </a:lnTo>
                      <a:lnTo>
                        <a:pt x="84" y="30"/>
                      </a:lnTo>
                      <a:lnTo>
                        <a:pt x="78" y="42"/>
                      </a:lnTo>
                      <a:lnTo>
                        <a:pt x="66" y="54"/>
                      </a:lnTo>
                      <a:lnTo>
                        <a:pt x="48" y="66"/>
                      </a:lnTo>
                      <a:lnTo>
                        <a:pt x="30" y="72"/>
                      </a:lnTo>
                      <a:lnTo>
                        <a:pt x="18" y="78"/>
                      </a:lnTo>
                      <a:lnTo>
                        <a:pt x="12" y="72"/>
                      </a:lnTo>
                      <a:lnTo>
                        <a:pt x="6" y="72"/>
                      </a:lnTo>
                      <a:lnTo>
                        <a:pt x="0" y="60"/>
                      </a:lnTo>
                      <a:lnTo>
                        <a:pt x="0" y="54"/>
                      </a:lnTo>
                      <a:lnTo>
                        <a:pt x="6" y="42"/>
                      </a:lnTo>
                      <a:lnTo>
                        <a:pt x="12" y="30"/>
                      </a:lnTo>
                      <a:lnTo>
                        <a:pt x="18" y="24"/>
                      </a:lnTo>
                      <a:lnTo>
                        <a:pt x="30" y="12"/>
                      </a:lnTo>
                      <a:lnTo>
                        <a:pt x="48" y="6"/>
                      </a:lnTo>
                      <a:lnTo>
                        <a:pt x="66" y="0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6" name="Freeform 359">
                  <a:extLst>
                    <a:ext uri="{FF2B5EF4-FFF2-40B4-BE49-F238E27FC236}">
                      <a16:creationId xmlns:a16="http://schemas.microsoft.com/office/drawing/2014/main" id="{1D5EEB3B-DCC9-4A09-A57C-CF84F5FFD2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61" y="-4098"/>
                  <a:ext cx="114" cy="102"/>
                </a:xfrm>
                <a:custGeom>
                  <a:avLst/>
                  <a:gdLst>
                    <a:gd name="T0" fmla="*/ 90 w 114"/>
                    <a:gd name="T1" fmla="*/ 0 h 102"/>
                    <a:gd name="T2" fmla="*/ 102 w 114"/>
                    <a:gd name="T3" fmla="*/ 0 h 102"/>
                    <a:gd name="T4" fmla="*/ 108 w 114"/>
                    <a:gd name="T5" fmla="*/ 6 h 102"/>
                    <a:gd name="T6" fmla="*/ 114 w 114"/>
                    <a:gd name="T7" fmla="*/ 18 h 102"/>
                    <a:gd name="T8" fmla="*/ 108 w 114"/>
                    <a:gd name="T9" fmla="*/ 36 h 102"/>
                    <a:gd name="T10" fmla="*/ 108 w 114"/>
                    <a:gd name="T11" fmla="*/ 48 h 102"/>
                    <a:gd name="T12" fmla="*/ 96 w 114"/>
                    <a:gd name="T13" fmla="*/ 66 h 102"/>
                    <a:gd name="T14" fmla="*/ 84 w 114"/>
                    <a:gd name="T15" fmla="*/ 78 h 102"/>
                    <a:gd name="T16" fmla="*/ 66 w 114"/>
                    <a:gd name="T17" fmla="*/ 90 h 102"/>
                    <a:gd name="T18" fmla="*/ 48 w 114"/>
                    <a:gd name="T19" fmla="*/ 102 h 102"/>
                    <a:gd name="T20" fmla="*/ 30 w 114"/>
                    <a:gd name="T21" fmla="*/ 102 h 102"/>
                    <a:gd name="T22" fmla="*/ 18 w 114"/>
                    <a:gd name="T23" fmla="*/ 102 h 102"/>
                    <a:gd name="T24" fmla="*/ 12 w 114"/>
                    <a:gd name="T25" fmla="*/ 90 h 102"/>
                    <a:gd name="T26" fmla="*/ 0 w 114"/>
                    <a:gd name="T27" fmla="*/ 78 h 102"/>
                    <a:gd name="T28" fmla="*/ 0 w 114"/>
                    <a:gd name="T29" fmla="*/ 66 h 102"/>
                    <a:gd name="T30" fmla="*/ 0 w 114"/>
                    <a:gd name="T31" fmla="*/ 54 h 102"/>
                    <a:gd name="T32" fmla="*/ 0 w 114"/>
                    <a:gd name="T33" fmla="*/ 48 h 102"/>
                    <a:gd name="T34" fmla="*/ 12 w 114"/>
                    <a:gd name="T35" fmla="*/ 36 h 102"/>
                    <a:gd name="T36" fmla="*/ 24 w 114"/>
                    <a:gd name="T37" fmla="*/ 30 h 102"/>
                    <a:gd name="T38" fmla="*/ 36 w 114"/>
                    <a:gd name="T39" fmla="*/ 18 h 102"/>
                    <a:gd name="T40" fmla="*/ 48 w 114"/>
                    <a:gd name="T41" fmla="*/ 12 h 102"/>
                    <a:gd name="T42" fmla="*/ 60 w 114"/>
                    <a:gd name="T43" fmla="*/ 6 h 102"/>
                    <a:gd name="T44" fmla="*/ 78 w 114"/>
                    <a:gd name="T45" fmla="*/ 0 h 102"/>
                    <a:gd name="T46" fmla="*/ 90 w 114"/>
                    <a:gd name="T4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14" h="102">
                      <a:moveTo>
                        <a:pt x="90" y="0"/>
                      </a:moveTo>
                      <a:lnTo>
                        <a:pt x="102" y="0"/>
                      </a:lnTo>
                      <a:lnTo>
                        <a:pt x="108" y="6"/>
                      </a:lnTo>
                      <a:lnTo>
                        <a:pt x="114" y="18"/>
                      </a:lnTo>
                      <a:lnTo>
                        <a:pt x="108" y="36"/>
                      </a:lnTo>
                      <a:lnTo>
                        <a:pt x="108" y="48"/>
                      </a:lnTo>
                      <a:lnTo>
                        <a:pt x="96" y="66"/>
                      </a:lnTo>
                      <a:lnTo>
                        <a:pt x="84" y="78"/>
                      </a:lnTo>
                      <a:lnTo>
                        <a:pt x="66" y="90"/>
                      </a:lnTo>
                      <a:lnTo>
                        <a:pt x="48" y="102"/>
                      </a:lnTo>
                      <a:lnTo>
                        <a:pt x="30" y="102"/>
                      </a:lnTo>
                      <a:lnTo>
                        <a:pt x="18" y="102"/>
                      </a:lnTo>
                      <a:lnTo>
                        <a:pt x="12" y="90"/>
                      </a:lnTo>
                      <a:lnTo>
                        <a:pt x="0" y="78"/>
                      </a:lnTo>
                      <a:lnTo>
                        <a:pt x="0" y="66"/>
                      </a:lnTo>
                      <a:lnTo>
                        <a:pt x="0" y="54"/>
                      </a:lnTo>
                      <a:lnTo>
                        <a:pt x="0" y="48"/>
                      </a:lnTo>
                      <a:lnTo>
                        <a:pt x="12" y="36"/>
                      </a:lnTo>
                      <a:lnTo>
                        <a:pt x="24" y="30"/>
                      </a:lnTo>
                      <a:lnTo>
                        <a:pt x="36" y="18"/>
                      </a:lnTo>
                      <a:lnTo>
                        <a:pt x="48" y="12"/>
                      </a:lnTo>
                      <a:lnTo>
                        <a:pt x="60" y="6"/>
                      </a:lnTo>
                      <a:lnTo>
                        <a:pt x="78" y="0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7" name="Freeform 360">
                  <a:extLst>
                    <a:ext uri="{FF2B5EF4-FFF2-40B4-BE49-F238E27FC236}">
                      <a16:creationId xmlns:a16="http://schemas.microsoft.com/office/drawing/2014/main" id="{C31FBBD2-BA37-41BA-993C-F9D4388921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43" y="-4248"/>
                  <a:ext cx="54" cy="84"/>
                </a:xfrm>
                <a:custGeom>
                  <a:avLst/>
                  <a:gdLst>
                    <a:gd name="T0" fmla="*/ 24 w 54"/>
                    <a:gd name="T1" fmla="*/ 0 h 84"/>
                    <a:gd name="T2" fmla="*/ 30 w 54"/>
                    <a:gd name="T3" fmla="*/ 0 h 84"/>
                    <a:gd name="T4" fmla="*/ 36 w 54"/>
                    <a:gd name="T5" fmla="*/ 6 h 84"/>
                    <a:gd name="T6" fmla="*/ 42 w 54"/>
                    <a:gd name="T7" fmla="*/ 18 h 84"/>
                    <a:gd name="T8" fmla="*/ 48 w 54"/>
                    <a:gd name="T9" fmla="*/ 30 h 84"/>
                    <a:gd name="T10" fmla="*/ 48 w 54"/>
                    <a:gd name="T11" fmla="*/ 48 h 84"/>
                    <a:gd name="T12" fmla="*/ 54 w 54"/>
                    <a:gd name="T13" fmla="*/ 60 h 84"/>
                    <a:gd name="T14" fmla="*/ 48 w 54"/>
                    <a:gd name="T15" fmla="*/ 72 h 84"/>
                    <a:gd name="T16" fmla="*/ 42 w 54"/>
                    <a:gd name="T17" fmla="*/ 78 h 84"/>
                    <a:gd name="T18" fmla="*/ 30 w 54"/>
                    <a:gd name="T19" fmla="*/ 84 h 84"/>
                    <a:gd name="T20" fmla="*/ 18 w 54"/>
                    <a:gd name="T21" fmla="*/ 84 h 84"/>
                    <a:gd name="T22" fmla="*/ 6 w 54"/>
                    <a:gd name="T23" fmla="*/ 84 h 84"/>
                    <a:gd name="T24" fmla="*/ 0 w 54"/>
                    <a:gd name="T25" fmla="*/ 72 h 84"/>
                    <a:gd name="T26" fmla="*/ 0 w 54"/>
                    <a:gd name="T27" fmla="*/ 60 h 84"/>
                    <a:gd name="T28" fmla="*/ 0 w 54"/>
                    <a:gd name="T29" fmla="*/ 42 h 84"/>
                    <a:gd name="T30" fmla="*/ 6 w 54"/>
                    <a:gd name="T31" fmla="*/ 24 h 84"/>
                    <a:gd name="T32" fmla="*/ 12 w 54"/>
                    <a:gd name="T33" fmla="*/ 6 h 84"/>
                    <a:gd name="T34" fmla="*/ 18 w 54"/>
                    <a:gd name="T35" fmla="*/ 0 h 84"/>
                    <a:gd name="T36" fmla="*/ 24 w 54"/>
                    <a:gd name="T37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4" h="84">
                      <a:moveTo>
                        <a:pt x="24" y="0"/>
                      </a:moveTo>
                      <a:lnTo>
                        <a:pt x="30" y="0"/>
                      </a:lnTo>
                      <a:lnTo>
                        <a:pt x="36" y="6"/>
                      </a:lnTo>
                      <a:lnTo>
                        <a:pt x="42" y="18"/>
                      </a:lnTo>
                      <a:lnTo>
                        <a:pt x="48" y="30"/>
                      </a:lnTo>
                      <a:lnTo>
                        <a:pt x="48" y="48"/>
                      </a:lnTo>
                      <a:lnTo>
                        <a:pt x="54" y="60"/>
                      </a:lnTo>
                      <a:lnTo>
                        <a:pt x="48" y="72"/>
                      </a:lnTo>
                      <a:lnTo>
                        <a:pt x="42" y="78"/>
                      </a:lnTo>
                      <a:lnTo>
                        <a:pt x="30" y="84"/>
                      </a:lnTo>
                      <a:lnTo>
                        <a:pt x="18" y="84"/>
                      </a:lnTo>
                      <a:lnTo>
                        <a:pt x="6" y="84"/>
                      </a:lnTo>
                      <a:lnTo>
                        <a:pt x="0" y="72"/>
                      </a:lnTo>
                      <a:lnTo>
                        <a:pt x="0" y="60"/>
                      </a:lnTo>
                      <a:lnTo>
                        <a:pt x="0" y="42"/>
                      </a:lnTo>
                      <a:lnTo>
                        <a:pt x="6" y="24"/>
                      </a:lnTo>
                      <a:lnTo>
                        <a:pt x="12" y="6"/>
                      </a:lnTo>
                      <a:lnTo>
                        <a:pt x="18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8" name="Freeform 361">
                  <a:extLst>
                    <a:ext uri="{FF2B5EF4-FFF2-40B4-BE49-F238E27FC236}">
                      <a16:creationId xmlns:a16="http://schemas.microsoft.com/office/drawing/2014/main" id="{33E32CB1-9DED-487C-B2CC-9BF934CCDB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55" y="-3600"/>
                  <a:ext cx="66" cy="102"/>
                </a:xfrm>
                <a:custGeom>
                  <a:avLst/>
                  <a:gdLst>
                    <a:gd name="T0" fmla="*/ 24 w 66"/>
                    <a:gd name="T1" fmla="*/ 0 h 102"/>
                    <a:gd name="T2" fmla="*/ 36 w 66"/>
                    <a:gd name="T3" fmla="*/ 6 h 102"/>
                    <a:gd name="T4" fmla="*/ 42 w 66"/>
                    <a:gd name="T5" fmla="*/ 12 h 102"/>
                    <a:gd name="T6" fmla="*/ 54 w 66"/>
                    <a:gd name="T7" fmla="*/ 18 h 102"/>
                    <a:gd name="T8" fmla="*/ 60 w 66"/>
                    <a:gd name="T9" fmla="*/ 30 h 102"/>
                    <a:gd name="T10" fmla="*/ 66 w 66"/>
                    <a:gd name="T11" fmla="*/ 42 h 102"/>
                    <a:gd name="T12" fmla="*/ 66 w 66"/>
                    <a:gd name="T13" fmla="*/ 60 h 102"/>
                    <a:gd name="T14" fmla="*/ 60 w 66"/>
                    <a:gd name="T15" fmla="*/ 84 h 102"/>
                    <a:gd name="T16" fmla="*/ 48 w 66"/>
                    <a:gd name="T17" fmla="*/ 96 h 102"/>
                    <a:gd name="T18" fmla="*/ 36 w 66"/>
                    <a:gd name="T19" fmla="*/ 102 h 102"/>
                    <a:gd name="T20" fmla="*/ 24 w 66"/>
                    <a:gd name="T21" fmla="*/ 102 h 102"/>
                    <a:gd name="T22" fmla="*/ 12 w 66"/>
                    <a:gd name="T23" fmla="*/ 90 h 102"/>
                    <a:gd name="T24" fmla="*/ 6 w 66"/>
                    <a:gd name="T25" fmla="*/ 78 h 102"/>
                    <a:gd name="T26" fmla="*/ 0 w 66"/>
                    <a:gd name="T27" fmla="*/ 66 h 102"/>
                    <a:gd name="T28" fmla="*/ 0 w 66"/>
                    <a:gd name="T29" fmla="*/ 54 h 102"/>
                    <a:gd name="T30" fmla="*/ 0 w 66"/>
                    <a:gd name="T31" fmla="*/ 42 h 102"/>
                    <a:gd name="T32" fmla="*/ 0 w 66"/>
                    <a:gd name="T33" fmla="*/ 24 h 102"/>
                    <a:gd name="T34" fmla="*/ 6 w 66"/>
                    <a:gd name="T35" fmla="*/ 12 h 102"/>
                    <a:gd name="T36" fmla="*/ 12 w 66"/>
                    <a:gd name="T37" fmla="*/ 6 h 102"/>
                    <a:gd name="T38" fmla="*/ 24 w 66"/>
                    <a:gd name="T39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6" h="102">
                      <a:moveTo>
                        <a:pt x="24" y="0"/>
                      </a:moveTo>
                      <a:lnTo>
                        <a:pt x="36" y="6"/>
                      </a:lnTo>
                      <a:lnTo>
                        <a:pt x="42" y="12"/>
                      </a:lnTo>
                      <a:lnTo>
                        <a:pt x="54" y="18"/>
                      </a:lnTo>
                      <a:lnTo>
                        <a:pt x="60" y="30"/>
                      </a:lnTo>
                      <a:lnTo>
                        <a:pt x="66" y="42"/>
                      </a:lnTo>
                      <a:lnTo>
                        <a:pt x="66" y="60"/>
                      </a:lnTo>
                      <a:lnTo>
                        <a:pt x="60" y="84"/>
                      </a:lnTo>
                      <a:lnTo>
                        <a:pt x="48" y="96"/>
                      </a:lnTo>
                      <a:lnTo>
                        <a:pt x="36" y="102"/>
                      </a:lnTo>
                      <a:lnTo>
                        <a:pt x="24" y="102"/>
                      </a:lnTo>
                      <a:lnTo>
                        <a:pt x="12" y="90"/>
                      </a:lnTo>
                      <a:lnTo>
                        <a:pt x="6" y="78"/>
                      </a:lnTo>
                      <a:lnTo>
                        <a:pt x="0" y="66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0" y="24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299" name="Freeform 362">
                  <a:extLst>
                    <a:ext uri="{FF2B5EF4-FFF2-40B4-BE49-F238E27FC236}">
                      <a16:creationId xmlns:a16="http://schemas.microsoft.com/office/drawing/2014/main" id="{30B227E7-D306-40DD-8AB8-C1329025F7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15" y="-5790"/>
                  <a:ext cx="78" cy="54"/>
                </a:xfrm>
                <a:custGeom>
                  <a:avLst/>
                  <a:gdLst>
                    <a:gd name="T0" fmla="*/ 36 w 78"/>
                    <a:gd name="T1" fmla="*/ 0 h 54"/>
                    <a:gd name="T2" fmla="*/ 48 w 78"/>
                    <a:gd name="T3" fmla="*/ 0 h 54"/>
                    <a:gd name="T4" fmla="*/ 54 w 78"/>
                    <a:gd name="T5" fmla="*/ 6 h 54"/>
                    <a:gd name="T6" fmla="*/ 60 w 78"/>
                    <a:gd name="T7" fmla="*/ 12 h 54"/>
                    <a:gd name="T8" fmla="*/ 66 w 78"/>
                    <a:gd name="T9" fmla="*/ 24 h 54"/>
                    <a:gd name="T10" fmla="*/ 72 w 78"/>
                    <a:gd name="T11" fmla="*/ 30 h 54"/>
                    <a:gd name="T12" fmla="*/ 78 w 78"/>
                    <a:gd name="T13" fmla="*/ 36 h 54"/>
                    <a:gd name="T14" fmla="*/ 78 w 78"/>
                    <a:gd name="T15" fmla="*/ 48 h 54"/>
                    <a:gd name="T16" fmla="*/ 72 w 78"/>
                    <a:gd name="T17" fmla="*/ 54 h 54"/>
                    <a:gd name="T18" fmla="*/ 60 w 78"/>
                    <a:gd name="T19" fmla="*/ 54 h 54"/>
                    <a:gd name="T20" fmla="*/ 48 w 78"/>
                    <a:gd name="T21" fmla="*/ 54 h 54"/>
                    <a:gd name="T22" fmla="*/ 42 w 78"/>
                    <a:gd name="T23" fmla="*/ 48 h 54"/>
                    <a:gd name="T24" fmla="*/ 30 w 78"/>
                    <a:gd name="T25" fmla="*/ 42 h 54"/>
                    <a:gd name="T26" fmla="*/ 18 w 78"/>
                    <a:gd name="T27" fmla="*/ 36 h 54"/>
                    <a:gd name="T28" fmla="*/ 12 w 78"/>
                    <a:gd name="T29" fmla="*/ 30 h 54"/>
                    <a:gd name="T30" fmla="*/ 6 w 78"/>
                    <a:gd name="T31" fmla="*/ 24 h 54"/>
                    <a:gd name="T32" fmla="*/ 0 w 78"/>
                    <a:gd name="T33" fmla="*/ 12 h 54"/>
                    <a:gd name="T34" fmla="*/ 0 w 78"/>
                    <a:gd name="T35" fmla="*/ 6 h 54"/>
                    <a:gd name="T36" fmla="*/ 12 w 78"/>
                    <a:gd name="T37" fmla="*/ 0 h 54"/>
                    <a:gd name="T38" fmla="*/ 24 w 78"/>
                    <a:gd name="T39" fmla="*/ 0 h 54"/>
                    <a:gd name="T40" fmla="*/ 36 w 78"/>
                    <a:gd name="T41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" h="54">
                      <a:moveTo>
                        <a:pt x="36" y="0"/>
                      </a:moveTo>
                      <a:lnTo>
                        <a:pt x="48" y="0"/>
                      </a:lnTo>
                      <a:lnTo>
                        <a:pt x="54" y="6"/>
                      </a:lnTo>
                      <a:lnTo>
                        <a:pt x="60" y="12"/>
                      </a:lnTo>
                      <a:lnTo>
                        <a:pt x="66" y="24"/>
                      </a:lnTo>
                      <a:lnTo>
                        <a:pt x="72" y="30"/>
                      </a:lnTo>
                      <a:lnTo>
                        <a:pt x="78" y="36"/>
                      </a:lnTo>
                      <a:lnTo>
                        <a:pt x="78" y="48"/>
                      </a:lnTo>
                      <a:lnTo>
                        <a:pt x="72" y="54"/>
                      </a:lnTo>
                      <a:lnTo>
                        <a:pt x="60" y="54"/>
                      </a:lnTo>
                      <a:lnTo>
                        <a:pt x="48" y="54"/>
                      </a:lnTo>
                      <a:lnTo>
                        <a:pt x="42" y="48"/>
                      </a:lnTo>
                      <a:lnTo>
                        <a:pt x="30" y="42"/>
                      </a:lnTo>
                      <a:lnTo>
                        <a:pt x="18" y="36"/>
                      </a:lnTo>
                      <a:lnTo>
                        <a:pt x="12" y="30"/>
                      </a:lnTo>
                      <a:lnTo>
                        <a:pt x="6" y="24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12" y="0"/>
                      </a:lnTo>
                      <a:lnTo>
                        <a:pt x="24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0" name="Freeform 363">
                  <a:extLst>
                    <a:ext uri="{FF2B5EF4-FFF2-40B4-BE49-F238E27FC236}">
                      <a16:creationId xmlns:a16="http://schemas.microsoft.com/office/drawing/2014/main" id="{75A672FC-A36C-4081-9258-89681ECBEB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957" y="-8106"/>
                  <a:ext cx="102" cy="102"/>
                </a:xfrm>
                <a:custGeom>
                  <a:avLst/>
                  <a:gdLst>
                    <a:gd name="T0" fmla="*/ 42 w 102"/>
                    <a:gd name="T1" fmla="*/ 0 h 102"/>
                    <a:gd name="T2" fmla="*/ 48 w 102"/>
                    <a:gd name="T3" fmla="*/ 0 h 102"/>
                    <a:gd name="T4" fmla="*/ 48 w 102"/>
                    <a:gd name="T5" fmla="*/ 0 h 102"/>
                    <a:gd name="T6" fmla="*/ 54 w 102"/>
                    <a:gd name="T7" fmla="*/ 6 h 102"/>
                    <a:gd name="T8" fmla="*/ 60 w 102"/>
                    <a:gd name="T9" fmla="*/ 6 h 102"/>
                    <a:gd name="T10" fmla="*/ 72 w 102"/>
                    <a:gd name="T11" fmla="*/ 6 h 102"/>
                    <a:gd name="T12" fmla="*/ 84 w 102"/>
                    <a:gd name="T13" fmla="*/ 12 h 102"/>
                    <a:gd name="T14" fmla="*/ 96 w 102"/>
                    <a:gd name="T15" fmla="*/ 12 h 102"/>
                    <a:gd name="T16" fmla="*/ 102 w 102"/>
                    <a:gd name="T17" fmla="*/ 24 h 102"/>
                    <a:gd name="T18" fmla="*/ 102 w 102"/>
                    <a:gd name="T19" fmla="*/ 36 h 102"/>
                    <a:gd name="T20" fmla="*/ 102 w 102"/>
                    <a:gd name="T21" fmla="*/ 48 h 102"/>
                    <a:gd name="T22" fmla="*/ 90 w 102"/>
                    <a:gd name="T23" fmla="*/ 60 h 102"/>
                    <a:gd name="T24" fmla="*/ 72 w 102"/>
                    <a:gd name="T25" fmla="*/ 72 h 102"/>
                    <a:gd name="T26" fmla="*/ 48 w 102"/>
                    <a:gd name="T27" fmla="*/ 90 h 102"/>
                    <a:gd name="T28" fmla="*/ 30 w 102"/>
                    <a:gd name="T29" fmla="*/ 96 h 102"/>
                    <a:gd name="T30" fmla="*/ 18 w 102"/>
                    <a:gd name="T31" fmla="*/ 102 h 102"/>
                    <a:gd name="T32" fmla="*/ 6 w 102"/>
                    <a:gd name="T33" fmla="*/ 102 h 102"/>
                    <a:gd name="T34" fmla="*/ 0 w 102"/>
                    <a:gd name="T35" fmla="*/ 96 h 102"/>
                    <a:gd name="T36" fmla="*/ 0 w 102"/>
                    <a:gd name="T37" fmla="*/ 84 h 102"/>
                    <a:gd name="T38" fmla="*/ 0 w 102"/>
                    <a:gd name="T39" fmla="*/ 78 h 102"/>
                    <a:gd name="T40" fmla="*/ 6 w 102"/>
                    <a:gd name="T41" fmla="*/ 66 h 102"/>
                    <a:gd name="T42" fmla="*/ 6 w 102"/>
                    <a:gd name="T43" fmla="*/ 54 h 102"/>
                    <a:gd name="T44" fmla="*/ 12 w 102"/>
                    <a:gd name="T45" fmla="*/ 42 h 102"/>
                    <a:gd name="T46" fmla="*/ 18 w 102"/>
                    <a:gd name="T47" fmla="*/ 30 h 102"/>
                    <a:gd name="T48" fmla="*/ 24 w 102"/>
                    <a:gd name="T49" fmla="*/ 18 h 102"/>
                    <a:gd name="T50" fmla="*/ 30 w 102"/>
                    <a:gd name="T51" fmla="*/ 6 h 102"/>
                    <a:gd name="T52" fmla="*/ 36 w 102"/>
                    <a:gd name="T53" fmla="*/ 0 h 102"/>
                    <a:gd name="T54" fmla="*/ 42 w 102"/>
                    <a:gd name="T5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02" h="102">
                      <a:moveTo>
                        <a:pt x="42" y="0"/>
                      </a:moveTo>
                      <a:lnTo>
                        <a:pt x="48" y="0"/>
                      </a:lnTo>
                      <a:lnTo>
                        <a:pt x="48" y="0"/>
                      </a:lnTo>
                      <a:lnTo>
                        <a:pt x="54" y="6"/>
                      </a:lnTo>
                      <a:lnTo>
                        <a:pt x="60" y="6"/>
                      </a:lnTo>
                      <a:lnTo>
                        <a:pt x="72" y="6"/>
                      </a:lnTo>
                      <a:lnTo>
                        <a:pt x="84" y="12"/>
                      </a:lnTo>
                      <a:lnTo>
                        <a:pt x="96" y="12"/>
                      </a:lnTo>
                      <a:lnTo>
                        <a:pt x="102" y="24"/>
                      </a:lnTo>
                      <a:lnTo>
                        <a:pt x="102" y="36"/>
                      </a:lnTo>
                      <a:lnTo>
                        <a:pt x="102" y="48"/>
                      </a:lnTo>
                      <a:lnTo>
                        <a:pt x="90" y="60"/>
                      </a:lnTo>
                      <a:lnTo>
                        <a:pt x="72" y="72"/>
                      </a:lnTo>
                      <a:lnTo>
                        <a:pt x="48" y="90"/>
                      </a:lnTo>
                      <a:lnTo>
                        <a:pt x="30" y="96"/>
                      </a:lnTo>
                      <a:lnTo>
                        <a:pt x="18" y="102"/>
                      </a:lnTo>
                      <a:lnTo>
                        <a:pt x="6" y="102"/>
                      </a:lnTo>
                      <a:lnTo>
                        <a:pt x="0" y="96"/>
                      </a:lnTo>
                      <a:lnTo>
                        <a:pt x="0" y="84"/>
                      </a:lnTo>
                      <a:lnTo>
                        <a:pt x="0" y="78"/>
                      </a:lnTo>
                      <a:lnTo>
                        <a:pt x="6" y="66"/>
                      </a:lnTo>
                      <a:lnTo>
                        <a:pt x="6" y="54"/>
                      </a:lnTo>
                      <a:lnTo>
                        <a:pt x="12" y="42"/>
                      </a:lnTo>
                      <a:lnTo>
                        <a:pt x="18" y="30"/>
                      </a:lnTo>
                      <a:lnTo>
                        <a:pt x="24" y="18"/>
                      </a:lnTo>
                      <a:lnTo>
                        <a:pt x="30" y="6"/>
                      </a:lnTo>
                      <a:lnTo>
                        <a:pt x="36" y="0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1" name="Freeform 364">
                  <a:extLst>
                    <a:ext uri="{FF2B5EF4-FFF2-40B4-BE49-F238E27FC236}">
                      <a16:creationId xmlns:a16="http://schemas.microsoft.com/office/drawing/2014/main" id="{39AF04FD-8D21-420D-AC50-7EA78EA4D1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79" y="-8364"/>
                  <a:ext cx="186" cy="78"/>
                </a:xfrm>
                <a:custGeom>
                  <a:avLst/>
                  <a:gdLst>
                    <a:gd name="T0" fmla="*/ 162 w 186"/>
                    <a:gd name="T1" fmla="*/ 0 h 78"/>
                    <a:gd name="T2" fmla="*/ 174 w 186"/>
                    <a:gd name="T3" fmla="*/ 6 h 78"/>
                    <a:gd name="T4" fmla="*/ 180 w 186"/>
                    <a:gd name="T5" fmla="*/ 18 h 78"/>
                    <a:gd name="T6" fmla="*/ 186 w 186"/>
                    <a:gd name="T7" fmla="*/ 30 h 78"/>
                    <a:gd name="T8" fmla="*/ 186 w 186"/>
                    <a:gd name="T9" fmla="*/ 42 h 78"/>
                    <a:gd name="T10" fmla="*/ 180 w 186"/>
                    <a:gd name="T11" fmla="*/ 54 h 78"/>
                    <a:gd name="T12" fmla="*/ 162 w 186"/>
                    <a:gd name="T13" fmla="*/ 66 h 78"/>
                    <a:gd name="T14" fmla="*/ 144 w 186"/>
                    <a:gd name="T15" fmla="*/ 72 h 78"/>
                    <a:gd name="T16" fmla="*/ 114 w 186"/>
                    <a:gd name="T17" fmla="*/ 78 h 78"/>
                    <a:gd name="T18" fmla="*/ 72 w 186"/>
                    <a:gd name="T19" fmla="*/ 78 h 78"/>
                    <a:gd name="T20" fmla="*/ 36 w 186"/>
                    <a:gd name="T21" fmla="*/ 66 h 78"/>
                    <a:gd name="T22" fmla="*/ 12 w 186"/>
                    <a:gd name="T23" fmla="*/ 48 h 78"/>
                    <a:gd name="T24" fmla="*/ 0 w 186"/>
                    <a:gd name="T25" fmla="*/ 42 h 78"/>
                    <a:gd name="T26" fmla="*/ 0 w 186"/>
                    <a:gd name="T27" fmla="*/ 30 h 78"/>
                    <a:gd name="T28" fmla="*/ 0 w 186"/>
                    <a:gd name="T29" fmla="*/ 24 h 78"/>
                    <a:gd name="T30" fmla="*/ 12 w 186"/>
                    <a:gd name="T31" fmla="*/ 24 h 78"/>
                    <a:gd name="T32" fmla="*/ 24 w 186"/>
                    <a:gd name="T33" fmla="*/ 18 h 78"/>
                    <a:gd name="T34" fmla="*/ 36 w 186"/>
                    <a:gd name="T35" fmla="*/ 18 h 78"/>
                    <a:gd name="T36" fmla="*/ 48 w 186"/>
                    <a:gd name="T37" fmla="*/ 12 h 78"/>
                    <a:gd name="T38" fmla="*/ 60 w 186"/>
                    <a:gd name="T39" fmla="*/ 18 h 78"/>
                    <a:gd name="T40" fmla="*/ 72 w 186"/>
                    <a:gd name="T41" fmla="*/ 18 h 78"/>
                    <a:gd name="T42" fmla="*/ 84 w 186"/>
                    <a:gd name="T43" fmla="*/ 24 h 78"/>
                    <a:gd name="T44" fmla="*/ 96 w 186"/>
                    <a:gd name="T45" fmla="*/ 24 h 78"/>
                    <a:gd name="T46" fmla="*/ 108 w 186"/>
                    <a:gd name="T47" fmla="*/ 24 h 78"/>
                    <a:gd name="T48" fmla="*/ 120 w 186"/>
                    <a:gd name="T49" fmla="*/ 18 h 78"/>
                    <a:gd name="T50" fmla="*/ 138 w 186"/>
                    <a:gd name="T51" fmla="*/ 12 h 78"/>
                    <a:gd name="T52" fmla="*/ 150 w 186"/>
                    <a:gd name="T53" fmla="*/ 0 h 78"/>
                    <a:gd name="T54" fmla="*/ 162 w 186"/>
                    <a:gd name="T55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86" h="78">
                      <a:moveTo>
                        <a:pt x="162" y="0"/>
                      </a:moveTo>
                      <a:lnTo>
                        <a:pt x="174" y="6"/>
                      </a:lnTo>
                      <a:lnTo>
                        <a:pt x="180" y="18"/>
                      </a:lnTo>
                      <a:lnTo>
                        <a:pt x="186" y="30"/>
                      </a:lnTo>
                      <a:lnTo>
                        <a:pt x="186" y="42"/>
                      </a:lnTo>
                      <a:lnTo>
                        <a:pt x="180" y="54"/>
                      </a:lnTo>
                      <a:lnTo>
                        <a:pt x="162" y="66"/>
                      </a:lnTo>
                      <a:lnTo>
                        <a:pt x="144" y="72"/>
                      </a:lnTo>
                      <a:lnTo>
                        <a:pt x="114" y="78"/>
                      </a:lnTo>
                      <a:lnTo>
                        <a:pt x="72" y="78"/>
                      </a:lnTo>
                      <a:lnTo>
                        <a:pt x="36" y="66"/>
                      </a:lnTo>
                      <a:lnTo>
                        <a:pt x="12" y="48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0" y="24"/>
                      </a:lnTo>
                      <a:lnTo>
                        <a:pt x="12" y="24"/>
                      </a:lnTo>
                      <a:lnTo>
                        <a:pt x="24" y="18"/>
                      </a:lnTo>
                      <a:lnTo>
                        <a:pt x="36" y="18"/>
                      </a:lnTo>
                      <a:lnTo>
                        <a:pt x="48" y="12"/>
                      </a:lnTo>
                      <a:lnTo>
                        <a:pt x="60" y="18"/>
                      </a:lnTo>
                      <a:lnTo>
                        <a:pt x="72" y="18"/>
                      </a:lnTo>
                      <a:lnTo>
                        <a:pt x="84" y="24"/>
                      </a:lnTo>
                      <a:lnTo>
                        <a:pt x="96" y="24"/>
                      </a:lnTo>
                      <a:lnTo>
                        <a:pt x="108" y="24"/>
                      </a:lnTo>
                      <a:lnTo>
                        <a:pt x="120" y="18"/>
                      </a:lnTo>
                      <a:lnTo>
                        <a:pt x="138" y="12"/>
                      </a:lnTo>
                      <a:lnTo>
                        <a:pt x="150" y="0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2" name="Freeform 365">
                  <a:extLst>
                    <a:ext uri="{FF2B5EF4-FFF2-40B4-BE49-F238E27FC236}">
                      <a16:creationId xmlns:a16="http://schemas.microsoft.com/office/drawing/2014/main" id="{E1DF0EEE-50F3-44F8-A464-AA4B5DC257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99" y="-8952"/>
                  <a:ext cx="78" cy="96"/>
                </a:xfrm>
                <a:custGeom>
                  <a:avLst/>
                  <a:gdLst>
                    <a:gd name="T0" fmla="*/ 24 w 78"/>
                    <a:gd name="T1" fmla="*/ 0 h 96"/>
                    <a:gd name="T2" fmla="*/ 36 w 78"/>
                    <a:gd name="T3" fmla="*/ 0 h 96"/>
                    <a:gd name="T4" fmla="*/ 48 w 78"/>
                    <a:gd name="T5" fmla="*/ 6 h 96"/>
                    <a:gd name="T6" fmla="*/ 54 w 78"/>
                    <a:gd name="T7" fmla="*/ 12 h 96"/>
                    <a:gd name="T8" fmla="*/ 66 w 78"/>
                    <a:gd name="T9" fmla="*/ 24 h 96"/>
                    <a:gd name="T10" fmla="*/ 72 w 78"/>
                    <a:gd name="T11" fmla="*/ 36 h 96"/>
                    <a:gd name="T12" fmla="*/ 78 w 78"/>
                    <a:gd name="T13" fmla="*/ 54 h 96"/>
                    <a:gd name="T14" fmla="*/ 78 w 78"/>
                    <a:gd name="T15" fmla="*/ 66 h 96"/>
                    <a:gd name="T16" fmla="*/ 72 w 78"/>
                    <a:gd name="T17" fmla="*/ 84 h 96"/>
                    <a:gd name="T18" fmla="*/ 66 w 78"/>
                    <a:gd name="T19" fmla="*/ 90 h 96"/>
                    <a:gd name="T20" fmla="*/ 54 w 78"/>
                    <a:gd name="T21" fmla="*/ 96 h 96"/>
                    <a:gd name="T22" fmla="*/ 48 w 78"/>
                    <a:gd name="T23" fmla="*/ 96 h 96"/>
                    <a:gd name="T24" fmla="*/ 36 w 78"/>
                    <a:gd name="T25" fmla="*/ 96 h 96"/>
                    <a:gd name="T26" fmla="*/ 24 w 78"/>
                    <a:gd name="T27" fmla="*/ 84 h 96"/>
                    <a:gd name="T28" fmla="*/ 12 w 78"/>
                    <a:gd name="T29" fmla="*/ 78 h 96"/>
                    <a:gd name="T30" fmla="*/ 6 w 78"/>
                    <a:gd name="T31" fmla="*/ 66 h 96"/>
                    <a:gd name="T32" fmla="*/ 0 w 78"/>
                    <a:gd name="T33" fmla="*/ 54 h 96"/>
                    <a:gd name="T34" fmla="*/ 0 w 78"/>
                    <a:gd name="T35" fmla="*/ 42 h 96"/>
                    <a:gd name="T36" fmla="*/ 0 w 78"/>
                    <a:gd name="T37" fmla="*/ 24 h 96"/>
                    <a:gd name="T38" fmla="*/ 6 w 78"/>
                    <a:gd name="T39" fmla="*/ 12 h 96"/>
                    <a:gd name="T40" fmla="*/ 12 w 78"/>
                    <a:gd name="T41" fmla="*/ 0 h 96"/>
                    <a:gd name="T42" fmla="*/ 24 w 78"/>
                    <a:gd name="T43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78" h="96">
                      <a:moveTo>
                        <a:pt x="24" y="0"/>
                      </a:moveTo>
                      <a:lnTo>
                        <a:pt x="36" y="0"/>
                      </a:lnTo>
                      <a:lnTo>
                        <a:pt x="48" y="6"/>
                      </a:lnTo>
                      <a:lnTo>
                        <a:pt x="54" y="12"/>
                      </a:lnTo>
                      <a:lnTo>
                        <a:pt x="66" y="24"/>
                      </a:lnTo>
                      <a:lnTo>
                        <a:pt x="72" y="36"/>
                      </a:lnTo>
                      <a:lnTo>
                        <a:pt x="78" y="54"/>
                      </a:lnTo>
                      <a:lnTo>
                        <a:pt x="78" y="66"/>
                      </a:lnTo>
                      <a:lnTo>
                        <a:pt x="72" y="84"/>
                      </a:lnTo>
                      <a:lnTo>
                        <a:pt x="66" y="90"/>
                      </a:lnTo>
                      <a:lnTo>
                        <a:pt x="54" y="96"/>
                      </a:lnTo>
                      <a:lnTo>
                        <a:pt x="48" y="96"/>
                      </a:lnTo>
                      <a:lnTo>
                        <a:pt x="36" y="96"/>
                      </a:lnTo>
                      <a:lnTo>
                        <a:pt x="24" y="84"/>
                      </a:lnTo>
                      <a:lnTo>
                        <a:pt x="12" y="78"/>
                      </a:lnTo>
                      <a:lnTo>
                        <a:pt x="6" y="66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0" y="24"/>
                      </a:lnTo>
                      <a:lnTo>
                        <a:pt x="6" y="12"/>
                      </a:lnTo>
                      <a:lnTo>
                        <a:pt x="12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3" name="Freeform 366">
                  <a:extLst>
                    <a:ext uri="{FF2B5EF4-FFF2-40B4-BE49-F238E27FC236}">
                      <a16:creationId xmlns:a16="http://schemas.microsoft.com/office/drawing/2014/main" id="{6F4A367D-91ED-4E1A-8FB9-51A689FC99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801" y="-8628"/>
                  <a:ext cx="102" cy="156"/>
                </a:xfrm>
                <a:custGeom>
                  <a:avLst/>
                  <a:gdLst>
                    <a:gd name="T0" fmla="*/ 12 w 102"/>
                    <a:gd name="T1" fmla="*/ 0 h 156"/>
                    <a:gd name="T2" fmla="*/ 24 w 102"/>
                    <a:gd name="T3" fmla="*/ 0 h 156"/>
                    <a:gd name="T4" fmla="*/ 30 w 102"/>
                    <a:gd name="T5" fmla="*/ 6 h 156"/>
                    <a:gd name="T6" fmla="*/ 42 w 102"/>
                    <a:gd name="T7" fmla="*/ 12 h 156"/>
                    <a:gd name="T8" fmla="*/ 54 w 102"/>
                    <a:gd name="T9" fmla="*/ 18 h 156"/>
                    <a:gd name="T10" fmla="*/ 66 w 102"/>
                    <a:gd name="T11" fmla="*/ 30 h 156"/>
                    <a:gd name="T12" fmla="*/ 78 w 102"/>
                    <a:gd name="T13" fmla="*/ 42 h 156"/>
                    <a:gd name="T14" fmla="*/ 84 w 102"/>
                    <a:gd name="T15" fmla="*/ 54 h 156"/>
                    <a:gd name="T16" fmla="*/ 90 w 102"/>
                    <a:gd name="T17" fmla="*/ 66 h 156"/>
                    <a:gd name="T18" fmla="*/ 96 w 102"/>
                    <a:gd name="T19" fmla="*/ 90 h 156"/>
                    <a:gd name="T20" fmla="*/ 102 w 102"/>
                    <a:gd name="T21" fmla="*/ 102 h 156"/>
                    <a:gd name="T22" fmla="*/ 102 w 102"/>
                    <a:gd name="T23" fmla="*/ 114 h 156"/>
                    <a:gd name="T24" fmla="*/ 96 w 102"/>
                    <a:gd name="T25" fmla="*/ 126 h 156"/>
                    <a:gd name="T26" fmla="*/ 84 w 102"/>
                    <a:gd name="T27" fmla="*/ 132 h 156"/>
                    <a:gd name="T28" fmla="*/ 78 w 102"/>
                    <a:gd name="T29" fmla="*/ 138 h 156"/>
                    <a:gd name="T30" fmla="*/ 66 w 102"/>
                    <a:gd name="T31" fmla="*/ 144 h 156"/>
                    <a:gd name="T32" fmla="*/ 54 w 102"/>
                    <a:gd name="T33" fmla="*/ 150 h 156"/>
                    <a:gd name="T34" fmla="*/ 48 w 102"/>
                    <a:gd name="T35" fmla="*/ 156 h 156"/>
                    <a:gd name="T36" fmla="*/ 42 w 102"/>
                    <a:gd name="T37" fmla="*/ 156 h 156"/>
                    <a:gd name="T38" fmla="*/ 36 w 102"/>
                    <a:gd name="T39" fmla="*/ 150 h 156"/>
                    <a:gd name="T40" fmla="*/ 30 w 102"/>
                    <a:gd name="T41" fmla="*/ 138 h 156"/>
                    <a:gd name="T42" fmla="*/ 24 w 102"/>
                    <a:gd name="T43" fmla="*/ 120 h 156"/>
                    <a:gd name="T44" fmla="*/ 12 w 102"/>
                    <a:gd name="T45" fmla="*/ 108 h 156"/>
                    <a:gd name="T46" fmla="*/ 6 w 102"/>
                    <a:gd name="T47" fmla="*/ 96 h 156"/>
                    <a:gd name="T48" fmla="*/ 6 w 102"/>
                    <a:gd name="T49" fmla="*/ 90 h 156"/>
                    <a:gd name="T50" fmla="*/ 12 w 102"/>
                    <a:gd name="T51" fmla="*/ 84 h 156"/>
                    <a:gd name="T52" fmla="*/ 12 w 102"/>
                    <a:gd name="T53" fmla="*/ 78 h 156"/>
                    <a:gd name="T54" fmla="*/ 12 w 102"/>
                    <a:gd name="T55" fmla="*/ 66 h 156"/>
                    <a:gd name="T56" fmla="*/ 12 w 102"/>
                    <a:gd name="T57" fmla="*/ 54 h 156"/>
                    <a:gd name="T58" fmla="*/ 6 w 102"/>
                    <a:gd name="T59" fmla="*/ 42 h 156"/>
                    <a:gd name="T60" fmla="*/ 0 w 102"/>
                    <a:gd name="T61" fmla="*/ 24 h 156"/>
                    <a:gd name="T62" fmla="*/ 0 w 102"/>
                    <a:gd name="T63" fmla="*/ 12 h 156"/>
                    <a:gd name="T64" fmla="*/ 6 w 102"/>
                    <a:gd name="T65" fmla="*/ 0 h 156"/>
                    <a:gd name="T66" fmla="*/ 12 w 102"/>
                    <a:gd name="T67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02" h="156">
                      <a:moveTo>
                        <a:pt x="12" y="0"/>
                      </a:moveTo>
                      <a:lnTo>
                        <a:pt x="24" y="0"/>
                      </a:lnTo>
                      <a:lnTo>
                        <a:pt x="30" y="6"/>
                      </a:lnTo>
                      <a:lnTo>
                        <a:pt x="42" y="12"/>
                      </a:lnTo>
                      <a:lnTo>
                        <a:pt x="54" y="18"/>
                      </a:lnTo>
                      <a:lnTo>
                        <a:pt x="66" y="30"/>
                      </a:lnTo>
                      <a:lnTo>
                        <a:pt x="78" y="42"/>
                      </a:lnTo>
                      <a:lnTo>
                        <a:pt x="84" y="54"/>
                      </a:lnTo>
                      <a:lnTo>
                        <a:pt x="90" y="66"/>
                      </a:lnTo>
                      <a:lnTo>
                        <a:pt x="96" y="90"/>
                      </a:lnTo>
                      <a:lnTo>
                        <a:pt x="102" y="102"/>
                      </a:lnTo>
                      <a:lnTo>
                        <a:pt x="102" y="114"/>
                      </a:lnTo>
                      <a:lnTo>
                        <a:pt x="96" y="126"/>
                      </a:lnTo>
                      <a:lnTo>
                        <a:pt x="84" y="132"/>
                      </a:lnTo>
                      <a:lnTo>
                        <a:pt x="78" y="138"/>
                      </a:lnTo>
                      <a:lnTo>
                        <a:pt x="66" y="144"/>
                      </a:lnTo>
                      <a:lnTo>
                        <a:pt x="54" y="150"/>
                      </a:lnTo>
                      <a:lnTo>
                        <a:pt x="48" y="156"/>
                      </a:lnTo>
                      <a:lnTo>
                        <a:pt x="42" y="156"/>
                      </a:lnTo>
                      <a:lnTo>
                        <a:pt x="36" y="150"/>
                      </a:lnTo>
                      <a:lnTo>
                        <a:pt x="30" y="138"/>
                      </a:lnTo>
                      <a:lnTo>
                        <a:pt x="24" y="120"/>
                      </a:lnTo>
                      <a:lnTo>
                        <a:pt x="12" y="108"/>
                      </a:lnTo>
                      <a:lnTo>
                        <a:pt x="6" y="96"/>
                      </a:lnTo>
                      <a:lnTo>
                        <a:pt x="6" y="90"/>
                      </a:lnTo>
                      <a:lnTo>
                        <a:pt x="12" y="84"/>
                      </a:lnTo>
                      <a:lnTo>
                        <a:pt x="12" y="78"/>
                      </a:lnTo>
                      <a:lnTo>
                        <a:pt x="12" y="66"/>
                      </a:lnTo>
                      <a:lnTo>
                        <a:pt x="12" y="54"/>
                      </a:lnTo>
                      <a:lnTo>
                        <a:pt x="6" y="42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4" name="Freeform 367">
                  <a:extLst>
                    <a:ext uri="{FF2B5EF4-FFF2-40B4-BE49-F238E27FC236}">
                      <a16:creationId xmlns:a16="http://schemas.microsoft.com/office/drawing/2014/main" id="{01AAED4C-1E5D-48FD-8D39-535BA6B43F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83" y="-8550"/>
                  <a:ext cx="90" cy="60"/>
                </a:xfrm>
                <a:custGeom>
                  <a:avLst/>
                  <a:gdLst>
                    <a:gd name="T0" fmla="*/ 30 w 90"/>
                    <a:gd name="T1" fmla="*/ 0 h 60"/>
                    <a:gd name="T2" fmla="*/ 54 w 90"/>
                    <a:gd name="T3" fmla="*/ 0 h 60"/>
                    <a:gd name="T4" fmla="*/ 72 w 90"/>
                    <a:gd name="T5" fmla="*/ 0 h 60"/>
                    <a:gd name="T6" fmla="*/ 84 w 90"/>
                    <a:gd name="T7" fmla="*/ 6 h 60"/>
                    <a:gd name="T8" fmla="*/ 84 w 90"/>
                    <a:gd name="T9" fmla="*/ 18 h 60"/>
                    <a:gd name="T10" fmla="*/ 90 w 90"/>
                    <a:gd name="T11" fmla="*/ 24 h 60"/>
                    <a:gd name="T12" fmla="*/ 84 w 90"/>
                    <a:gd name="T13" fmla="*/ 36 h 60"/>
                    <a:gd name="T14" fmla="*/ 78 w 90"/>
                    <a:gd name="T15" fmla="*/ 42 h 60"/>
                    <a:gd name="T16" fmla="*/ 66 w 90"/>
                    <a:gd name="T17" fmla="*/ 54 h 60"/>
                    <a:gd name="T18" fmla="*/ 54 w 90"/>
                    <a:gd name="T19" fmla="*/ 60 h 60"/>
                    <a:gd name="T20" fmla="*/ 36 w 90"/>
                    <a:gd name="T21" fmla="*/ 60 h 60"/>
                    <a:gd name="T22" fmla="*/ 18 w 90"/>
                    <a:gd name="T23" fmla="*/ 60 h 60"/>
                    <a:gd name="T24" fmla="*/ 6 w 90"/>
                    <a:gd name="T25" fmla="*/ 54 h 60"/>
                    <a:gd name="T26" fmla="*/ 0 w 90"/>
                    <a:gd name="T27" fmla="*/ 42 h 60"/>
                    <a:gd name="T28" fmla="*/ 0 w 90"/>
                    <a:gd name="T29" fmla="*/ 30 h 60"/>
                    <a:gd name="T30" fmla="*/ 0 w 90"/>
                    <a:gd name="T31" fmla="*/ 18 h 60"/>
                    <a:gd name="T32" fmla="*/ 6 w 90"/>
                    <a:gd name="T33" fmla="*/ 6 h 60"/>
                    <a:gd name="T34" fmla="*/ 18 w 90"/>
                    <a:gd name="T35" fmla="*/ 0 h 60"/>
                    <a:gd name="T36" fmla="*/ 30 w 90"/>
                    <a:gd name="T37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0" h="60">
                      <a:moveTo>
                        <a:pt x="30" y="0"/>
                      </a:moveTo>
                      <a:lnTo>
                        <a:pt x="54" y="0"/>
                      </a:lnTo>
                      <a:lnTo>
                        <a:pt x="72" y="0"/>
                      </a:lnTo>
                      <a:lnTo>
                        <a:pt x="84" y="6"/>
                      </a:lnTo>
                      <a:lnTo>
                        <a:pt x="84" y="18"/>
                      </a:lnTo>
                      <a:lnTo>
                        <a:pt x="90" y="24"/>
                      </a:lnTo>
                      <a:lnTo>
                        <a:pt x="84" y="36"/>
                      </a:lnTo>
                      <a:lnTo>
                        <a:pt x="78" y="42"/>
                      </a:lnTo>
                      <a:lnTo>
                        <a:pt x="66" y="54"/>
                      </a:lnTo>
                      <a:lnTo>
                        <a:pt x="54" y="60"/>
                      </a:lnTo>
                      <a:lnTo>
                        <a:pt x="36" y="60"/>
                      </a:lnTo>
                      <a:lnTo>
                        <a:pt x="18" y="60"/>
                      </a:lnTo>
                      <a:lnTo>
                        <a:pt x="6" y="54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8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5" name="Freeform 368">
                  <a:extLst>
                    <a:ext uri="{FF2B5EF4-FFF2-40B4-BE49-F238E27FC236}">
                      <a16:creationId xmlns:a16="http://schemas.microsoft.com/office/drawing/2014/main" id="{A5FBB3B5-0C99-46BE-9DB6-5B64430C38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741" y="-8148"/>
                  <a:ext cx="90" cy="54"/>
                </a:xfrm>
                <a:custGeom>
                  <a:avLst/>
                  <a:gdLst>
                    <a:gd name="T0" fmla="*/ 60 w 90"/>
                    <a:gd name="T1" fmla="*/ 0 h 54"/>
                    <a:gd name="T2" fmla="*/ 78 w 90"/>
                    <a:gd name="T3" fmla="*/ 6 h 54"/>
                    <a:gd name="T4" fmla="*/ 90 w 90"/>
                    <a:gd name="T5" fmla="*/ 6 h 54"/>
                    <a:gd name="T6" fmla="*/ 90 w 90"/>
                    <a:gd name="T7" fmla="*/ 12 h 54"/>
                    <a:gd name="T8" fmla="*/ 90 w 90"/>
                    <a:gd name="T9" fmla="*/ 24 h 54"/>
                    <a:gd name="T10" fmla="*/ 84 w 90"/>
                    <a:gd name="T11" fmla="*/ 30 h 54"/>
                    <a:gd name="T12" fmla="*/ 72 w 90"/>
                    <a:gd name="T13" fmla="*/ 36 h 54"/>
                    <a:gd name="T14" fmla="*/ 60 w 90"/>
                    <a:gd name="T15" fmla="*/ 42 h 54"/>
                    <a:gd name="T16" fmla="*/ 42 w 90"/>
                    <a:gd name="T17" fmla="*/ 48 h 54"/>
                    <a:gd name="T18" fmla="*/ 24 w 90"/>
                    <a:gd name="T19" fmla="*/ 54 h 54"/>
                    <a:gd name="T20" fmla="*/ 12 w 90"/>
                    <a:gd name="T21" fmla="*/ 54 h 54"/>
                    <a:gd name="T22" fmla="*/ 6 w 90"/>
                    <a:gd name="T23" fmla="*/ 48 h 54"/>
                    <a:gd name="T24" fmla="*/ 0 w 90"/>
                    <a:gd name="T25" fmla="*/ 42 h 54"/>
                    <a:gd name="T26" fmla="*/ 0 w 90"/>
                    <a:gd name="T27" fmla="*/ 30 h 54"/>
                    <a:gd name="T28" fmla="*/ 6 w 90"/>
                    <a:gd name="T29" fmla="*/ 24 h 54"/>
                    <a:gd name="T30" fmla="*/ 12 w 90"/>
                    <a:gd name="T31" fmla="*/ 18 h 54"/>
                    <a:gd name="T32" fmla="*/ 18 w 90"/>
                    <a:gd name="T33" fmla="*/ 12 h 54"/>
                    <a:gd name="T34" fmla="*/ 30 w 90"/>
                    <a:gd name="T35" fmla="*/ 6 h 54"/>
                    <a:gd name="T36" fmla="*/ 42 w 90"/>
                    <a:gd name="T37" fmla="*/ 0 h 54"/>
                    <a:gd name="T38" fmla="*/ 60 w 90"/>
                    <a:gd name="T39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90" h="54">
                      <a:moveTo>
                        <a:pt x="60" y="0"/>
                      </a:moveTo>
                      <a:lnTo>
                        <a:pt x="78" y="6"/>
                      </a:lnTo>
                      <a:lnTo>
                        <a:pt x="90" y="6"/>
                      </a:lnTo>
                      <a:lnTo>
                        <a:pt x="90" y="12"/>
                      </a:lnTo>
                      <a:lnTo>
                        <a:pt x="90" y="24"/>
                      </a:lnTo>
                      <a:lnTo>
                        <a:pt x="84" y="30"/>
                      </a:lnTo>
                      <a:lnTo>
                        <a:pt x="72" y="36"/>
                      </a:lnTo>
                      <a:lnTo>
                        <a:pt x="60" y="42"/>
                      </a:lnTo>
                      <a:lnTo>
                        <a:pt x="42" y="48"/>
                      </a:lnTo>
                      <a:lnTo>
                        <a:pt x="24" y="54"/>
                      </a:lnTo>
                      <a:lnTo>
                        <a:pt x="12" y="54"/>
                      </a:lnTo>
                      <a:lnTo>
                        <a:pt x="6" y="48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6" y="24"/>
                      </a:lnTo>
                      <a:lnTo>
                        <a:pt x="12" y="18"/>
                      </a:lnTo>
                      <a:lnTo>
                        <a:pt x="18" y="12"/>
                      </a:lnTo>
                      <a:lnTo>
                        <a:pt x="30" y="6"/>
                      </a:lnTo>
                      <a:lnTo>
                        <a:pt x="42" y="0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6" name="Freeform 369">
                  <a:extLst>
                    <a:ext uri="{FF2B5EF4-FFF2-40B4-BE49-F238E27FC236}">
                      <a16:creationId xmlns:a16="http://schemas.microsoft.com/office/drawing/2014/main" id="{7C609448-6845-4C72-9D76-61037C7C02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783" y="-8238"/>
                  <a:ext cx="90" cy="42"/>
                </a:xfrm>
                <a:custGeom>
                  <a:avLst/>
                  <a:gdLst>
                    <a:gd name="T0" fmla="*/ 54 w 90"/>
                    <a:gd name="T1" fmla="*/ 0 h 42"/>
                    <a:gd name="T2" fmla="*/ 72 w 90"/>
                    <a:gd name="T3" fmla="*/ 0 h 42"/>
                    <a:gd name="T4" fmla="*/ 84 w 90"/>
                    <a:gd name="T5" fmla="*/ 0 h 42"/>
                    <a:gd name="T6" fmla="*/ 90 w 90"/>
                    <a:gd name="T7" fmla="*/ 6 h 42"/>
                    <a:gd name="T8" fmla="*/ 90 w 90"/>
                    <a:gd name="T9" fmla="*/ 12 h 42"/>
                    <a:gd name="T10" fmla="*/ 90 w 90"/>
                    <a:gd name="T11" fmla="*/ 24 h 42"/>
                    <a:gd name="T12" fmla="*/ 84 w 90"/>
                    <a:gd name="T13" fmla="*/ 30 h 42"/>
                    <a:gd name="T14" fmla="*/ 78 w 90"/>
                    <a:gd name="T15" fmla="*/ 36 h 42"/>
                    <a:gd name="T16" fmla="*/ 66 w 90"/>
                    <a:gd name="T17" fmla="*/ 36 h 42"/>
                    <a:gd name="T18" fmla="*/ 54 w 90"/>
                    <a:gd name="T19" fmla="*/ 42 h 42"/>
                    <a:gd name="T20" fmla="*/ 30 w 90"/>
                    <a:gd name="T21" fmla="*/ 42 h 42"/>
                    <a:gd name="T22" fmla="*/ 12 w 90"/>
                    <a:gd name="T23" fmla="*/ 36 h 42"/>
                    <a:gd name="T24" fmla="*/ 6 w 90"/>
                    <a:gd name="T25" fmla="*/ 30 h 42"/>
                    <a:gd name="T26" fmla="*/ 0 w 90"/>
                    <a:gd name="T27" fmla="*/ 24 h 42"/>
                    <a:gd name="T28" fmla="*/ 0 w 90"/>
                    <a:gd name="T29" fmla="*/ 18 h 42"/>
                    <a:gd name="T30" fmla="*/ 6 w 90"/>
                    <a:gd name="T31" fmla="*/ 12 h 42"/>
                    <a:gd name="T32" fmla="*/ 18 w 90"/>
                    <a:gd name="T33" fmla="*/ 6 h 42"/>
                    <a:gd name="T34" fmla="*/ 36 w 90"/>
                    <a:gd name="T35" fmla="*/ 0 h 42"/>
                    <a:gd name="T36" fmla="*/ 54 w 90"/>
                    <a:gd name="T37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0" h="42">
                      <a:moveTo>
                        <a:pt x="54" y="0"/>
                      </a:moveTo>
                      <a:lnTo>
                        <a:pt x="72" y="0"/>
                      </a:lnTo>
                      <a:lnTo>
                        <a:pt x="84" y="0"/>
                      </a:lnTo>
                      <a:lnTo>
                        <a:pt x="90" y="6"/>
                      </a:lnTo>
                      <a:lnTo>
                        <a:pt x="90" y="12"/>
                      </a:lnTo>
                      <a:lnTo>
                        <a:pt x="90" y="24"/>
                      </a:lnTo>
                      <a:lnTo>
                        <a:pt x="84" y="30"/>
                      </a:lnTo>
                      <a:lnTo>
                        <a:pt x="78" y="36"/>
                      </a:lnTo>
                      <a:lnTo>
                        <a:pt x="66" y="36"/>
                      </a:lnTo>
                      <a:lnTo>
                        <a:pt x="54" y="42"/>
                      </a:lnTo>
                      <a:lnTo>
                        <a:pt x="30" y="42"/>
                      </a:lnTo>
                      <a:lnTo>
                        <a:pt x="12" y="36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18" y="6"/>
                      </a:lnTo>
                      <a:lnTo>
                        <a:pt x="36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7" name="Freeform 370">
                  <a:extLst>
                    <a:ext uri="{FF2B5EF4-FFF2-40B4-BE49-F238E27FC236}">
                      <a16:creationId xmlns:a16="http://schemas.microsoft.com/office/drawing/2014/main" id="{E5987D65-AF1C-417E-8775-4025F97ED0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771" y="-8370"/>
                  <a:ext cx="72" cy="72"/>
                </a:xfrm>
                <a:custGeom>
                  <a:avLst/>
                  <a:gdLst>
                    <a:gd name="T0" fmla="*/ 24 w 72"/>
                    <a:gd name="T1" fmla="*/ 0 h 72"/>
                    <a:gd name="T2" fmla="*/ 36 w 72"/>
                    <a:gd name="T3" fmla="*/ 0 h 72"/>
                    <a:gd name="T4" fmla="*/ 48 w 72"/>
                    <a:gd name="T5" fmla="*/ 6 h 72"/>
                    <a:gd name="T6" fmla="*/ 60 w 72"/>
                    <a:gd name="T7" fmla="*/ 12 h 72"/>
                    <a:gd name="T8" fmla="*/ 66 w 72"/>
                    <a:gd name="T9" fmla="*/ 24 h 72"/>
                    <a:gd name="T10" fmla="*/ 72 w 72"/>
                    <a:gd name="T11" fmla="*/ 36 h 72"/>
                    <a:gd name="T12" fmla="*/ 72 w 72"/>
                    <a:gd name="T13" fmla="*/ 48 h 72"/>
                    <a:gd name="T14" fmla="*/ 66 w 72"/>
                    <a:gd name="T15" fmla="*/ 60 h 72"/>
                    <a:gd name="T16" fmla="*/ 60 w 72"/>
                    <a:gd name="T17" fmla="*/ 72 h 72"/>
                    <a:gd name="T18" fmla="*/ 48 w 72"/>
                    <a:gd name="T19" fmla="*/ 72 h 72"/>
                    <a:gd name="T20" fmla="*/ 36 w 72"/>
                    <a:gd name="T21" fmla="*/ 72 h 72"/>
                    <a:gd name="T22" fmla="*/ 24 w 72"/>
                    <a:gd name="T23" fmla="*/ 66 h 72"/>
                    <a:gd name="T24" fmla="*/ 12 w 72"/>
                    <a:gd name="T25" fmla="*/ 54 h 72"/>
                    <a:gd name="T26" fmla="*/ 6 w 72"/>
                    <a:gd name="T27" fmla="*/ 42 h 72"/>
                    <a:gd name="T28" fmla="*/ 0 w 72"/>
                    <a:gd name="T29" fmla="*/ 30 h 72"/>
                    <a:gd name="T30" fmla="*/ 0 w 72"/>
                    <a:gd name="T31" fmla="*/ 18 h 72"/>
                    <a:gd name="T32" fmla="*/ 6 w 72"/>
                    <a:gd name="T33" fmla="*/ 6 h 72"/>
                    <a:gd name="T34" fmla="*/ 18 w 72"/>
                    <a:gd name="T35" fmla="*/ 0 h 72"/>
                    <a:gd name="T36" fmla="*/ 24 w 72"/>
                    <a:gd name="T37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2" h="72">
                      <a:moveTo>
                        <a:pt x="24" y="0"/>
                      </a:moveTo>
                      <a:lnTo>
                        <a:pt x="36" y="0"/>
                      </a:lnTo>
                      <a:lnTo>
                        <a:pt x="48" y="6"/>
                      </a:lnTo>
                      <a:lnTo>
                        <a:pt x="60" y="12"/>
                      </a:lnTo>
                      <a:lnTo>
                        <a:pt x="66" y="24"/>
                      </a:lnTo>
                      <a:lnTo>
                        <a:pt x="72" y="36"/>
                      </a:lnTo>
                      <a:lnTo>
                        <a:pt x="72" y="48"/>
                      </a:lnTo>
                      <a:lnTo>
                        <a:pt x="66" y="60"/>
                      </a:lnTo>
                      <a:lnTo>
                        <a:pt x="60" y="72"/>
                      </a:lnTo>
                      <a:lnTo>
                        <a:pt x="48" y="72"/>
                      </a:lnTo>
                      <a:lnTo>
                        <a:pt x="36" y="72"/>
                      </a:lnTo>
                      <a:lnTo>
                        <a:pt x="24" y="66"/>
                      </a:lnTo>
                      <a:lnTo>
                        <a:pt x="12" y="54"/>
                      </a:lnTo>
                      <a:lnTo>
                        <a:pt x="6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8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8" name="Freeform 371">
                  <a:extLst>
                    <a:ext uri="{FF2B5EF4-FFF2-40B4-BE49-F238E27FC236}">
                      <a16:creationId xmlns:a16="http://schemas.microsoft.com/office/drawing/2014/main" id="{7657C78F-2685-4BE0-8327-1F3B13CE9A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947" y="-4590"/>
                  <a:ext cx="54" cy="72"/>
                </a:xfrm>
                <a:custGeom>
                  <a:avLst/>
                  <a:gdLst>
                    <a:gd name="T0" fmla="*/ 18 w 54"/>
                    <a:gd name="T1" fmla="*/ 0 h 72"/>
                    <a:gd name="T2" fmla="*/ 30 w 54"/>
                    <a:gd name="T3" fmla="*/ 0 h 72"/>
                    <a:gd name="T4" fmla="*/ 36 w 54"/>
                    <a:gd name="T5" fmla="*/ 6 h 72"/>
                    <a:gd name="T6" fmla="*/ 48 w 54"/>
                    <a:gd name="T7" fmla="*/ 12 h 72"/>
                    <a:gd name="T8" fmla="*/ 54 w 54"/>
                    <a:gd name="T9" fmla="*/ 24 h 72"/>
                    <a:gd name="T10" fmla="*/ 54 w 54"/>
                    <a:gd name="T11" fmla="*/ 36 h 72"/>
                    <a:gd name="T12" fmla="*/ 54 w 54"/>
                    <a:gd name="T13" fmla="*/ 54 h 72"/>
                    <a:gd name="T14" fmla="*/ 48 w 54"/>
                    <a:gd name="T15" fmla="*/ 66 h 72"/>
                    <a:gd name="T16" fmla="*/ 36 w 54"/>
                    <a:gd name="T17" fmla="*/ 72 h 72"/>
                    <a:gd name="T18" fmla="*/ 24 w 54"/>
                    <a:gd name="T19" fmla="*/ 72 h 72"/>
                    <a:gd name="T20" fmla="*/ 18 w 54"/>
                    <a:gd name="T21" fmla="*/ 72 h 72"/>
                    <a:gd name="T22" fmla="*/ 6 w 54"/>
                    <a:gd name="T23" fmla="*/ 66 h 72"/>
                    <a:gd name="T24" fmla="*/ 0 w 54"/>
                    <a:gd name="T25" fmla="*/ 48 h 72"/>
                    <a:gd name="T26" fmla="*/ 0 w 54"/>
                    <a:gd name="T27" fmla="*/ 30 h 72"/>
                    <a:gd name="T28" fmla="*/ 0 w 54"/>
                    <a:gd name="T29" fmla="*/ 18 h 72"/>
                    <a:gd name="T30" fmla="*/ 6 w 54"/>
                    <a:gd name="T31" fmla="*/ 6 h 72"/>
                    <a:gd name="T32" fmla="*/ 12 w 54"/>
                    <a:gd name="T33" fmla="*/ 0 h 72"/>
                    <a:gd name="T34" fmla="*/ 18 w 54"/>
                    <a:gd name="T35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" h="72">
                      <a:moveTo>
                        <a:pt x="18" y="0"/>
                      </a:moveTo>
                      <a:lnTo>
                        <a:pt x="30" y="0"/>
                      </a:lnTo>
                      <a:lnTo>
                        <a:pt x="36" y="6"/>
                      </a:lnTo>
                      <a:lnTo>
                        <a:pt x="48" y="12"/>
                      </a:lnTo>
                      <a:lnTo>
                        <a:pt x="54" y="24"/>
                      </a:lnTo>
                      <a:lnTo>
                        <a:pt x="54" y="36"/>
                      </a:lnTo>
                      <a:lnTo>
                        <a:pt x="54" y="54"/>
                      </a:lnTo>
                      <a:lnTo>
                        <a:pt x="48" y="66"/>
                      </a:lnTo>
                      <a:lnTo>
                        <a:pt x="36" y="72"/>
                      </a:lnTo>
                      <a:lnTo>
                        <a:pt x="24" y="72"/>
                      </a:lnTo>
                      <a:lnTo>
                        <a:pt x="18" y="72"/>
                      </a:lnTo>
                      <a:lnTo>
                        <a:pt x="6" y="66"/>
                      </a:lnTo>
                      <a:lnTo>
                        <a:pt x="0" y="48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2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1593E9">
                    <a:alpha val="69804"/>
                  </a:srgbClr>
                </a:solidFill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09" name="Freeform 372">
                  <a:extLst>
                    <a:ext uri="{FF2B5EF4-FFF2-40B4-BE49-F238E27FC236}">
                      <a16:creationId xmlns:a16="http://schemas.microsoft.com/office/drawing/2014/main" id="{5DB96650-B8AB-42A7-9073-F63A570AB6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55" y="-9072"/>
                  <a:ext cx="2436" cy="1362"/>
                </a:xfrm>
                <a:custGeom>
                  <a:avLst/>
                  <a:gdLst>
                    <a:gd name="T0" fmla="*/ 1134 w 2436"/>
                    <a:gd name="T1" fmla="*/ 192 h 1362"/>
                    <a:gd name="T2" fmla="*/ 1206 w 2436"/>
                    <a:gd name="T3" fmla="*/ 102 h 1362"/>
                    <a:gd name="T4" fmla="*/ 1344 w 2436"/>
                    <a:gd name="T5" fmla="*/ 54 h 1362"/>
                    <a:gd name="T6" fmla="*/ 1506 w 2436"/>
                    <a:gd name="T7" fmla="*/ 180 h 1362"/>
                    <a:gd name="T8" fmla="*/ 1602 w 2436"/>
                    <a:gd name="T9" fmla="*/ 90 h 1362"/>
                    <a:gd name="T10" fmla="*/ 1782 w 2436"/>
                    <a:gd name="T11" fmla="*/ 282 h 1362"/>
                    <a:gd name="T12" fmla="*/ 1872 w 2436"/>
                    <a:gd name="T13" fmla="*/ 186 h 1362"/>
                    <a:gd name="T14" fmla="*/ 2142 w 2436"/>
                    <a:gd name="T15" fmla="*/ 294 h 1362"/>
                    <a:gd name="T16" fmla="*/ 2202 w 2436"/>
                    <a:gd name="T17" fmla="*/ 336 h 1362"/>
                    <a:gd name="T18" fmla="*/ 2436 w 2436"/>
                    <a:gd name="T19" fmla="*/ 390 h 1362"/>
                    <a:gd name="T20" fmla="*/ 2118 w 2436"/>
                    <a:gd name="T21" fmla="*/ 498 h 1362"/>
                    <a:gd name="T22" fmla="*/ 1800 w 2436"/>
                    <a:gd name="T23" fmla="*/ 534 h 1362"/>
                    <a:gd name="T24" fmla="*/ 2070 w 2436"/>
                    <a:gd name="T25" fmla="*/ 570 h 1362"/>
                    <a:gd name="T26" fmla="*/ 1806 w 2436"/>
                    <a:gd name="T27" fmla="*/ 696 h 1362"/>
                    <a:gd name="T28" fmla="*/ 1650 w 2436"/>
                    <a:gd name="T29" fmla="*/ 702 h 1362"/>
                    <a:gd name="T30" fmla="*/ 1452 w 2436"/>
                    <a:gd name="T31" fmla="*/ 804 h 1362"/>
                    <a:gd name="T32" fmla="*/ 1284 w 2436"/>
                    <a:gd name="T33" fmla="*/ 804 h 1362"/>
                    <a:gd name="T34" fmla="*/ 1152 w 2436"/>
                    <a:gd name="T35" fmla="*/ 810 h 1362"/>
                    <a:gd name="T36" fmla="*/ 1308 w 2436"/>
                    <a:gd name="T37" fmla="*/ 924 h 1362"/>
                    <a:gd name="T38" fmla="*/ 1290 w 2436"/>
                    <a:gd name="T39" fmla="*/ 996 h 1362"/>
                    <a:gd name="T40" fmla="*/ 1062 w 2436"/>
                    <a:gd name="T41" fmla="*/ 1038 h 1362"/>
                    <a:gd name="T42" fmla="*/ 828 w 2436"/>
                    <a:gd name="T43" fmla="*/ 1104 h 1362"/>
                    <a:gd name="T44" fmla="*/ 756 w 2436"/>
                    <a:gd name="T45" fmla="*/ 1134 h 1362"/>
                    <a:gd name="T46" fmla="*/ 900 w 2436"/>
                    <a:gd name="T47" fmla="*/ 1248 h 1362"/>
                    <a:gd name="T48" fmla="*/ 846 w 2436"/>
                    <a:gd name="T49" fmla="*/ 1356 h 1362"/>
                    <a:gd name="T50" fmla="*/ 696 w 2436"/>
                    <a:gd name="T51" fmla="*/ 1314 h 1362"/>
                    <a:gd name="T52" fmla="*/ 570 w 2436"/>
                    <a:gd name="T53" fmla="*/ 1224 h 1362"/>
                    <a:gd name="T54" fmla="*/ 462 w 2436"/>
                    <a:gd name="T55" fmla="*/ 1206 h 1362"/>
                    <a:gd name="T56" fmla="*/ 348 w 2436"/>
                    <a:gd name="T57" fmla="*/ 1212 h 1362"/>
                    <a:gd name="T58" fmla="*/ 174 w 2436"/>
                    <a:gd name="T59" fmla="*/ 1152 h 1362"/>
                    <a:gd name="T60" fmla="*/ 66 w 2436"/>
                    <a:gd name="T61" fmla="*/ 1104 h 1362"/>
                    <a:gd name="T62" fmla="*/ 18 w 2436"/>
                    <a:gd name="T63" fmla="*/ 1032 h 1362"/>
                    <a:gd name="T64" fmla="*/ 186 w 2436"/>
                    <a:gd name="T65" fmla="*/ 966 h 1362"/>
                    <a:gd name="T66" fmla="*/ 258 w 2436"/>
                    <a:gd name="T67" fmla="*/ 942 h 1362"/>
                    <a:gd name="T68" fmla="*/ 348 w 2436"/>
                    <a:gd name="T69" fmla="*/ 858 h 1362"/>
                    <a:gd name="T70" fmla="*/ 492 w 2436"/>
                    <a:gd name="T71" fmla="*/ 1002 h 1362"/>
                    <a:gd name="T72" fmla="*/ 672 w 2436"/>
                    <a:gd name="T73" fmla="*/ 966 h 1362"/>
                    <a:gd name="T74" fmla="*/ 534 w 2436"/>
                    <a:gd name="T75" fmla="*/ 960 h 1362"/>
                    <a:gd name="T76" fmla="*/ 510 w 2436"/>
                    <a:gd name="T77" fmla="*/ 816 h 1362"/>
                    <a:gd name="T78" fmla="*/ 342 w 2436"/>
                    <a:gd name="T79" fmla="*/ 786 h 1362"/>
                    <a:gd name="T80" fmla="*/ 618 w 2436"/>
                    <a:gd name="T81" fmla="*/ 738 h 1362"/>
                    <a:gd name="T82" fmla="*/ 654 w 2436"/>
                    <a:gd name="T83" fmla="*/ 696 h 1362"/>
                    <a:gd name="T84" fmla="*/ 582 w 2436"/>
                    <a:gd name="T85" fmla="*/ 504 h 1362"/>
                    <a:gd name="T86" fmla="*/ 714 w 2436"/>
                    <a:gd name="T87" fmla="*/ 474 h 1362"/>
                    <a:gd name="T88" fmla="*/ 882 w 2436"/>
                    <a:gd name="T89" fmla="*/ 648 h 1362"/>
                    <a:gd name="T90" fmla="*/ 972 w 2436"/>
                    <a:gd name="T91" fmla="*/ 546 h 1362"/>
                    <a:gd name="T92" fmla="*/ 1074 w 2436"/>
                    <a:gd name="T93" fmla="*/ 504 h 1362"/>
                    <a:gd name="T94" fmla="*/ 1212 w 2436"/>
                    <a:gd name="T95" fmla="*/ 444 h 1362"/>
                    <a:gd name="T96" fmla="*/ 1206 w 2436"/>
                    <a:gd name="T97" fmla="*/ 336 h 1362"/>
                    <a:gd name="T98" fmla="*/ 1062 w 2436"/>
                    <a:gd name="T99" fmla="*/ 432 h 1362"/>
                    <a:gd name="T100" fmla="*/ 816 w 2436"/>
                    <a:gd name="T101" fmla="*/ 378 h 1362"/>
                    <a:gd name="T102" fmla="*/ 828 w 2436"/>
                    <a:gd name="T103" fmla="*/ 288 h 1362"/>
                    <a:gd name="T104" fmla="*/ 678 w 2436"/>
                    <a:gd name="T105" fmla="*/ 294 h 1362"/>
                    <a:gd name="T106" fmla="*/ 468 w 2436"/>
                    <a:gd name="T107" fmla="*/ 288 h 1362"/>
                    <a:gd name="T108" fmla="*/ 546 w 2436"/>
                    <a:gd name="T109" fmla="*/ 234 h 1362"/>
                    <a:gd name="T110" fmla="*/ 456 w 2436"/>
                    <a:gd name="T111" fmla="*/ 138 h 1362"/>
                    <a:gd name="T112" fmla="*/ 354 w 2436"/>
                    <a:gd name="T113" fmla="*/ 54 h 1362"/>
                    <a:gd name="T114" fmla="*/ 492 w 2436"/>
                    <a:gd name="T115" fmla="*/ 6 h 1362"/>
                    <a:gd name="T116" fmla="*/ 732 w 2436"/>
                    <a:gd name="T117" fmla="*/ 126 h 1362"/>
                    <a:gd name="T118" fmla="*/ 756 w 2436"/>
                    <a:gd name="T119" fmla="*/ 30 h 13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436" h="1362">
                      <a:moveTo>
                        <a:pt x="780" y="0"/>
                      </a:moveTo>
                      <a:lnTo>
                        <a:pt x="798" y="0"/>
                      </a:lnTo>
                      <a:lnTo>
                        <a:pt x="816" y="0"/>
                      </a:lnTo>
                      <a:lnTo>
                        <a:pt x="840" y="6"/>
                      </a:lnTo>
                      <a:lnTo>
                        <a:pt x="888" y="12"/>
                      </a:lnTo>
                      <a:lnTo>
                        <a:pt x="924" y="18"/>
                      </a:lnTo>
                      <a:lnTo>
                        <a:pt x="948" y="36"/>
                      </a:lnTo>
                      <a:lnTo>
                        <a:pt x="966" y="54"/>
                      </a:lnTo>
                      <a:lnTo>
                        <a:pt x="984" y="72"/>
                      </a:lnTo>
                      <a:lnTo>
                        <a:pt x="1008" y="90"/>
                      </a:lnTo>
                      <a:lnTo>
                        <a:pt x="1038" y="108"/>
                      </a:lnTo>
                      <a:lnTo>
                        <a:pt x="1062" y="132"/>
                      </a:lnTo>
                      <a:lnTo>
                        <a:pt x="1080" y="156"/>
                      </a:lnTo>
                      <a:lnTo>
                        <a:pt x="1104" y="174"/>
                      </a:lnTo>
                      <a:lnTo>
                        <a:pt x="1134" y="192"/>
                      </a:lnTo>
                      <a:lnTo>
                        <a:pt x="1152" y="192"/>
                      </a:lnTo>
                      <a:lnTo>
                        <a:pt x="1164" y="192"/>
                      </a:lnTo>
                      <a:lnTo>
                        <a:pt x="1170" y="192"/>
                      </a:lnTo>
                      <a:lnTo>
                        <a:pt x="1170" y="180"/>
                      </a:lnTo>
                      <a:lnTo>
                        <a:pt x="1170" y="174"/>
                      </a:lnTo>
                      <a:lnTo>
                        <a:pt x="1164" y="162"/>
                      </a:lnTo>
                      <a:lnTo>
                        <a:pt x="1158" y="150"/>
                      </a:lnTo>
                      <a:lnTo>
                        <a:pt x="1152" y="144"/>
                      </a:lnTo>
                      <a:lnTo>
                        <a:pt x="1140" y="132"/>
                      </a:lnTo>
                      <a:lnTo>
                        <a:pt x="1140" y="120"/>
                      </a:lnTo>
                      <a:lnTo>
                        <a:pt x="1146" y="114"/>
                      </a:lnTo>
                      <a:lnTo>
                        <a:pt x="1152" y="114"/>
                      </a:lnTo>
                      <a:lnTo>
                        <a:pt x="1170" y="108"/>
                      </a:lnTo>
                      <a:lnTo>
                        <a:pt x="1188" y="102"/>
                      </a:lnTo>
                      <a:lnTo>
                        <a:pt x="1206" y="102"/>
                      </a:lnTo>
                      <a:lnTo>
                        <a:pt x="1224" y="102"/>
                      </a:lnTo>
                      <a:lnTo>
                        <a:pt x="1236" y="102"/>
                      </a:lnTo>
                      <a:lnTo>
                        <a:pt x="1254" y="108"/>
                      </a:lnTo>
                      <a:lnTo>
                        <a:pt x="1266" y="120"/>
                      </a:lnTo>
                      <a:lnTo>
                        <a:pt x="1278" y="126"/>
                      </a:lnTo>
                      <a:lnTo>
                        <a:pt x="1290" y="120"/>
                      </a:lnTo>
                      <a:lnTo>
                        <a:pt x="1296" y="114"/>
                      </a:lnTo>
                      <a:lnTo>
                        <a:pt x="1302" y="108"/>
                      </a:lnTo>
                      <a:lnTo>
                        <a:pt x="1302" y="96"/>
                      </a:lnTo>
                      <a:lnTo>
                        <a:pt x="1308" y="84"/>
                      </a:lnTo>
                      <a:lnTo>
                        <a:pt x="1308" y="72"/>
                      </a:lnTo>
                      <a:lnTo>
                        <a:pt x="1308" y="66"/>
                      </a:lnTo>
                      <a:lnTo>
                        <a:pt x="1320" y="60"/>
                      </a:lnTo>
                      <a:lnTo>
                        <a:pt x="1326" y="60"/>
                      </a:lnTo>
                      <a:lnTo>
                        <a:pt x="1344" y="54"/>
                      </a:lnTo>
                      <a:lnTo>
                        <a:pt x="1356" y="54"/>
                      </a:lnTo>
                      <a:lnTo>
                        <a:pt x="1374" y="60"/>
                      </a:lnTo>
                      <a:lnTo>
                        <a:pt x="1392" y="66"/>
                      </a:lnTo>
                      <a:lnTo>
                        <a:pt x="1404" y="78"/>
                      </a:lnTo>
                      <a:lnTo>
                        <a:pt x="1416" y="90"/>
                      </a:lnTo>
                      <a:lnTo>
                        <a:pt x="1428" y="108"/>
                      </a:lnTo>
                      <a:lnTo>
                        <a:pt x="1440" y="126"/>
                      </a:lnTo>
                      <a:lnTo>
                        <a:pt x="1452" y="138"/>
                      </a:lnTo>
                      <a:lnTo>
                        <a:pt x="1458" y="156"/>
                      </a:lnTo>
                      <a:lnTo>
                        <a:pt x="1464" y="168"/>
                      </a:lnTo>
                      <a:lnTo>
                        <a:pt x="1476" y="180"/>
                      </a:lnTo>
                      <a:lnTo>
                        <a:pt x="1482" y="186"/>
                      </a:lnTo>
                      <a:lnTo>
                        <a:pt x="1494" y="186"/>
                      </a:lnTo>
                      <a:lnTo>
                        <a:pt x="1500" y="186"/>
                      </a:lnTo>
                      <a:lnTo>
                        <a:pt x="1506" y="180"/>
                      </a:lnTo>
                      <a:lnTo>
                        <a:pt x="1506" y="162"/>
                      </a:lnTo>
                      <a:lnTo>
                        <a:pt x="1512" y="144"/>
                      </a:lnTo>
                      <a:lnTo>
                        <a:pt x="1506" y="132"/>
                      </a:lnTo>
                      <a:lnTo>
                        <a:pt x="1500" y="114"/>
                      </a:lnTo>
                      <a:lnTo>
                        <a:pt x="1488" y="102"/>
                      </a:lnTo>
                      <a:lnTo>
                        <a:pt x="1482" y="90"/>
                      </a:lnTo>
                      <a:lnTo>
                        <a:pt x="1482" y="78"/>
                      </a:lnTo>
                      <a:lnTo>
                        <a:pt x="1488" y="72"/>
                      </a:lnTo>
                      <a:lnTo>
                        <a:pt x="1500" y="66"/>
                      </a:lnTo>
                      <a:lnTo>
                        <a:pt x="1518" y="60"/>
                      </a:lnTo>
                      <a:lnTo>
                        <a:pt x="1542" y="54"/>
                      </a:lnTo>
                      <a:lnTo>
                        <a:pt x="1554" y="60"/>
                      </a:lnTo>
                      <a:lnTo>
                        <a:pt x="1572" y="66"/>
                      </a:lnTo>
                      <a:lnTo>
                        <a:pt x="1584" y="78"/>
                      </a:lnTo>
                      <a:lnTo>
                        <a:pt x="1602" y="90"/>
                      </a:lnTo>
                      <a:lnTo>
                        <a:pt x="1608" y="102"/>
                      </a:lnTo>
                      <a:lnTo>
                        <a:pt x="1620" y="108"/>
                      </a:lnTo>
                      <a:lnTo>
                        <a:pt x="1626" y="108"/>
                      </a:lnTo>
                      <a:lnTo>
                        <a:pt x="1638" y="108"/>
                      </a:lnTo>
                      <a:lnTo>
                        <a:pt x="1650" y="108"/>
                      </a:lnTo>
                      <a:lnTo>
                        <a:pt x="1668" y="108"/>
                      </a:lnTo>
                      <a:lnTo>
                        <a:pt x="1686" y="114"/>
                      </a:lnTo>
                      <a:lnTo>
                        <a:pt x="1722" y="126"/>
                      </a:lnTo>
                      <a:lnTo>
                        <a:pt x="1734" y="156"/>
                      </a:lnTo>
                      <a:lnTo>
                        <a:pt x="1740" y="192"/>
                      </a:lnTo>
                      <a:lnTo>
                        <a:pt x="1752" y="240"/>
                      </a:lnTo>
                      <a:lnTo>
                        <a:pt x="1758" y="264"/>
                      </a:lnTo>
                      <a:lnTo>
                        <a:pt x="1770" y="276"/>
                      </a:lnTo>
                      <a:lnTo>
                        <a:pt x="1776" y="282"/>
                      </a:lnTo>
                      <a:lnTo>
                        <a:pt x="1782" y="282"/>
                      </a:lnTo>
                      <a:lnTo>
                        <a:pt x="1788" y="276"/>
                      </a:lnTo>
                      <a:lnTo>
                        <a:pt x="1794" y="264"/>
                      </a:lnTo>
                      <a:lnTo>
                        <a:pt x="1794" y="252"/>
                      </a:lnTo>
                      <a:lnTo>
                        <a:pt x="1800" y="240"/>
                      </a:lnTo>
                      <a:lnTo>
                        <a:pt x="1800" y="222"/>
                      </a:lnTo>
                      <a:lnTo>
                        <a:pt x="1800" y="204"/>
                      </a:lnTo>
                      <a:lnTo>
                        <a:pt x="1800" y="192"/>
                      </a:lnTo>
                      <a:lnTo>
                        <a:pt x="1800" y="174"/>
                      </a:lnTo>
                      <a:lnTo>
                        <a:pt x="1800" y="162"/>
                      </a:lnTo>
                      <a:lnTo>
                        <a:pt x="1806" y="156"/>
                      </a:lnTo>
                      <a:lnTo>
                        <a:pt x="1818" y="150"/>
                      </a:lnTo>
                      <a:lnTo>
                        <a:pt x="1830" y="150"/>
                      </a:lnTo>
                      <a:lnTo>
                        <a:pt x="1842" y="162"/>
                      </a:lnTo>
                      <a:lnTo>
                        <a:pt x="1854" y="174"/>
                      </a:lnTo>
                      <a:lnTo>
                        <a:pt x="1872" y="186"/>
                      </a:lnTo>
                      <a:lnTo>
                        <a:pt x="1884" y="192"/>
                      </a:lnTo>
                      <a:lnTo>
                        <a:pt x="1902" y="198"/>
                      </a:lnTo>
                      <a:lnTo>
                        <a:pt x="1968" y="210"/>
                      </a:lnTo>
                      <a:lnTo>
                        <a:pt x="2028" y="240"/>
                      </a:lnTo>
                      <a:lnTo>
                        <a:pt x="2040" y="246"/>
                      </a:lnTo>
                      <a:lnTo>
                        <a:pt x="2052" y="258"/>
                      </a:lnTo>
                      <a:lnTo>
                        <a:pt x="2064" y="264"/>
                      </a:lnTo>
                      <a:lnTo>
                        <a:pt x="2070" y="270"/>
                      </a:lnTo>
                      <a:lnTo>
                        <a:pt x="2082" y="276"/>
                      </a:lnTo>
                      <a:lnTo>
                        <a:pt x="2100" y="276"/>
                      </a:lnTo>
                      <a:lnTo>
                        <a:pt x="2118" y="282"/>
                      </a:lnTo>
                      <a:lnTo>
                        <a:pt x="2136" y="282"/>
                      </a:lnTo>
                      <a:lnTo>
                        <a:pt x="2148" y="288"/>
                      </a:lnTo>
                      <a:lnTo>
                        <a:pt x="2148" y="288"/>
                      </a:lnTo>
                      <a:lnTo>
                        <a:pt x="2142" y="294"/>
                      </a:lnTo>
                      <a:lnTo>
                        <a:pt x="2136" y="300"/>
                      </a:lnTo>
                      <a:lnTo>
                        <a:pt x="2124" y="312"/>
                      </a:lnTo>
                      <a:lnTo>
                        <a:pt x="2112" y="318"/>
                      </a:lnTo>
                      <a:lnTo>
                        <a:pt x="2100" y="324"/>
                      </a:lnTo>
                      <a:lnTo>
                        <a:pt x="2088" y="330"/>
                      </a:lnTo>
                      <a:lnTo>
                        <a:pt x="2082" y="336"/>
                      </a:lnTo>
                      <a:lnTo>
                        <a:pt x="2088" y="342"/>
                      </a:lnTo>
                      <a:lnTo>
                        <a:pt x="2094" y="348"/>
                      </a:lnTo>
                      <a:lnTo>
                        <a:pt x="2106" y="348"/>
                      </a:lnTo>
                      <a:lnTo>
                        <a:pt x="2118" y="354"/>
                      </a:lnTo>
                      <a:lnTo>
                        <a:pt x="2136" y="354"/>
                      </a:lnTo>
                      <a:lnTo>
                        <a:pt x="2148" y="354"/>
                      </a:lnTo>
                      <a:lnTo>
                        <a:pt x="2172" y="354"/>
                      </a:lnTo>
                      <a:lnTo>
                        <a:pt x="2190" y="348"/>
                      </a:lnTo>
                      <a:lnTo>
                        <a:pt x="2202" y="336"/>
                      </a:lnTo>
                      <a:lnTo>
                        <a:pt x="2214" y="324"/>
                      </a:lnTo>
                      <a:lnTo>
                        <a:pt x="2232" y="312"/>
                      </a:lnTo>
                      <a:lnTo>
                        <a:pt x="2262" y="312"/>
                      </a:lnTo>
                      <a:lnTo>
                        <a:pt x="2298" y="318"/>
                      </a:lnTo>
                      <a:lnTo>
                        <a:pt x="2322" y="330"/>
                      </a:lnTo>
                      <a:lnTo>
                        <a:pt x="2334" y="342"/>
                      </a:lnTo>
                      <a:lnTo>
                        <a:pt x="2346" y="354"/>
                      </a:lnTo>
                      <a:lnTo>
                        <a:pt x="2352" y="360"/>
                      </a:lnTo>
                      <a:lnTo>
                        <a:pt x="2358" y="366"/>
                      </a:lnTo>
                      <a:lnTo>
                        <a:pt x="2370" y="372"/>
                      </a:lnTo>
                      <a:lnTo>
                        <a:pt x="2388" y="378"/>
                      </a:lnTo>
                      <a:lnTo>
                        <a:pt x="2412" y="378"/>
                      </a:lnTo>
                      <a:lnTo>
                        <a:pt x="2424" y="378"/>
                      </a:lnTo>
                      <a:lnTo>
                        <a:pt x="2436" y="384"/>
                      </a:lnTo>
                      <a:lnTo>
                        <a:pt x="2436" y="390"/>
                      </a:lnTo>
                      <a:lnTo>
                        <a:pt x="2436" y="396"/>
                      </a:lnTo>
                      <a:lnTo>
                        <a:pt x="2430" y="402"/>
                      </a:lnTo>
                      <a:lnTo>
                        <a:pt x="2418" y="414"/>
                      </a:lnTo>
                      <a:lnTo>
                        <a:pt x="2406" y="426"/>
                      </a:lnTo>
                      <a:lnTo>
                        <a:pt x="2394" y="432"/>
                      </a:lnTo>
                      <a:lnTo>
                        <a:pt x="2382" y="444"/>
                      </a:lnTo>
                      <a:lnTo>
                        <a:pt x="2370" y="450"/>
                      </a:lnTo>
                      <a:lnTo>
                        <a:pt x="2340" y="468"/>
                      </a:lnTo>
                      <a:lnTo>
                        <a:pt x="2310" y="486"/>
                      </a:lnTo>
                      <a:lnTo>
                        <a:pt x="2268" y="492"/>
                      </a:lnTo>
                      <a:lnTo>
                        <a:pt x="2238" y="492"/>
                      </a:lnTo>
                      <a:lnTo>
                        <a:pt x="2214" y="486"/>
                      </a:lnTo>
                      <a:lnTo>
                        <a:pt x="2190" y="486"/>
                      </a:lnTo>
                      <a:lnTo>
                        <a:pt x="2154" y="492"/>
                      </a:lnTo>
                      <a:lnTo>
                        <a:pt x="2118" y="498"/>
                      </a:lnTo>
                      <a:lnTo>
                        <a:pt x="2094" y="492"/>
                      </a:lnTo>
                      <a:lnTo>
                        <a:pt x="2064" y="486"/>
                      </a:lnTo>
                      <a:lnTo>
                        <a:pt x="2028" y="480"/>
                      </a:lnTo>
                      <a:lnTo>
                        <a:pt x="1992" y="474"/>
                      </a:lnTo>
                      <a:lnTo>
                        <a:pt x="1962" y="468"/>
                      </a:lnTo>
                      <a:lnTo>
                        <a:pt x="1944" y="468"/>
                      </a:lnTo>
                      <a:lnTo>
                        <a:pt x="1932" y="480"/>
                      </a:lnTo>
                      <a:lnTo>
                        <a:pt x="1920" y="492"/>
                      </a:lnTo>
                      <a:lnTo>
                        <a:pt x="1908" y="498"/>
                      </a:lnTo>
                      <a:lnTo>
                        <a:pt x="1896" y="498"/>
                      </a:lnTo>
                      <a:lnTo>
                        <a:pt x="1878" y="504"/>
                      </a:lnTo>
                      <a:lnTo>
                        <a:pt x="1860" y="510"/>
                      </a:lnTo>
                      <a:lnTo>
                        <a:pt x="1830" y="516"/>
                      </a:lnTo>
                      <a:lnTo>
                        <a:pt x="1812" y="522"/>
                      </a:lnTo>
                      <a:lnTo>
                        <a:pt x="1800" y="534"/>
                      </a:lnTo>
                      <a:lnTo>
                        <a:pt x="1788" y="546"/>
                      </a:lnTo>
                      <a:lnTo>
                        <a:pt x="1782" y="558"/>
                      </a:lnTo>
                      <a:lnTo>
                        <a:pt x="1788" y="570"/>
                      </a:lnTo>
                      <a:lnTo>
                        <a:pt x="1800" y="576"/>
                      </a:lnTo>
                      <a:lnTo>
                        <a:pt x="1818" y="576"/>
                      </a:lnTo>
                      <a:lnTo>
                        <a:pt x="1842" y="576"/>
                      </a:lnTo>
                      <a:lnTo>
                        <a:pt x="1866" y="564"/>
                      </a:lnTo>
                      <a:lnTo>
                        <a:pt x="1938" y="546"/>
                      </a:lnTo>
                      <a:lnTo>
                        <a:pt x="2028" y="540"/>
                      </a:lnTo>
                      <a:lnTo>
                        <a:pt x="2052" y="540"/>
                      </a:lnTo>
                      <a:lnTo>
                        <a:pt x="2064" y="540"/>
                      </a:lnTo>
                      <a:lnTo>
                        <a:pt x="2076" y="546"/>
                      </a:lnTo>
                      <a:lnTo>
                        <a:pt x="2076" y="552"/>
                      </a:lnTo>
                      <a:lnTo>
                        <a:pt x="2076" y="558"/>
                      </a:lnTo>
                      <a:lnTo>
                        <a:pt x="2070" y="570"/>
                      </a:lnTo>
                      <a:lnTo>
                        <a:pt x="2058" y="576"/>
                      </a:lnTo>
                      <a:lnTo>
                        <a:pt x="2046" y="582"/>
                      </a:lnTo>
                      <a:lnTo>
                        <a:pt x="2028" y="588"/>
                      </a:lnTo>
                      <a:lnTo>
                        <a:pt x="1986" y="606"/>
                      </a:lnTo>
                      <a:lnTo>
                        <a:pt x="1932" y="624"/>
                      </a:lnTo>
                      <a:lnTo>
                        <a:pt x="1890" y="636"/>
                      </a:lnTo>
                      <a:lnTo>
                        <a:pt x="1854" y="648"/>
                      </a:lnTo>
                      <a:lnTo>
                        <a:pt x="1842" y="654"/>
                      </a:lnTo>
                      <a:lnTo>
                        <a:pt x="1836" y="660"/>
                      </a:lnTo>
                      <a:lnTo>
                        <a:pt x="1836" y="672"/>
                      </a:lnTo>
                      <a:lnTo>
                        <a:pt x="1830" y="678"/>
                      </a:lnTo>
                      <a:lnTo>
                        <a:pt x="1830" y="690"/>
                      </a:lnTo>
                      <a:lnTo>
                        <a:pt x="1824" y="696"/>
                      </a:lnTo>
                      <a:lnTo>
                        <a:pt x="1818" y="696"/>
                      </a:lnTo>
                      <a:lnTo>
                        <a:pt x="1806" y="696"/>
                      </a:lnTo>
                      <a:lnTo>
                        <a:pt x="1794" y="690"/>
                      </a:lnTo>
                      <a:lnTo>
                        <a:pt x="1788" y="684"/>
                      </a:lnTo>
                      <a:lnTo>
                        <a:pt x="1782" y="672"/>
                      </a:lnTo>
                      <a:lnTo>
                        <a:pt x="1770" y="660"/>
                      </a:lnTo>
                      <a:lnTo>
                        <a:pt x="1764" y="648"/>
                      </a:lnTo>
                      <a:lnTo>
                        <a:pt x="1752" y="648"/>
                      </a:lnTo>
                      <a:lnTo>
                        <a:pt x="1740" y="648"/>
                      </a:lnTo>
                      <a:lnTo>
                        <a:pt x="1734" y="660"/>
                      </a:lnTo>
                      <a:lnTo>
                        <a:pt x="1722" y="678"/>
                      </a:lnTo>
                      <a:lnTo>
                        <a:pt x="1704" y="696"/>
                      </a:lnTo>
                      <a:lnTo>
                        <a:pt x="1692" y="708"/>
                      </a:lnTo>
                      <a:lnTo>
                        <a:pt x="1680" y="708"/>
                      </a:lnTo>
                      <a:lnTo>
                        <a:pt x="1668" y="708"/>
                      </a:lnTo>
                      <a:lnTo>
                        <a:pt x="1656" y="702"/>
                      </a:lnTo>
                      <a:lnTo>
                        <a:pt x="1650" y="702"/>
                      </a:lnTo>
                      <a:lnTo>
                        <a:pt x="1650" y="708"/>
                      </a:lnTo>
                      <a:lnTo>
                        <a:pt x="1650" y="720"/>
                      </a:lnTo>
                      <a:lnTo>
                        <a:pt x="1650" y="738"/>
                      </a:lnTo>
                      <a:lnTo>
                        <a:pt x="1650" y="750"/>
                      </a:lnTo>
                      <a:lnTo>
                        <a:pt x="1644" y="762"/>
                      </a:lnTo>
                      <a:lnTo>
                        <a:pt x="1632" y="774"/>
                      </a:lnTo>
                      <a:lnTo>
                        <a:pt x="1620" y="774"/>
                      </a:lnTo>
                      <a:lnTo>
                        <a:pt x="1608" y="780"/>
                      </a:lnTo>
                      <a:lnTo>
                        <a:pt x="1596" y="774"/>
                      </a:lnTo>
                      <a:lnTo>
                        <a:pt x="1566" y="762"/>
                      </a:lnTo>
                      <a:lnTo>
                        <a:pt x="1530" y="774"/>
                      </a:lnTo>
                      <a:lnTo>
                        <a:pt x="1500" y="798"/>
                      </a:lnTo>
                      <a:lnTo>
                        <a:pt x="1482" y="804"/>
                      </a:lnTo>
                      <a:lnTo>
                        <a:pt x="1464" y="810"/>
                      </a:lnTo>
                      <a:lnTo>
                        <a:pt x="1452" y="804"/>
                      </a:lnTo>
                      <a:lnTo>
                        <a:pt x="1434" y="798"/>
                      </a:lnTo>
                      <a:lnTo>
                        <a:pt x="1422" y="786"/>
                      </a:lnTo>
                      <a:lnTo>
                        <a:pt x="1404" y="774"/>
                      </a:lnTo>
                      <a:lnTo>
                        <a:pt x="1392" y="774"/>
                      </a:lnTo>
                      <a:lnTo>
                        <a:pt x="1380" y="774"/>
                      </a:lnTo>
                      <a:lnTo>
                        <a:pt x="1368" y="780"/>
                      </a:lnTo>
                      <a:lnTo>
                        <a:pt x="1362" y="780"/>
                      </a:lnTo>
                      <a:lnTo>
                        <a:pt x="1356" y="786"/>
                      </a:lnTo>
                      <a:lnTo>
                        <a:pt x="1350" y="792"/>
                      </a:lnTo>
                      <a:lnTo>
                        <a:pt x="1338" y="786"/>
                      </a:lnTo>
                      <a:lnTo>
                        <a:pt x="1326" y="786"/>
                      </a:lnTo>
                      <a:lnTo>
                        <a:pt x="1314" y="792"/>
                      </a:lnTo>
                      <a:lnTo>
                        <a:pt x="1302" y="798"/>
                      </a:lnTo>
                      <a:lnTo>
                        <a:pt x="1296" y="804"/>
                      </a:lnTo>
                      <a:lnTo>
                        <a:pt x="1284" y="804"/>
                      </a:lnTo>
                      <a:lnTo>
                        <a:pt x="1278" y="798"/>
                      </a:lnTo>
                      <a:lnTo>
                        <a:pt x="1266" y="792"/>
                      </a:lnTo>
                      <a:lnTo>
                        <a:pt x="1254" y="786"/>
                      </a:lnTo>
                      <a:lnTo>
                        <a:pt x="1242" y="786"/>
                      </a:lnTo>
                      <a:lnTo>
                        <a:pt x="1230" y="792"/>
                      </a:lnTo>
                      <a:lnTo>
                        <a:pt x="1218" y="792"/>
                      </a:lnTo>
                      <a:lnTo>
                        <a:pt x="1206" y="792"/>
                      </a:lnTo>
                      <a:lnTo>
                        <a:pt x="1200" y="786"/>
                      </a:lnTo>
                      <a:lnTo>
                        <a:pt x="1194" y="780"/>
                      </a:lnTo>
                      <a:lnTo>
                        <a:pt x="1182" y="780"/>
                      </a:lnTo>
                      <a:lnTo>
                        <a:pt x="1170" y="774"/>
                      </a:lnTo>
                      <a:lnTo>
                        <a:pt x="1164" y="780"/>
                      </a:lnTo>
                      <a:lnTo>
                        <a:pt x="1152" y="792"/>
                      </a:lnTo>
                      <a:lnTo>
                        <a:pt x="1152" y="804"/>
                      </a:lnTo>
                      <a:lnTo>
                        <a:pt x="1152" y="810"/>
                      </a:lnTo>
                      <a:lnTo>
                        <a:pt x="1158" y="822"/>
                      </a:lnTo>
                      <a:lnTo>
                        <a:pt x="1164" y="828"/>
                      </a:lnTo>
                      <a:lnTo>
                        <a:pt x="1170" y="834"/>
                      </a:lnTo>
                      <a:lnTo>
                        <a:pt x="1164" y="840"/>
                      </a:lnTo>
                      <a:lnTo>
                        <a:pt x="1158" y="846"/>
                      </a:lnTo>
                      <a:lnTo>
                        <a:pt x="1146" y="858"/>
                      </a:lnTo>
                      <a:lnTo>
                        <a:pt x="1152" y="876"/>
                      </a:lnTo>
                      <a:lnTo>
                        <a:pt x="1188" y="888"/>
                      </a:lnTo>
                      <a:lnTo>
                        <a:pt x="1254" y="894"/>
                      </a:lnTo>
                      <a:lnTo>
                        <a:pt x="1278" y="900"/>
                      </a:lnTo>
                      <a:lnTo>
                        <a:pt x="1296" y="900"/>
                      </a:lnTo>
                      <a:lnTo>
                        <a:pt x="1308" y="906"/>
                      </a:lnTo>
                      <a:lnTo>
                        <a:pt x="1314" y="912"/>
                      </a:lnTo>
                      <a:lnTo>
                        <a:pt x="1314" y="918"/>
                      </a:lnTo>
                      <a:lnTo>
                        <a:pt x="1308" y="924"/>
                      </a:lnTo>
                      <a:lnTo>
                        <a:pt x="1296" y="924"/>
                      </a:lnTo>
                      <a:lnTo>
                        <a:pt x="1290" y="930"/>
                      </a:lnTo>
                      <a:lnTo>
                        <a:pt x="1278" y="936"/>
                      </a:lnTo>
                      <a:lnTo>
                        <a:pt x="1266" y="942"/>
                      </a:lnTo>
                      <a:lnTo>
                        <a:pt x="1254" y="942"/>
                      </a:lnTo>
                      <a:lnTo>
                        <a:pt x="1242" y="948"/>
                      </a:lnTo>
                      <a:lnTo>
                        <a:pt x="1230" y="954"/>
                      </a:lnTo>
                      <a:lnTo>
                        <a:pt x="1230" y="960"/>
                      </a:lnTo>
                      <a:lnTo>
                        <a:pt x="1236" y="966"/>
                      </a:lnTo>
                      <a:lnTo>
                        <a:pt x="1248" y="972"/>
                      </a:lnTo>
                      <a:lnTo>
                        <a:pt x="1272" y="978"/>
                      </a:lnTo>
                      <a:lnTo>
                        <a:pt x="1290" y="984"/>
                      </a:lnTo>
                      <a:lnTo>
                        <a:pt x="1296" y="990"/>
                      </a:lnTo>
                      <a:lnTo>
                        <a:pt x="1296" y="990"/>
                      </a:lnTo>
                      <a:lnTo>
                        <a:pt x="1290" y="996"/>
                      </a:lnTo>
                      <a:lnTo>
                        <a:pt x="1278" y="996"/>
                      </a:lnTo>
                      <a:lnTo>
                        <a:pt x="1254" y="1002"/>
                      </a:lnTo>
                      <a:lnTo>
                        <a:pt x="1236" y="1002"/>
                      </a:lnTo>
                      <a:lnTo>
                        <a:pt x="1206" y="1002"/>
                      </a:lnTo>
                      <a:lnTo>
                        <a:pt x="1188" y="1008"/>
                      </a:lnTo>
                      <a:lnTo>
                        <a:pt x="1176" y="1014"/>
                      </a:lnTo>
                      <a:lnTo>
                        <a:pt x="1170" y="1026"/>
                      </a:lnTo>
                      <a:lnTo>
                        <a:pt x="1170" y="1038"/>
                      </a:lnTo>
                      <a:lnTo>
                        <a:pt x="1176" y="1050"/>
                      </a:lnTo>
                      <a:lnTo>
                        <a:pt x="1170" y="1068"/>
                      </a:lnTo>
                      <a:lnTo>
                        <a:pt x="1152" y="1068"/>
                      </a:lnTo>
                      <a:lnTo>
                        <a:pt x="1128" y="1062"/>
                      </a:lnTo>
                      <a:lnTo>
                        <a:pt x="1098" y="1050"/>
                      </a:lnTo>
                      <a:lnTo>
                        <a:pt x="1074" y="1044"/>
                      </a:lnTo>
                      <a:lnTo>
                        <a:pt x="1062" y="1038"/>
                      </a:lnTo>
                      <a:lnTo>
                        <a:pt x="1050" y="1044"/>
                      </a:lnTo>
                      <a:lnTo>
                        <a:pt x="1038" y="1044"/>
                      </a:lnTo>
                      <a:lnTo>
                        <a:pt x="1026" y="1050"/>
                      </a:lnTo>
                      <a:lnTo>
                        <a:pt x="1014" y="1062"/>
                      </a:lnTo>
                      <a:lnTo>
                        <a:pt x="1002" y="1068"/>
                      </a:lnTo>
                      <a:lnTo>
                        <a:pt x="984" y="1074"/>
                      </a:lnTo>
                      <a:lnTo>
                        <a:pt x="966" y="1080"/>
                      </a:lnTo>
                      <a:lnTo>
                        <a:pt x="960" y="1092"/>
                      </a:lnTo>
                      <a:lnTo>
                        <a:pt x="948" y="1110"/>
                      </a:lnTo>
                      <a:lnTo>
                        <a:pt x="942" y="1128"/>
                      </a:lnTo>
                      <a:lnTo>
                        <a:pt x="924" y="1146"/>
                      </a:lnTo>
                      <a:lnTo>
                        <a:pt x="894" y="1140"/>
                      </a:lnTo>
                      <a:lnTo>
                        <a:pt x="870" y="1128"/>
                      </a:lnTo>
                      <a:lnTo>
                        <a:pt x="846" y="1110"/>
                      </a:lnTo>
                      <a:lnTo>
                        <a:pt x="828" y="1104"/>
                      </a:lnTo>
                      <a:lnTo>
                        <a:pt x="810" y="1086"/>
                      </a:lnTo>
                      <a:lnTo>
                        <a:pt x="792" y="1074"/>
                      </a:lnTo>
                      <a:lnTo>
                        <a:pt x="780" y="1062"/>
                      </a:lnTo>
                      <a:lnTo>
                        <a:pt x="774" y="1044"/>
                      </a:lnTo>
                      <a:lnTo>
                        <a:pt x="768" y="1038"/>
                      </a:lnTo>
                      <a:lnTo>
                        <a:pt x="762" y="1038"/>
                      </a:lnTo>
                      <a:lnTo>
                        <a:pt x="756" y="1044"/>
                      </a:lnTo>
                      <a:lnTo>
                        <a:pt x="744" y="1056"/>
                      </a:lnTo>
                      <a:lnTo>
                        <a:pt x="738" y="1068"/>
                      </a:lnTo>
                      <a:lnTo>
                        <a:pt x="732" y="1086"/>
                      </a:lnTo>
                      <a:lnTo>
                        <a:pt x="726" y="1104"/>
                      </a:lnTo>
                      <a:lnTo>
                        <a:pt x="726" y="1110"/>
                      </a:lnTo>
                      <a:lnTo>
                        <a:pt x="732" y="1122"/>
                      </a:lnTo>
                      <a:lnTo>
                        <a:pt x="744" y="1128"/>
                      </a:lnTo>
                      <a:lnTo>
                        <a:pt x="756" y="1134"/>
                      </a:lnTo>
                      <a:lnTo>
                        <a:pt x="774" y="1140"/>
                      </a:lnTo>
                      <a:lnTo>
                        <a:pt x="798" y="1152"/>
                      </a:lnTo>
                      <a:lnTo>
                        <a:pt x="816" y="1170"/>
                      </a:lnTo>
                      <a:lnTo>
                        <a:pt x="828" y="1188"/>
                      </a:lnTo>
                      <a:lnTo>
                        <a:pt x="834" y="1206"/>
                      </a:lnTo>
                      <a:lnTo>
                        <a:pt x="840" y="1212"/>
                      </a:lnTo>
                      <a:lnTo>
                        <a:pt x="846" y="1218"/>
                      </a:lnTo>
                      <a:lnTo>
                        <a:pt x="858" y="1224"/>
                      </a:lnTo>
                      <a:lnTo>
                        <a:pt x="876" y="1224"/>
                      </a:lnTo>
                      <a:lnTo>
                        <a:pt x="888" y="1230"/>
                      </a:lnTo>
                      <a:lnTo>
                        <a:pt x="900" y="1230"/>
                      </a:lnTo>
                      <a:lnTo>
                        <a:pt x="906" y="1236"/>
                      </a:lnTo>
                      <a:lnTo>
                        <a:pt x="906" y="1242"/>
                      </a:lnTo>
                      <a:lnTo>
                        <a:pt x="900" y="1248"/>
                      </a:lnTo>
                      <a:lnTo>
                        <a:pt x="900" y="1248"/>
                      </a:lnTo>
                      <a:lnTo>
                        <a:pt x="906" y="1254"/>
                      </a:lnTo>
                      <a:lnTo>
                        <a:pt x="912" y="1254"/>
                      </a:lnTo>
                      <a:lnTo>
                        <a:pt x="918" y="1254"/>
                      </a:lnTo>
                      <a:lnTo>
                        <a:pt x="924" y="1260"/>
                      </a:lnTo>
                      <a:lnTo>
                        <a:pt x="930" y="1260"/>
                      </a:lnTo>
                      <a:lnTo>
                        <a:pt x="930" y="1272"/>
                      </a:lnTo>
                      <a:lnTo>
                        <a:pt x="930" y="1290"/>
                      </a:lnTo>
                      <a:lnTo>
                        <a:pt x="924" y="1296"/>
                      </a:lnTo>
                      <a:lnTo>
                        <a:pt x="912" y="1308"/>
                      </a:lnTo>
                      <a:lnTo>
                        <a:pt x="894" y="1326"/>
                      </a:lnTo>
                      <a:lnTo>
                        <a:pt x="882" y="1344"/>
                      </a:lnTo>
                      <a:lnTo>
                        <a:pt x="870" y="1356"/>
                      </a:lnTo>
                      <a:lnTo>
                        <a:pt x="858" y="1362"/>
                      </a:lnTo>
                      <a:lnTo>
                        <a:pt x="852" y="1362"/>
                      </a:lnTo>
                      <a:lnTo>
                        <a:pt x="846" y="1356"/>
                      </a:lnTo>
                      <a:lnTo>
                        <a:pt x="834" y="1350"/>
                      </a:lnTo>
                      <a:lnTo>
                        <a:pt x="828" y="1350"/>
                      </a:lnTo>
                      <a:lnTo>
                        <a:pt x="816" y="1344"/>
                      </a:lnTo>
                      <a:lnTo>
                        <a:pt x="804" y="1350"/>
                      </a:lnTo>
                      <a:lnTo>
                        <a:pt x="792" y="1350"/>
                      </a:lnTo>
                      <a:lnTo>
                        <a:pt x="780" y="1356"/>
                      </a:lnTo>
                      <a:lnTo>
                        <a:pt x="768" y="1356"/>
                      </a:lnTo>
                      <a:lnTo>
                        <a:pt x="762" y="1356"/>
                      </a:lnTo>
                      <a:lnTo>
                        <a:pt x="756" y="1344"/>
                      </a:lnTo>
                      <a:lnTo>
                        <a:pt x="750" y="1338"/>
                      </a:lnTo>
                      <a:lnTo>
                        <a:pt x="738" y="1326"/>
                      </a:lnTo>
                      <a:lnTo>
                        <a:pt x="726" y="1326"/>
                      </a:lnTo>
                      <a:lnTo>
                        <a:pt x="714" y="1320"/>
                      </a:lnTo>
                      <a:lnTo>
                        <a:pt x="702" y="1314"/>
                      </a:lnTo>
                      <a:lnTo>
                        <a:pt x="696" y="1314"/>
                      </a:lnTo>
                      <a:lnTo>
                        <a:pt x="690" y="1302"/>
                      </a:lnTo>
                      <a:lnTo>
                        <a:pt x="684" y="1296"/>
                      </a:lnTo>
                      <a:lnTo>
                        <a:pt x="678" y="1284"/>
                      </a:lnTo>
                      <a:lnTo>
                        <a:pt x="666" y="1278"/>
                      </a:lnTo>
                      <a:lnTo>
                        <a:pt x="654" y="1278"/>
                      </a:lnTo>
                      <a:lnTo>
                        <a:pt x="636" y="1278"/>
                      </a:lnTo>
                      <a:lnTo>
                        <a:pt x="624" y="1272"/>
                      </a:lnTo>
                      <a:lnTo>
                        <a:pt x="618" y="1266"/>
                      </a:lnTo>
                      <a:lnTo>
                        <a:pt x="606" y="1254"/>
                      </a:lnTo>
                      <a:lnTo>
                        <a:pt x="600" y="1230"/>
                      </a:lnTo>
                      <a:lnTo>
                        <a:pt x="594" y="1218"/>
                      </a:lnTo>
                      <a:lnTo>
                        <a:pt x="588" y="1212"/>
                      </a:lnTo>
                      <a:lnTo>
                        <a:pt x="582" y="1212"/>
                      </a:lnTo>
                      <a:lnTo>
                        <a:pt x="576" y="1218"/>
                      </a:lnTo>
                      <a:lnTo>
                        <a:pt x="570" y="1224"/>
                      </a:lnTo>
                      <a:lnTo>
                        <a:pt x="564" y="1236"/>
                      </a:lnTo>
                      <a:lnTo>
                        <a:pt x="558" y="1242"/>
                      </a:lnTo>
                      <a:lnTo>
                        <a:pt x="552" y="1242"/>
                      </a:lnTo>
                      <a:lnTo>
                        <a:pt x="546" y="1242"/>
                      </a:lnTo>
                      <a:lnTo>
                        <a:pt x="534" y="1236"/>
                      </a:lnTo>
                      <a:lnTo>
                        <a:pt x="528" y="1236"/>
                      </a:lnTo>
                      <a:lnTo>
                        <a:pt x="516" y="1230"/>
                      </a:lnTo>
                      <a:lnTo>
                        <a:pt x="504" y="1230"/>
                      </a:lnTo>
                      <a:lnTo>
                        <a:pt x="492" y="1230"/>
                      </a:lnTo>
                      <a:lnTo>
                        <a:pt x="492" y="1224"/>
                      </a:lnTo>
                      <a:lnTo>
                        <a:pt x="486" y="1218"/>
                      </a:lnTo>
                      <a:lnTo>
                        <a:pt x="480" y="1212"/>
                      </a:lnTo>
                      <a:lnTo>
                        <a:pt x="474" y="1212"/>
                      </a:lnTo>
                      <a:lnTo>
                        <a:pt x="468" y="1212"/>
                      </a:lnTo>
                      <a:lnTo>
                        <a:pt x="462" y="1206"/>
                      </a:lnTo>
                      <a:lnTo>
                        <a:pt x="456" y="1200"/>
                      </a:lnTo>
                      <a:lnTo>
                        <a:pt x="450" y="1194"/>
                      </a:lnTo>
                      <a:lnTo>
                        <a:pt x="444" y="1188"/>
                      </a:lnTo>
                      <a:lnTo>
                        <a:pt x="432" y="1188"/>
                      </a:lnTo>
                      <a:lnTo>
                        <a:pt x="420" y="1194"/>
                      </a:lnTo>
                      <a:lnTo>
                        <a:pt x="414" y="1200"/>
                      </a:lnTo>
                      <a:lnTo>
                        <a:pt x="408" y="1206"/>
                      </a:lnTo>
                      <a:lnTo>
                        <a:pt x="402" y="1218"/>
                      </a:lnTo>
                      <a:lnTo>
                        <a:pt x="402" y="1224"/>
                      </a:lnTo>
                      <a:lnTo>
                        <a:pt x="396" y="1230"/>
                      </a:lnTo>
                      <a:lnTo>
                        <a:pt x="390" y="1230"/>
                      </a:lnTo>
                      <a:lnTo>
                        <a:pt x="378" y="1230"/>
                      </a:lnTo>
                      <a:lnTo>
                        <a:pt x="366" y="1224"/>
                      </a:lnTo>
                      <a:lnTo>
                        <a:pt x="360" y="1218"/>
                      </a:lnTo>
                      <a:lnTo>
                        <a:pt x="348" y="1212"/>
                      </a:lnTo>
                      <a:lnTo>
                        <a:pt x="342" y="1200"/>
                      </a:lnTo>
                      <a:lnTo>
                        <a:pt x="324" y="1194"/>
                      </a:lnTo>
                      <a:lnTo>
                        <a:pt x="312" y="1188"/>
                      </a:lnTo>
                      <a:lnTo>
                        <a:pt x="294" y="1182"/>
                      </a:lnTo>
                      <a:lnTo>
                        <a:pt x="276" y="1176"/>
                      </a:lnTo>
                      <a:lnTo>
                        <a:pt x="264" y="1176"/>
                      </a:lnTo>
                      <a:lnTo>
                        <a:pt x="246" y="1170"/>
                      </a:lnTo>
                      <a:lnTo>
                        <a:pt x="234" y="1164"/>
                      </a:lnTo>
                      <a:lnTo>
                        <a:pt x="228" y="1158"/>
                      </a:lnTo>
                      <a:lnTo>
                        <a:pt x="216" y="1158"/>
                      </a:lnTo>
                      <a:lnTo>
                        <a:pt x="204" y="1164"/>
                      </a:lnTo>
                      <a:lnTo>
                        <a:pt x="198" y="1170"/>
                      </a:lnTo>
                      <a:lnTo>
                        <a:pt x="192" y="1164"/>
                      </a:lnTo>
                      <a:lnTo>
                        <a:pt x="180" y="1158"/>
                      </a:lnTo>
                      <a:lnTo>
                        <a:pt x="174" y="1152"/>
                      </a:lnTo>
                      <a:lnTo>
                        <a:pt x="168" y="1146"/>
                      </a:lnTo>
                      <a:lnTo>
                        <a:pt x="156" y="1140"/>
                      </a:lnTo>
                      <a:lnTo>
                        <a:pt x="144" y="1146"/>
                      </a:lnTo>
                      <a:lnTo>
                        <a:pt x="138" y="1152"/>
                      </a:lnTo>
                      <a:lnTo>
                        <a:pt x="132" y="1152"/>
                      </a:lnTo>
                      <a:lnTo>
                        <a:pt x="126" y="1146"/>
                      </a:lnTo>
                      <a:lnTo>
                        <a:pt x="120" y="1134"/>
                      </a:lnTo>
                      <a:lnTo>
                        <a:pt x="114" y="1128"/>
                      </a:lnTo>
                      <a:lnTo>
                        <a:pt x="108" y="1116"/>
                      </a:lnTo>
                      <a:lnTo>
                        <a:pt x="102" y="1110"/>
                      </a:lnTo>
                      <a:lnTo>
                        <a:pt x="102" y="1104"/>
                      </a:lnTo>
                      <a:lnTo>
                        <a:pt x="96" y="1104"/>
                      </a:lnTo>
                      <a:lnTo>
                        <a:pt x="84" y="1110"/>
                      </a:lnTo>
                      <a:lnTo>
                        <a:pt x="72" y="1110"/>
                      </a:lnTo>
                      <a:lnTo>
                        <a:pt x="66" y="1104"/>
                      </a:lnTo>
                      <a:lnTo>
                        <a:pt x="66" y="1086"/>
                      </a:lnTo>
                      <a:lnTo>
                        <a:pt x="66" y="1080"/>
                      </a:lnTo>
                      <a:lnTo>
                        <a:pt x="66" y="1074"/>
                      </a:lnTo>
                      <a:lnTo>
                        <a:pt x="60" y="1068"/>
                      </a:lnTo>
                      <a:lnTo>
                        <a:pt x="54" y="1074"/>
                      </a:lnTo>
                      <a:lnTo>
                        <a:pt x="36" y="1080"/>
                      </a:lnTo>
                      <a:lnTo>
                        <a:pt x="24" y="1092"/>
                      </a:lnTo>
                      <a:lnTo>
                        <a:pt x="12" y="1098"/>
                      </a:lnTo>
                      <a:lnTo>
                        <a:pt x="6" y="1092"/>
                      </a:lnTo>
                      <a:lnTo>
                        <a:pt x="0" y="1092"/>
                      </a:lnTo>
                      <a:lnTo>
                        <a:pt x="0" y="1080"/>
                      </a:lnTo>
                      <a:lnTo>
                        <a:pt x="6" y="1068"/>
                      </a:lnTo>
                      <a:lnTo>
                        <a:pt x="6" y="1056"/>
                      </a:lnTo>
                      <a:lnTo>
                        <a:pt x="12" y="1044"/>
                      </a:lnTo>
                      <a:lnTo>
                        <a:pt x="18" y="1032"/>
                      </a:lnTo>
                      <a:lnTo>
                        <a:pt x="24" y="1020"/>
                      </a:lnTo>
                      <a:lnTo>
                        <a:pt x="30" y="1002"/>
                      </a:lnTo>
                      <a:lnTo>
                        <a:pt x="42" y="990"/>
                      </a:lnTo>
                      <a:lnTo>
                        <a:pt x="54" y="978"/>
                      </a:lnTo>
                      <a:lnTo>
                        <a:pt x="66" y="972"/>
                      </a:lnTo>
                      <a:lnTo>
                        <a:pt x="84" y="972"/>
                      </a:lnTo>
                      <a:lnTo>
                        <a:pt x="96" y="978"/>
                      </a:lnTo>
                      <a:lnTo>
                        <a:pt x="108" y="984"/>
                      </a:lnTo>
                      <a:lnTo>
                        <a:pt x="120" y="990"/>
                      </a:lnTo>
                      <a:lnTo>
                        <a:pt x="132" y="990"/>
                      </a:lnTo>
                      <a:lnTo>
                        <a:pt x="144" y="984"/>
                      </a:lnTo>
                      <a:lnTo>
                        <a:pt x="150" y="978"/>
                      </a:lnTo>
                      <a:lnTo>
                        <a:pt x="162" y="972"/>
                      </a:lnTo>
                      <a:lnTo>
                        <a:pt x="174" y="966"/>
                      </a:lnTo>
                      <a:lnTo>
                        <a:pt x="186" y="966"/>
                      </a:lnTo>
                      <a:lnTo>
                        <a:pt x="198" y="972"/>
                      </a:lnTo>
                      <a:lnTo>
                        <a:pt x="210" y="984"/>
                      </a:lnTo>
                      <a:lnTo>
                        <a:pt x="222" y="990"/>
                      </a:lnTo>
                      <a:lnTo>
                        <a:pt x="234" y="996"/>
                      </a:lnTo>
                      <a:lnTo>
                        <a:pt x="252" y="1002"/>
                      </a:lnTo>
                      <a:lnTo>
                        <a:pt x="264" y="996"/>
                      </a:lnTo>
                      <a:lnTo>
                        <a:pt x="270" y="990"/>
                      </a:lnTo>
                      <a:lnTo>
                        <a:pt x="276" y="978"/>
                      </a:lnTo>
                      <a:lnTo>
                        <a:pt x="282" y="972"/>
                      </a:lnTo>
                      <a:lnTo>
                        <a:pt x="288" y="966"/>
                      </a:lnTo>
                      <a:lnTo>
                        <a:pt x="288" y="954"/>
                      </a:lnTo>
                      <a:lnTo>
                        <a:pt x="288" y="948"/>
                      </a:lnTo>
                      <a:lnTo>
                        <a:pt x="282" y="948"/>
                      </a:lnTo>
                      <a:lnTo>
                        <a:pt x="270" y="942"/>
                      </a:lnTo>
                      <a:lnTo>
                        <a:pt x="258" y="942"/>
                      </a:lnTo>
                      <a:lnTo>
                        <a:pt x="246" y="942"/>
                      </a:lnTo>
                      <a:lnTo>
                        <a:pt x="234" y="942"/>
                      </a:lnTo>
                      <a:lnTo>
                        <a:pt x="222" y="936"/>
                      </a:lnTo>
                      <a:lnTo>
                        <a:pt x="210" y="918"/>
                      </a:lnTo>
                      <a:lnTo>
                        <a:pt x="204" y="900"/>
                      </a:lnTo>
                      <a:lnTo>
                        <a:pt x="198" y="888"/>
                      </a:lnTo>
                      <a:lnTo>
                        <a:pt x="204" y="870"/>
                      </a:lnTo>
                      <a:lnTo>
                        <a:pt x="216" y="864"/>
                      </a:lnTo>
                      <a:lnTo>
                        <a:pt x="234" y="864"/>
                      </a:lnTo>
                      <a:lnTo>
                        <a:pt x="252" y="858"/>
                      </a:lnTo>
                      <a:lnTo>
                        <a:pt x="264" y="858"/>
                      </a:lnTo>
                      <a:lnTo>
                        <a:pt x="282" y="852"/>
                      </a:lnTo>
                      <a:lnTo>
                        <a:pt x="306" y="846"/>
                      </a:lnTo>
                      <a:lnTo>
                        <a:pt x="324" y="846"/>
                      </a:lnTo>
                      <a:lnTo>
                        <a:pt x="348" y="858"/>
                      </a:lnTo>
                      <a:lnTo>
                        <a:pt x="366" y="870"/>
                      </a:lnTo>
                      <a:lnTo>
                        <a:pt x="378" y="888"/>
                      </a:lnTo>
                      <a:lnTo>
                        <a:pt x="390" y="912"/>
                      </a:lnTo>
                      <a:lnTo>
                        <a:pt x="396" y="936"/>
                      </a:lnTo>
                      <a:lnTo>
                        <a:pt x="396" y="948"/>
                      </a:lnTo>
                      <a:lnTo>
                        <a:pt x="402" y="960"/>
                      </a:lnTo>
                      <a:lnTo>
                        <a:pt x="414" y="966"/>
                      </a:lnTo>
                      <a:lnTo>
                        <a:pt x="426" y="966"/>
                      </a:lnTo>
                      <a:lnTo>
                        <a:pt x="438" y="972"/>
                      </a:lnTo>
                      <a:lnTo>
                        <a:pt x="450" y="972"/>
                      </a:lnTo>
                      <a:lnTo>
                        <a:pt x="462" y="972"/>
                      </a:lnTo>
                      <a:lnTo>
                        <a:pt x="474" y="972"/>
                      </a:lnTo>
                      <a:lnTo>
                        <a:pt x="480" y="978"/>
                      </a:lnTo>
                      <a:lnTo>
                        <a:pt x="486" y="990"/>
                      </a:lnTo>
                      <a:lnTo>
                        <a:pt x="492" y="1002"/>
                      </a:lnTo>
                      <a:lnTo>
                        <a:pt x="498" y="1014"/>
                      </a:lnTo>
                      <a:lnTo>
                        <a:pt x="510" y="1026"/>
                      </a:lnTo>
                      <a:lnTo>
                        <a:pt x="522" y="1038"/>
                      </a:lnTo>
                      <a:lnTo>
                        <a:pt x="558" y="1056"/>
                      </a:lnTo>
                      <a:lnTo>
                        <a:pt x="588" y="1050"/>
                      </a:lnTo>
                      <a:lnTo>
                        <a:pt x="630" y="1050"/>
                      </a:lnTo>
                      <a:lnTo>
                        <a:pt x="642" y="1050"/>
                      </a:lnTo>
                      <a:lnTo>
                        <a:pt x="654" y="1044"/>
                      </a:lnTo>
                      <a:lnTo>
                        <a:pt x="660" y="1038"/>
                      </a:lnTo>
                      <a:lnTo>
                        <a:pt x="666" y="1032"/>
                      </a:lnTo>
                      <a:lnTo>
                        <a:pt x="666" y="1020"/>
                      </a:lnTo>
                      <a:lnTo>
                        <a:pt x="666" y="1008"/>
                      </a:lnTo>
                      <a:lnTo>
                        <a:pt x="666" y="996"/>
                      </a:lnTo>
                      <a:lnTo>
                        <a:pt x="666" y="978"/>
                      </a:lnTo>
                      <a:lnTo>
                        <a:pt x="672" y="966"/>
                      </a:lnTo>
                      <a:lnTo>
                        <a:pt x="678" y="954"/>
                      </a:lnTo>
                      <a:lnTo>
                        <a:pt x="678" y="948"/>
                      </a:lnTo>
                      <a:lnTo>
                        <a:pt x="672" y="936"/>
                      </a:lnTo>
                      <a:lnTo>
                        <a:pt x="660" y="930"/>
                      </a:lnTo>
                      <a:lnTo>
                        <a:pt x="648" y="924"/>
                      </a:lnTo>
                      <a:lnTo>
                        <a:pt x="636" y="924"/>
                      </a:lnTo>
                      <a:lnTo>
                        <a:pt x="624" y="924"/>
                      </a:lnTo>
                      <a:lnTo>
                        <a:pt x="618" y="930"/>
                      </a:lnTo>
                      <a:lnTo>
                        <a:pt x="612" y="942"/>
                      </a:lnTo>
                      <a:lnTo>
                        <a:pt x="600" y="960"/>
                      </a:lnTo>
                      <a:lnTo>
                        <a:pt x="588" y="972"/>
                      </a:lnTo>
                      <a:lnTo>
                        <a:pt x="576" y="978"/>
                      </a:lnTo>
                      <a:lnTo>
                        <a:pt x="564" y="978"/>
                      </a:lnTo>
                      <a:lnTo>
                        <a:pt x="546" y="972"/>
                      </a:lnTo>
                      <a:lnTo>
                        <a:pt x="534" y="960"/>
                      </a:lnTo>
                      <a:lnTo>
                        <a:pt x="522" y="948"/>
                      </a:lnTo>
                      <a:lnTo>
                        <a:pt x="510" y="930"/>
                      </a:lnTo>
                      <a:lnTo>
                        <a:pt x="510" y="900"/>
                      </a:lnTo>
                      <a:lnTo>
                        <a:pt x="528" y="870"/>
                      </a:lnTo>
                      <a:lnTo>
                        <a:pt x="558" y="840"/>
                      </a:lnTo>
                      <a:lnTo>
                        <a:pt x="576" y="810"/>
                      </a:lnTo>
                      <a:lnTo>
                        <a:pt x="576" y="792"/>
                      </a:lnTo>
                      <a:lnTo>
                        <a:pt x="576" y="786"/>
                      </a:lnTo>
                      <a:lnTo>
                        <a:pt x="570" y="780"/>
                      </a:lnTo>
                      <a:lnTo>
                        <a:pt x="564" y="774"/>
                      </a:lnTo>
                      <a:lnTo>
                        <a:pt x="552" y="780"/>
                      </a:lnTo>
                      <a:lnTo>
                        <a:pt x="546" y="780"/>
                      </a:lnTo>
                      <a:lnTo>
                        <a:pt x="534" y="786"/>
                      </a:lnTo>
                      <a:lnTo>
                        <a:pt x="522" y="798"/>
                      </a:lnTo>
                      <a:lnTo>
                        <a:pt x="510" y="816"/>
                      </a:lnTo>
                      <a:lnTo>
                        <a:pt x="498" y="822"/>
                      </a:lnTo>
                      <a:lnTo>
                        <a:pt x="480" y="828"/>
                      </a:lnTo>
                      <a:lnTo>
                        <a:pt x="468" y="828"/>
                      </a:lnTo>
                      <a:lnTo>
                        <a:pt x="456" y="822"/>
                      </a:lnTo>
                      <a:lnTo>
                        <a:pt x="450" y="810"/>
                      </a:lnTo>
                      <a:lnTo>
                        <a:pt x="444" y="804"/>
                      </a:lnTo>
                      <a:lnTo>
                        <a:pt x="438" y="792"/>
                      </a:lnTo>
                      <a:lnTo>
                        <a:pt x="432" y="792"/>
                      </a:lnTo>
                      <a:lnTo>
                        <a:pt x="420" y="792"/>
                      </a:lnTo>
                      <a:lnTo>
                        <a:pt x="408" y="792"/>
                      </a:lnTo>
                      <a:lnTo>
                        <a:pt x="384" y="798"/>
                      </a:lnTo>
                      <a:lnTo>
                        <a:pt x="372" y="804"/>
                      </a:lnTo>
                      <a:lnTo>
                        <a:pt x="360" y="804"/>
                      </a:lnTo>
                      <a:lnTo>
                        <a:pt x="348" y="798"/>
                      </a:lnTo>
                      <a:lnTo>
                        <a:pt x="342" y="786"/>
                      </a:lnTo>
                      <a:lnTo>
                        <a:pt x="342" y="774"/>
                      </a:lnTo>
                      <a:lnTo>
                        <a:pt x="342" y="762"/>
                      </a:lnTo>
                      <a:lnTo>
                        <a:pt x="342" y="750"/>
                      </a:lnTo>
                      <a:lnTo>
                        <a:pt x="342" y="738"/>
                      </a:lnTo>
                      <a:lnTo>
                        <a:pt x="348" y="726"/>
                      </a:lnTo>
                      <a:lnTo>
                        <a:pt x="360" y="714"/>
                      </a:lnTo>
                      <a:lnTo>
                        <a:pt x="378" y="702"/>
                      </a:lnTo>
                      <a:lnTo>
                        <a:pt x="396" y="696"/>
                      </a:lnTo>
                      <a:lnTo>
                        <a:pt x="420" y="690"/>
                      </a:lnTo>
                      <a:lnTo>
                        <a:pt x="438" y="678"/>
                      </a:lnTo>
                      <a:lnTo>
                        <a:pt x="474" y="672"/>
                      </a:lnTo>
                      <a:lnTo>
                        <a:pt x="516" y="678"/>
                      </a:lnTo>
                      <a:lnTo>
                        <a:pt x="552" y="696"/>
                      </a:lnTo>
                      <a:lnTo>
                        <a:pt x="582" y="714"/>
                      </a:lnTo>
                      <a:lnTo>
                        <a:pt x="618" y="738"/>
                      </a:lnTo>
                      <a:lnTo>
                        <a:pt x="666" y="768"/>
                      </a:lnTo>
                      <a:lnTo>
                        <a:pt x="690" y="780"/>
                      </a:lnTo>
                      <a:lnTo>
                        <a:pt x="708" y="786"/>
                      </a:lnTo>
                      <a:lnTo>
                        <a:pt x="720" y="786"/>
                      </a:lnTo>
                      <a:lnTo>
                        <a:pt x="726" y="780"/>
                      </a:lnTo>
                      <a:lnTo>
                        <a:pt x="738" y="768"/>
                      </a:lnTo>
                      <a:lnTo>
                        <a:pt x="738" y="756"/>
                      </a:lnTo>
                      <a:lnTo>
                        <a:pt x="738" y="744"/>
                      </a:lnTo>
                      <a:lnTo>
                        <a:pt x="726" y="738"/>
                      </a:lnTo>
                      <a:lnTo>
                        <a:pt x="714" y="726"/>
                      </a:lnTo>
                      <a:lnTo>
                        <a:pt x="702" y="720"/>
                      </a:lnTo>
                      <a:lnTo>
                        <a:pt x="690" y="714"/>
                      </a:lnTo>
                      <a:lnTo>
                        <a:pt x="678" y="708"/>
                      </a:lnTo>
                      <a:lnTo>
                        <a:pt x="666" y="702"/>
                      </a:lnTo>
                      <a:lnTo>
                        <a:pt x="654" y="696"/>
                      </a:lnTo>
                      <a:lnTo>
                        <a:pt x="654" y="684"/>
                      </a:lnTo>
                      <a:lnTo>
                        <a:pt x="654" y="672"/>
                      </a:lnTo>
                      <a:lnTo>
                        <a:pt x="660" y="666"/>
                      </a:lnTo>
                      <a:lnTo>
                        <a:pt x="666" y="660"/>
                      </a:lnTo>
                      <a:lnTo>
                        <a:pt x="678" y="660"/>
                      </a:lnTo>
                      <a:lnTo>
                        <a:pt x="678" y="654"/>
                      </a:lnTo>
                      <a:lnTo>
                        <a:pt x="678" y="642"/>
                      </a:lnTo>
                      <a:lnTo>
                        <a:pt x="666" y="630"/>
                      </a:lnTo>
                      <a:lnTo>
                        <a:pt x="654" y="612"/>
                      </a:lnTo>
                      <a:lnTo>
                        <a:pt x="642" y="594"/>
                      </a:lnTo>
                      <a:lnTo>
                        <a:pt x="630" y="576"/>
                      </a:lnTo>
                      <a:lnTo>
                        <a:pt x="618" y="558"/>
                      </a:lnTo>
                      <a:lnTo>
                        <a:pt x="606" y="540"/>
                      </a:lnTo>
                      <a:lnTo>
                        <a:pt x="594" y="516"/>
                      </a:lnTo>
                      <a:lnTo>
                        <a:pt x="582" y="504"/>
                      </a:lnTo>
                      <a:lnTo>
                        <a:pt x="582" y="498"/>
                      </a:lnTo>
                      <a:lnTo>
                        <a:pt x="582" y="492"/>
                      </a:lnTo>
                      <a:lnTo>
                        <a:pt x="588" y="486"/>
                      </a:lnTo>
                      <a:lnTo>
                        <a:pt x="594" y="480"/>
                      </a:lnTo>
                      <a:lnTo>
                        <a:pt x="600" y="474"/>
                      </a:lnTo>
                      <a:lnTo>
                        <a:pt x="606" y="468"/>
                      </a:lnTo>
                      <a:lnTo>
                        <a:pt x="612" y="456"/>
                      </a:lnTo>
                      <a:lnTo>
                        <a:pt x="618" y="444"/>
                      </a:lnTo>
                      <a:lnTo>
                        <a:pt x="624" y="432"/>
                      </a:lnTo>
                      <a:lnTo>
                        <a:pt x="630" y="432"/>
                      </a:lnTo>
                      <a:lnTo>
                        <a:pt x="642" y="432"/>
                      </a:lnTo>
                      <a:lnTo>
                        <a:pt x="660" y="438"/>
                      </a:lnTo>
                      <a:lnTo>
                        <a:pt x="678" y="450"/>
                      </a:lnTo>
                      <a:lnTo>
                        <a:pt x="702" y="462"/>
                      </a:lnTo>
                      <a:lnTo>
                        <a:pt x="714" y="474"/>
                      </a:lnTo>
                      <a:lnTo>
                        <a:pt x="720" y="480"/>
                      </a:lnTo>
                      <a:lnTo>
                        <a:pt x="732" y="486"/>
                      </a:lnTo>
                      <a:lnTo>
                        <a:pt x="738" y="486"/>
                      </a:lnTo>
                      <a:lnTo>
                        <a:pt x="756" y="492"/>
                      </a:lnTo>
                      <a:lnTo>
                        <a:pt x="774" y="492"/>
                      </a:lnTo>
                      <a:lnTo>
                        <a:pt x="786" y="504"/>
                      </a:lnTo>
                      <a:lnTo>
                        <a:pt x="792" y="516"/>
                      </a:lnTo>
                      <a:lnTo>
                        <a:pt x="798" y="528"/>
                      </a:lnTo>
                      <a:lnTo>
                        <a:pt x="804" y="552"/>
                      </a:lnTo>
                      <a:lnTo>
                        <a:pt x="810" y="576"/>
                      </a:lnTo>
                      <a:lnTo>
                        <a:pt x="822" y="600"/>
                      </a:lnTo>
                      <a:lnTo>
                        <a:pt x="834" y="618"/>
                      </a:lnTo>
                      <a:lnTo>
                        <a:pt x="846" y="630"/>
                      </a:lnTo>
                      <a:lnTo>
                        <a:pt x="858" y="642"/>
                      </a:lnTo>
                      <a:lnTo>
                        <a:pt x="882" y="648"/>
                      </a:lnTo>
                      <a:lnTo>
                        <a:pt x="894" y="654"/>
                      </a:lnTo>
                      <a:lnTo>
                        <a:pt x="912" y="648"/>
                      </a:lnTo>
                      <a:lnTo>
                        <a:pt x="924" y="648"/>
                      </a:lnTo>
                      <a:lnTo>
                        <a:pt x="930" y="636"/>
                      </a:lnTo>
                      <a:lnTo>
                        <a:pt x="930" y="630"/>
                      </a:lnTo>
                      <a:lnTo>
                        <a:pt x="924" y="618"/>
                      </a:lnTo>
                      <a:lnTo>
                        <a:pt x="918" y="606"/>
                      </a:lnTo>
                      <a:lnTo>
                        <a:pt x="918" y="594"/>
                      </a:lnTo>
                      <a:lnTo>
                        <a:pt x="924" y="588"/>
                      </a:lnTo>
                      <a:lnTo>
                        <a:pt x="930" y="576"/>
                      </a:lnTo>
                      <a:lnTo>
                        <a:pt x="942" y="570"/>
                      </a:lnTo>
                      <a:lnTo>
                        <a:pt x="954" y="558"/>
                      </a:lnTo>
                      <a:lnTo>
                        <a:pt x="960" y="552"/>
                      </a:lnTo>
                      <a:lnTo>
                        <a:pt x="966" y="546"/>
                      </a:lnTo>
                      <a:lnTo>
                        <a:pt x="972" y="546"/>
                      </a:lnTo>
                      <a:lnTo>
                        <a:pt x="978" y="546"/>
                      </a:lnTo>
                      <a:lnTo>
                        <a:pt x="990" y="546"/>
                      </a:lnTo>
                      <a:lnTo>
                        <a:pt x="1008" y="546"/>
                      </a:lnTo>
                      <a:lnTo>
                        <a:pt x="1038" y="552"/>
                      </a:lnTo>
                      <a:lnTo>
                        <a:pt x="1056" y="552"/>
                      </a:lnTo>
                      <a:lnTo>
                        <a:pt x="1074" y="552"/>
                      </a:lnTo>
                      <a:lnTo>
                        <a:pt x="1080" y="552"/>
                      </a:lnTo>
                      <a:lnTo>
                        <a:pt x="1080" y="546"/>
                      </a:lnTo>
                      <a:lnTo>
                        <a:pt x="1080" y="546"/>
                      </a:lnTo>
                      <a:lnTo>
                        <a:pt x="1074" y="540"/>
                      </a:lnTo>
                      <a:lnTo>
                        <a:pt x="1074" y="534"/>
                      </a:lnTo>
                      <a:lnTo>
                        <a:pt x="1068" y="528"/>
                      </a:lnTo>
                      <a:lnTo>
                        <a:pt x="1068" y="516"/>
                      </a:lnTo>
                      <a:lnTo>
                        <a:pt x="1068" y="510"/>
                      </a:lnTo>
                      <a:lnTo>
                        <a:pt x="1074" y="504"/>
                      </a:lnTo>
                      <a:lnTo>
                        <a:pt x="1086" y="498"/>
                      </a:lnTo>
                      <a:lnTo>
                        <a:pt x="1098" y="498"/>
                      </a:lnTo>
                      <a:lnTo>
                        <a:pt x="1116" y="504"/>
                      </a:lnTo>
                      <a:lnTo>
                        <a:pt x="1140" y="504"/>
                      </a:lnTo>
                      <a:lnTo>
                        <a:pt x="1164" y="504"/>
                      </a:lnTo>
                      <a:lnTo>
                        <a:pt x="1188" y="504"/>
                      </a:lnTo>
                      <a:lnTo>
                        <a:pt x="1206" y="504"/>
                      </a:lnTo>
                      <a:lnTo>
                        <a:pt x="1224" y="504"/>
                      </a:lnTo>
                      <a:lnTo>
                        <a:pt x="1236" y="498"/>
                      </a:lnTo>
                      <a:lnTo>
                        <a:pt x="1242" y="492"/>
                      </a:lnTo>
                      <a:lnTo>
                        <a:pt x="1248" y="480"/>
                      </a:lnTo>
                      <a:lnTo>
                        <a:pt x="1248" y="462"/>
                      </a:lnTo>
                      <a:lnTo>
                        <a:pt x="1242" y="456"/>
                      </a:lnTo>
                      <a:lnTo>
                        <a:pt x="1230" y="450"/>
                      </a:lnTo>
                      <a:lnTo>
                        <a:pt x="1212" y="444"/>
                      </a:lnTo>
                      <a:lnTo>
                        <a:pt x="1200" y="438"/>
                      </a:lnTo>
                      <a:lnTo>
                        <a:pt x="1200" y="432"/>
                      </a:lnTo>
                      <a:lnTo>
                        <a:pt x="1200" y="420"/>
                      </a:lnTo>
                      <a:lnTo>
                        <a:pt x="1206" y="408"/>
                      </a:lnTo>
                      <a:lnTo>
                        <a:pt x="1218" y="390"/>
                      </a:lnTo>
                      <a:lnTo>
                        <a:pt x="1230" y="372"/>
                      </a:lnTo>
                      <a:lnTo>
                        <a:pt x="1242" y="354"/>
                      </a:lnTo>
                      <a:lnTo>
                        <a:pt x="1248" y="342"/>
                      </a:lnTo>
                      <a:lnTo>
                        <a:pt x="1254" y="336"/>
                      </a:lnTo>
                      <a:lnTo>
                        <a:pt x="1248" y="330"/>
                      </a:lnTo>
                      <a:lnTo>
                        <a:pt x="1242" y="330"/>
                      </a:lnTo>
                      <a:lnTo>
                        <a:pt x="1236" y="330"/>
                      </a:lnTo>
                      <a:lnTo>
                        <a:pt x="1224" y="330"/>
                      </a:lnTo>
                      <a:lnTo>
                        <a:pt x="1212" y="336"/>
                      </a:lnTo>
                      <a:lnTo>
                        <a:pt x="1206" y="336"/>
                      </a:lnTo>
                      <a:lnTo>
                        <a:pt x="1194" y="336"/>
                      </a:lnTo>
                      <a:lnTo>
                        <a:pt x="1188" y="330"/>
                      </a:lnTo>
                      <a:lnTo>
                        <a:pt x="1182" y="324"/>
                      </a:lnTo>
                      <a:lnTo>
                        <a:pt x="1170" y="318"/>
                      </a:lnTo>
                      <a:lnTo>
                        <a:pt x="1164" y="318"/>
                      </a:lnTo>
                      <a:lnTo>
                        <a:pt x="1152" y="324"/>
                      </a:lnTo>
                      <a:lnTo>
                        <a:pt x="1146" y="336"/>
                      </a:lnTo>
                      <a:lnTo>
                        <a:pt x="1140" y="354"/>
                      </a:lnTo>
                      <a:lnTo>
                        <a:pt x="1140" y="378"/>
                      </a:lnTo>
                      <a:lnTo>
                        <a:pt x="1134" y="396"/>
                      </a:lnTo>
                      <a:lnTo>
                        <a:pt x="1122" y="408"/>
                      </a:lnTo>
                      <a:lnTo>
                        <a:pt x="1110" y="420"/>
                      </a:lnTo>
                      <a:lnTo>
                        <a:pt x="1098" y="426"/>
                      </a:lnTo>
                      <a:lnTo>
                        <a:pt x="1080" y="432"/>
                      </a:lnTo>
                      <a:lnTo>
                        <a:pt x="1062" y="432"/>
                      </a:lnTo>
                      <a:lnTo>
                        <a:pt x="1050" y="432"/>
                      </a:lnTo>
                      <a:lnTo>
                        <a:pt x="1002" y="444"/>
                      </a:lnTo>
                      <a:lnTo>
                        <a:pt x="948" y="462"/>
                      </a:lnTo>
                      <a:lnTo>
                        <a:pt x="906" y="474"/>
                      </a:lnTo>
                      <a:lnTo>
                        <a:pt x="888" y="480"/>
                      </a:lnTo>
                      <a:lnTo>
                        <a:pt x="882" y="474"/>
                      </a:lnTo>
                      <a:lnTo>
                        <a:pt x="876" y="468"/>
                      </a:lnTo>
                      <a:lnTo>
                        <a:pt x="870" y="450"/>
                      </a:lnTo>
                      <a:lnTo>
                        <a:pt x="876" y="432"/>
                      </a:lnTo>
                      <a:lnTo>
                        <a:pt x="882" y="420"/>
                      </a:lnTo>
                      <a:lnTo>
                        <a:pt x="876" y="408"/>
                      </a:lnTo>
                      <a:lnTo>
                        <a:pt x="870" y="396"/>
                      </a:lnTo>
                      <a:lnTo>
                        <a:pt x="858" y="390"/>
                      </a:lnTo>
                      <a:lnTo>
                        <a:pt x="834" y="384"/>
                      </a:lnTo>
                      <a:lnTo>
                        <a:pt x="816" y="378"/>
                      </a:lnTo>
                      <a:lnTo>
                        <a:pt x="798" y="372"/>
                      </a:lnTo>
                      <a:lnTo>
                        <a:pt x="792" y="366"/>
                      </a:lnTo>
                      <a:lnTo>
                        <a:pt x="792" y="360"/>
                      </a:lnTo>
                      <a:lnTo>
                        <a:pt x="798" y="354"/>
                      </a:lnTo>
                      <a:lnTo>
                        <a:pt x="804" y="348"/>
                      </a:lnTo>
                      <a:lnTo>
                        <a:pt x="810" y="342"/>
                      </a:lnTo>
                      <a:lnTo>
                        <a:pt x="822" y="336"/>
                      </a:lnTo>
                      <a:lnTo>
                        <a:pt x="828" y="330"/>
                      </a:lnTo>
                      <a:lnTo>
                        <a:pt x="840" y="324"/>
                      </a:lnTo>
                      <a:lnTo>
                        <a:pt x="846" y="318"/>
                      </a:lnTo>
                      <a:lnTo>
                        <a:pt x="846" y="306"/>
                      </a:lnTo>
                      <a:lnTo>
                        <a:pt x="846" y="300"/>
                      </a:lnTo>
                      <a:lnTo>
                        <a:pt x="846" y="288"/>
                      </a:lnTo>
                      <a:lnTo>
                        <a:pt x="840" y="288"/>
                      </a:lnTo>
                      <a:lnTo>
                        <a:pt x="828" y="288"/>
                      </a:lnTo>
                      <a:lnTo>
                        <a:pt x="774" y="306"/>
                      </a:lnTo>
                      <a:lnTo>
                        <a:pt x="714" y="336"/>
                      </a:lnTo>
                      <a:lnTo>
                        <a:pt x="702" y="342"/>
                      </a:lnTo>
                      <a:lnTo>
                        <a:pt x="690" y="342"/>
                      </a:lnTo>
                      <a:lnTo>
                        <a:pt x="690" y="342"/>
                      </a:lnTo>
                      <a:lnTo>
                        <a:pt x="690" y="336"/>
                      </a:lnTo>
                      <a:lnTo>
                        <a:pt x="690" y="330"/>
                      </a:lnTo>
                      <a:lnTo>
                        <a:pt x="690" y="318"/>
                      </a:lnTo>
                      <a:lnTo>
                        <a:pt x="696" y="312"/>
                      </a:lnTo>
                      <a:lnTo>
                        <a:pt x="696" y="300"/>
                      </a:lnTo>
                      <a:lnTo>
                        <a:pt x="702" y="288"/>
                      </a:lnTo>
                      <a:lnTo>
                        <a:pt x="702" y="282"/>
                      </a:lnTo>
                      <a:lnTo>
                        <a:pt x="696" y="282"/>
                      </a:lnTo>
                      <a:lnTo>
                        <a:pt x="684" y="288"/>
                      </a:lnTo>
                      <a:lnTo>
                        <a:pt x="678" y="294"/>
                      </a:lnTo>
                      <a:lnTo>
                        <a:pt x="666" y="300"/>
                      </a:lnTo>
                      <a:lnTo>
                        <a:pt x="654" y="312"/>
                      </a:lnTo>
                      <a:lnTo>
                        <a:pt x="642" y="318"/>
                      </a:lnTo>
                      <a:lnTo>
                        <a:pt x="630" y="330"/>
                      </a:lnTo>
                      <a:lnTo>
                        <a:pt x="582" y="348"/>
                      </a:lnTo>
                      <a:lnTo>
                        <a:pt x="528" y="354"/>
                      </a:lnTo>
                      <a:lnTo>
                        <a:pt x="504" y="354"/>
                      </a:lnTo>
                      <a:lnTo>
                        <a:pt x="486" y="348"/>
                      </a:lnTo>
                      <a:lnTo>
                        <a:pt x="474" y="342"/>
                      </a:lnTo>
                      <a:lnTo>
                        <a:pt x="462" y="330"/>
                      </a:lnTo>
                      <a:lnTo>
                        <a:pt x="456" y="318"/>
                      </a:lnTo>
                      <a:lnTo>
                        <a:pt x="456" y="306"/>
                      </a:lnTo>
                      <a:lnTo>
                        <a:pt x="456" y="300"/>
                      </a:lnTo>
                      <a:lnTo>
                        <a:pt x="462" y="294"/>
                      </a:lnTo>
                      <a:lnTo>
                        <a:pt x="468" y="288"/>
                      </a:lnTo>
                      <a:lnTo>
                        <a:pt x="486" y="288"/>
                      </a:lnTo>
                      <a:lnTo>
                        <a:pt x="504" y="288"/>
                      </a:lnTo>
                      <a:lnTo>
                        <a:pt x="528" y="288"/>
                      </a:lnTo>
                      <a:lnTo>
                        <a:pt x="594" y="288"/>
                      </a:lnTo>
                      <a:lnTo>
                        <a:pt x="636" y="264"/>
                      </a:lnTo>
                      <a:lnTo>
                        <a:pt x="642" y="258"/>
                      </a:lnTo>
                      <a:lnTo>
                        <a:pt x="648" y="246"/>
                      </a:lnTo>
                      <a:lnTo>
                        <a:pt x="642" y="240"/>
                      </a:lnTo>
                      <a:lnTo>
                        <a:pt x="630" y="234"/>
                      </a:lnTo>
                      <a:lnTo>
                        <a:pt x="618" y="234"/>
                      </a:lnTo>
                      <a:lnTo>
                        <a:pt x="600" y="234"/>
                      </a:lnTo>
                      <a:lnTo>
                        <a:pt x="582" y="240"/>
                      </a:lnTo>
                      <a:lnTo>
                        <a:pt x="564" y="240"/>
                      </a:lnTo>
                      <a:lnTo>
                        <a:pt x="558" y="240"/>
                      </a:lnTo>
                      <a:lnTo>
                        <a:pt x="546" y="234"/>
                      </a:lnTo>
                      <a:lnTo>
                        <a:pt x="534" y="228"/>
                      </a:lnTo>
                      <a:lnTo>
                        <a:pt x="516" y="222"/>
                      </a:lnTo>
                      <a:lnTo>
                        <a:pt x="498" y="216"/>
                      </a:lnTo>
                      <a:lnTo>
                        <a:pt x="474" y="222"/>
                      </a:lnTo>
                      <a:lnTo>
                        <a:pt x="456" y="222"/>
                      </a:lnTo>
                      <a:lnTo>
                        <a:pt x="420" y="210"/>
                      </a:lnTo>
                      <a:lnTo>
                        <a:pt x="402" y="204"/>
                      </a:lnTo>
                      <a:lnTo>
                        <a:pt x="396" y="192"/>
                      </a:lnTo>
                      <a:lnTo>
                        <a:pt x="396" y="180"/>
                      </a:lnTo>
                      <a:lnTo>
                        <a:pt x="402" y="174"/>
                      </a:lnTo>
                      <a:lnTo>
                        <a:pt x="414" y="168"/>
                      </a:lnTo>
                      <a:lnTo>
                        <a:pt x="426" y="156"/>
                      </a:lnTo>
                      <a:lnTo>
                        <a:pt x="438" y="150"/>
                      </a:lnTo>
                      <a:lnTo>
                        <a:pt x="450" y="144"/>
                      </a:lnTo>
                      <a:lnTo>
                        <a:pt x="456" y="138"/>
                      </a:lnTo>
                      <a:lnTo>
                        <a:pt x="462" y="126"/>
                      </a:lnTo>
                      <a:lnTo>
                        <a:pt x="456" y="114"/>
                      </a:lnTo>
                      <a:lnTo>
                        <a:pt x="450" y="102"/>
                      </a:lnTo>
                      <a:lnTo>
                        <a:pt x="438" y="96"/>
                      </a:lnTo>
                      <a:lnTo>
                        <a:pt x="432" y="90"/>
                      </a:lnTo>
                      <a:lnTo>
                        <a:pt x="420" y="90"/>
                      </a:lnTo>
                      <a:lnTo>
                        <a:pt x="408" y="90"/>
                      </a:lnTo>
                      <a:lnTo>
                        <a:pt x="396" y="90"/>
                      </a:lnTo>
                      <a:lnTo>
                        <a:pt x="378" y="90"/>
                      </a:lnTo>
                      <a:lnTo>
                        <a:pt x="366" y="90"/>
                      </a:lnTo>
                      <a:lnTo>
                        <a:pt x="360" y="90"/>
                      </a:lnTo>
                      <a:lnTo>
                        <a:pt x="354" y="84"/>
                      </a:lnTo>
                      <a:lnTo>
                        <a:pt x="354" y="78"/>
                      </a:lnTo>
                      <a:lnTo>
                        <a:pt x="354" y="66"/>
                      </a:lnTo>
                      <a:lnTo>
                        <a:pt x="354" y="54"/>
                      </a:lnTo>
                      <a:lnTo>
                        <a:pt x="360" y="48"/>
                      </a:lnTo>
                      <a:lnTo>
                        <a:pt x="372" y="42"/>
                      </a:lnTo>
                      <a:lnTo>
                        <a:pt x="384" y="42"/>
                      </a:lnTo>
                      <a:lnTo>
                        <a:pt x="408" y="42"/>
                      </a:lnTo>
                      <a:lnTo>
                        <a:pt x="432" y="48"/>
                      </a:lnTo>
                      <a:lnTo>
                        <a:pt x="450" y="54"/>
                      </a:lnTo>
                      <a:lnTo>
                        <a:pt x="462" y="54"/>
                      </a:lnTo>
                      <a:lnTo>
                        <a:pt x="468" y="48"/>
                      </a:lnTo>
                      <a:lnTo>
                        <a:pt x="468" y="42"/>
                      </a:lnTo>
                      <a:lnTo>
                        <a:pt x="462" y="36"/>
                      </a:lnTo>
                      <a:lnTo>
                        <a:pt x="456" y="24"/>
                      </a:lnTo>
                      <a:lnTo>
                        <a:pt x="462" y="18"/>
                      </a:lnTo>
                      <a:lnTo>
                        <a:pt x="462" y="18"/>
                      </a:lnTo>
                      <a:lnTo>
                        <a:pt x="474" y="12"/>
                      </a:lnTo>
                      <a:lnTo>
                        <a:pt x="492" y="6"/>
                      </a:lnTo>
                      <a:lnTo>
                        <a:pt x="510" y="12"/>
                      </a:lnTo>
                      <a:lnTo>
                        <a:pt x="522" y="12"/>
                      </a:lnTo>
                      <a:lnTo>
                        <a:pt x="540" y="18"/>
                      </a:lnTo>
                      <a:lnTo>
                        <a:pt x="552" y="24"/>
                      </a:lnTo>
                      <a:lnTo>
                        <a:pt x="558" y="24"/>
                      </a:lnTo>
                      <a:lnTo>
                        <a:pt x="570" y="18"/>
                      </a:lnTo>
                      <a:lnTo>
                        <a:pt x="576" y="12"/>
                      </a:lnTo>
                      <a:lnTo>
                        <a:pt x="588" y="12"/>
                      </a:lnTo>
                      <a:lnTo>
                        <a:pt x="600" y="18"/>
                      </a:lnTo>
                      <a:lnTo>
                        <a:pt x="618" y="30"/>
                      </a:lnTo>
                      <a:lnTo>
                        <a:pt x="642" y="42"/>
                      </a:lnTo>
                      <a:lnTo>
                        <a:pt x="666" y="60"/>
                      </a:lnTo>
                      <a:lnTo>
                        <a:pt x="690" y="84"/>
                      </a:lnTo>
                      <a:lnTo>
                        <a:pt x="714" y="108"/>
                      </a:lnTo>
                      <a:lnTo>
                        <a:pt x="732" y="126"/>
                      </a:lnTo>
                      <a:lnTo>
                        <a:pt x="744" y="132"/>
                      </a:lnTo>
                      <a:lnTo>
                        <a:pt x="762" y="138"/>
                      </a:lnTo>
                      <a:lnTo>
                        <a:pt x="774" y="132"/>
                      </a:lnTo>
                      <a:lnTo>
                        <a:pt x="786" y="120"/>
                      </a:lnTo>
                      <a:lnTo>
                        <a:pt x="798" y="108"/>
                      </a:lnTo>
                      <a:lnTo>
                        <a:pt x="798" y="102"/>
                      </a:lnTo>
                      <a:lnTo>
                        <a:pt x="798" y="90"/>
                      </a:lnTo>
                      <a:lnTo>
                        <a:pt x="792" y="84"/>
                      </a:lnTo>
                      <a:lnTo>
                        <a:pt x="780" y="84"/>
                      </a:lnTo>
                      <a:lnTo>
                        <a:pt x="768" y="78"/>
                      </a:lnTo>
                      <a:lnTo>
                        <a:pt x="762" y="72"/>
                      </a:lnTo>
                      <a:lnTo>
                        <a:pt x="756" y="66"/>
                      </a:lnTo>
                      <a:lnTo>
                        <a:pt x="750" y="54"/>
                      </a:lnTo>
                      <a:lnTo>
                        <a:pt x="756" y="42"/>
                      </a:lnTo>
                      <a:lnTo>
                        <a:pt x="756" y="30"/>
                      </a:lnTo>
                      <a:lnTo>
                        <a:pt x="756" y="18"/>
                      </a:lnTo>
                      <a:lnTo>
                        <a:pt x="756" y="12"/>
                      </a:lnTo>
                      <a:lnTo>
                        <a:pt x="756" y="6"/>
                      </a:lnTo>
                      <a:lnTo>
                        <a:pt x="768" y="0"/>
                      </a:lnTo>
                      <a:lnTo>
                        <a:pt x="78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0" name="Freeform 373">
                  <a:extLst>
                    <a:ext uri="{FF2B5EF4-FFF2-40B4-BE49-F238E27FC236}">
                      <a16:creationId xmlns:a16="http://schemas.microsoft.com/office/drawing/2014/main" id="{FB88E7B9-FC19-4CA3-831E-F757E8756F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185" y="-8628"/>
                  <a:ext cx="4542" cy="4416"/>
                </a:xfrm>
                <a:custGeom>
                  <a:avLst/>
                  <a:gdLst>
                    <a:gd name="T0" fmla="*/ 2628 w 4542"/>
                    <a:gd name="T1" fmla="*/ 72 h 4416"/>
                    <a:gd name="T2" fmla="*/ 3222 w 4542"/>
                    <a:gd name="T3" fmla="*/ 48 h 4416"/>
                    <a:gd name="T4" fmla="*/ 3036 w 4542"/>
                    <a:gd name="T5" fmla="*/ 138 h 4416"/>
                    <a:gd name="T6" fmla="*/ 2916 w 4542"/>
                    <a:gd name="T7" fmla="*/ 288 h 4416"/>
                    <a:gd name="T8" fmla="*/ 3648 w 4542"/>
                    <a:gd name="T9" fmla="*/ 240 h 4416"/>
                    <a:gd name="T10" fmla="*/ 3192 w 4542"/>
                    <a:gd name="T11" fmla="*/ 330 h 4416"/>
                    <a:gd name="T12" fmla="*/ 3102 w 4542"/>
                    <a:gd name="T13" fmla="*/ 510 h 4416"/>
                    <a:gd name="T14" fmla="*/ 3510 w 4542"/>
                    <a:gd name="T15" fmla="*/ 558 h 4416"/>
                    <a:gd name="T16" fmla="*/ 3684 w 4542"/>
                    <a:gd name="T17" fmla="*/ 774 h 4416"/>
                    <a:gd name="T18" fmla="*/ 3990 w 4542"/>
                    <a:gd name="T19" fmla="*/ 558 h 4416"/>
                    <a:gd name="T20" fmla="*/ 4542 w 4542"/>
                    <a:gd name="T21" fmla="*/ 624 h 4416"/>
                    <a:gd name="T22" fmla="*/ 4140 w 4542"/>
                    <a:gd name="T23" fmla="*/ 804 h 4416"/>
                    <a:gd name="T24" fmla="*/ 4128 w 4542"/>
                    <a:gd name="T25" fmla="*/ 972 h 4416"/>
                    <a:gd name="T26" fmla="*/ 4020 w 4542"/>
                    <a:gd name="T27" fmla="*/ 1302 h 4416"/>
                    <a:gd name="T28" fmla="*/ 3966 w 4542"/>
                    <a:gd name="T29" fmla="*/ 1446 h 4416"/>
                    <a:gd name="T30" fmla="*/ 3864 w 4542"/>
                    <a:gd name="T31" fmla="*/ 1524 h 4416"/>
                    <a:gd name="T32" fmla="*/ 3912 w 4542"/>
                    <a:gd name="T33" fmla="*/ 1722 h 4416"/>
                    <a:gd name="T34" fmla="*/ 3978 w 4542"/>
                    <a:gd name="T35" fmla="*/ 1956 h 4416"/>
                    <a:gd name="T36" fmla="*/ 3816 w 4542"/>
                    <a:gd name="T37" fmla="*/ 2190 h 4416"/>
                    <a:gd name="T38" fmla="*/ 3456 w 4542"/>
                    <a:gd name="T39" fmla="*/ 2040 h 4416"/>
                    <a:gd name="T40" fmla="*/ 3288 w 4542"/>
                    <a:gd name="T41" fmla="*/ 2160 h 4416"/>
                    <a:gd name="T42" fmla="*/ 3342 w 4542"/>
                    <a:gd name="T43" fmla="*/ 2328 h 4416"/>
                    <a:gd name="T44" fmla="*/ 3582 w 4542"/>
                    <a:gd name="T45" fmla="*/ 2472 h 4416"/>
                    <a:gd name="T46" fmla="*/ 3630 w 4542"/>
                    <a:gd name="T47" fmla="*/ 2712 h 4416"/>
                    <a:gd name="T48" fmla="*/ 3348 w 4542"/>
                    <a:gd name="T49" fmla="*/ 2484 h 4416"/>
                    <a:gd name="T50" fmla="*/ 3288 w 4542"/>
                    <a:gd name="T51" fmla="*/ 2616 h 4416"/>
                    <a:gd name="T52" fmla="*/ 3114 w 4542"/>
                    <a:gd name="T53" fmla="*/ 2778 h 4416"/>
                    <a:gd name="T54" fmla="*/ 3090 w 4542"/>
                    <a:gd name="T55" fmla="*/ 3066 h 4416"/>
                    <a:gd name="T56" fmla="*/ 2652 w 4542"/>
                    <a:gd name="T57" fmla="*/ 3198 h 4416"/>
                    <a:gd name="T58" fmla="*/ 2322 w 4542"/>
                    <a:gd name="T59" fmla="*/ 3450 h 4416"/>
                    <a:gd name="T60" fmla="*/ 2136 w 4542"/>
                    <a:gd name="T61" fmla="*/ 3444 h 4416"/>
                    <a:gd name="T62" fmla="*/ 1896 w 4542"/>
                    <a:gd name="T63" fmla="*/ 3630 h 4416"/>
                    <a:gd name="T64" fmla="*/ 1746 w 4542"/>
                    <a:gd name="T65" fmla="*/ 3876 h 4416"/>
                    <a:gd name="T66" fmla="*/ 1590 w 4542"/>
                    <a:gd name="T67" fmla="*/ 4140 h 4416"/>
                    <a:gd name="T68" fmla="*/ 1428 w 4542"/>
                    <a:gd name="T69" fmla="*/ 4344 h 4416"/>
                    <a:gd name="T70" fmla="*/ 1338 w 4542"/>
                    <a:gd name="T71" fmla="*/ 4182 h 4416"/>
                    <a:gd name="T72" fmla="*/ 1044 w 4542"/>
                    <a:gd name="T73" fmla="*/ 4044 h 4416"/>
                    <a:gd name="T74" fmla="*/ 900 w 4542"/>
                    <a:gd name="T75" fmla="*/ 3738 h 4416"/>
                    <a:gd name="T76" fmla="*/ 906 w 4542"/>
                    <a:gd name="T77" fmla="*/ 3504 h 4416"/>
                    <a:gd name="T78" fmla="*/ 888 w 4542"/>
                    <a:gd name="T79" fmla="*/ 3210 h 4416"/>
                    <a:gd name="T80" fmla="*/ 984 w 4542"/>
                    <a:gd name="T81" fmla="*/ 3030 h 4416"/>
                    <a:gd name="T82" fmla="*/ 1056 w 4542"/>
                    <a:gd name="T83" fmla="*/ 2862 h 4416"/>
                    <a:gd name="T84" fmla="*/ 1218 w 4542"/>
                    <a:gd name="T85" fmla="*/ 2550 h 4416"/>
                    <a:gd name="T86" fmla="*/ 1152 w 4542"/>
                    <a:gd name="T87" fmla="*/ 2466 h 4416"/>
                    <a:gd name="T88" fmla="*/ 1074 w 4542"/>
                    <a:gd name="T89" fmla="*/ 2220 h 4416"/>
                    <a:gd name="T90" fmla="*/ 942 w 4542"/>
                    <a:gd name="T91" fmla="*/ 2226 h 4416"/>
                    <a:gd name="T92" fmla="*/ 954 w 4542"/>
                    <a:gd name="T93" fmla="*/ 1872 h 4416"/>
                    <a:gd name="T94" fmla="*/ 840 w 4542"/>
                    <a:gd name="T95" fmla="*/ 1404 h 4416"/>
                    <a:gd name="T96" fmla="*/ 426 w 4542"/>
                    <a:gd name="T97" fmla="*/ 1146 h 4416"/>
                    <a:gd name="T98" fmla="*/ 90 w 4542"/>
                    <a:gd name="T99" fmla="*/ 1086 h 4416"/>
                    <a:gd name="T100" fmla="*/ 108 w 4542"/>
                    <a:gd name="T101" fmla="*/ 924 h 4416"/>
                    <a:gd name="T102" fmla="*/ 228 w 4542"/>
                    <a:gd name="T103" fmla="*/ 834 h 4416"/>
                    <a:gd name="T104" fmla="*/ 186 w 4542"/>
                    <a:gd name="T105" fmla="*/ 774 h 4416"/>
                    <a:gd name="T106" fmla="*/ 246 w 4542"/>
                    <a:gd name="T107" fmla="*/ 510 h 4416"/>
                    <a:gd name="T108" fmla="*/ 702 w 4542"/>
                    <a:gd name="T109" fmla="*/ 426 h 4416"/>
                    <a:gd name="T110" fmla="*/ 738 w 4542"/>
                    <a:gd name="T111" fmla="*/ 246 h 4416"/>
                    <a:gd name="T112" fmla="*/ 930 w 4542"/>
                    <a:gd name="T113" fmla="*/ 138 h 4416"/>
                    <a:gd name="T114" fmla="*/ 1200 w 4542"/>
                    <a:gd name="T115" fmla="*/ 234 h 4416"/>
                    <a:gd name="T116" fmla="*/ 1518 w 4542"/>
                    <a:gd name="T117" fmla="*/ 258 h 4416"/>
                    <a:gd name="T118" fmla="*/ 1758 w 4542"/>
                    <a:gd name="T119" fmla="*/ 138 h 4416"/>
                    <a:gd name="T120" fmla="*/ 2220 w 4542"/>
                    <a:gd name="T121" fmla="*/ 252 h 4416"/>
                    <a:gd name="T122" fmla="*/ 2526 w 4542"/>
                    <a:gd name="T123" fmla="*/ 240 h 4416"/>
                    <a:gd name="T124" fmla="*/ 2286 w 4542"/>
                    <a:gd name="T125" fmla="*/ 12 h 4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542" h="4416">
                      <a:moveTo>
                        <a:pt x="2388" y="0"/>
                      </a:moveTo>
                      <a:lnTo>
                        <a:pt x="2400" y="0"/>
                      </a:lnTo>
                      <a:lnTo>
                        <a:pt x="2412" y="0"/>
                      </a:lnTo>
                      <a:lnTo>
                        <a:pt x="2418" y="6"/>
                      </a:lnTo>
                      <a:lnTo>
                        <a:pt x="2424" y="18"/>
                      </a:lnTo>
                      <a:lnTo>
                        <a:pt x="2424" y="24"/>
                      </a:lnTo>
                      <a:lnTo>
                        <a:pt x="2424" y="36"/>
                      </a:lnTo>
                      <a:lnTo>
                        <a:pt x="2424" y="48"/>
                      </a:lnTo>
                      <a:lnTo>
                        <a:pt x="2424" y="60"/>
                      </a:lnTo>
                      <a:lnTo>
                        <a:pt x="2424" y="78"/>
                      </a:lnTo>
                      <a:lnTo>
                        <a:pt x="2424" y="90"/>
                      </a:lnTo>
                      <a:lnTo>
                        <a:pt x="2430" y="102"/>
                      </a:lnTo>
                      <a:lnTo>
                        <a:pt x="2442" y="114"/>
                      </a:lnTo>
                      <a:lnTo>
                        <a:pt x="2454" y="126"/>
                      </a:lnTo>
                      <a:lnTo>
                        <a:pt x="2478" y="132"/>
                      </a:lnTo>
                      <a:lnTo>
                        <a:pt x="2502" y="138"/>
                      </a:lnTo>
                      <a:lnTo>
                        <a:pt x="2532" y="144"/>
                      </a:lnTo>
                      <a:lnTo>
                        <a:pt x="2556" y="150"/>
                      </a:lnTo>
                      <a:lnTo>
                        <a:pt x="2586" y="162"/>
                      </a:lnTo>
                      <a:lnTo>
                        <a:pt x="2634" y="174"/>
                      </a:lnTo>
                      <a:lnTo>
                        <a:pt x="2652" y="174"/>
                      </a:lnTo>
                      <a:lnTo>
                        <a:pt x="2664" y="174"/>
                      </a:lnTo>
                      <a:lnTo>
                        <a:pt x="2676" y="168"/>
                      </a:lnTo>
                      <a:lnTo>
                        <a:pt x="2676" y="162"/>
                      </a:lnTo>
                      <a:lnTo>
                        <a:pt x="2676" y="150"/>
                      </a:lnTo>
                      <a:lnTo>
                        <a:pt x="2670" y="144"/>
                      </a:lnTo>
                      <a:lnTo>
                        <a:pt x="2664" y="132"/>
                      </a:lnTo>
                      <a:lnTo>
                        <a:pt x="2658" y="120"/>
                      </a:lnTo>
                      <a:lnTo>
                        <a:pt x="2646" y="108"/>
                      </a:lnTo>
                      <a:lnTo>
                        <a:pt x="2640" y="96"/>
                      </a:lnTo>
                      <a:lnTo>
                        <a:pt x="2634" y="84"/>
                      </a:lnTo>
                      <a:lnTo>
                        <a:pt x="2628" y="72"/>
                      </a:lnTo>
                      <a:lnTo>
                        <a:pt x="2628" y="60"/>
                      </a:lnTo>
                      <a:lnTo>
                        <a:pt x="2628" y="48"/>
                      </a:lnTo>
                      <a:lnTo>
                        <a:pt x="2634" y="42"/>
                      </a:lnTo>
                      <a:lnTo>
                        <a:pt x="2640" y="36"/>
                      </a:lnTo>
                      <a:lnTo>
                        <a:pt x="2652" y="30"/>
                      </a:lnTo>
                      <a:lnTo>
                        <a:pt x="2682" y="18"/>
                      </a:lnTo>
                      <a:lnTo>
                        <a:pt x="2718" y="18"/>
                      </a:lnTo>
                      <a:lnTo>
                        <a:pt x="2766" y="30"/>
                      </a:lnTo>
                      <a:lnTo>
                        <a:pt x="2802" y="36"/>
                      </a:lnTo>
                      <a:lnTo>
                        <a:pt x="2832" y="24"/>
                      </a:lnTo>
                      <a:lnTo>
                        <a:pt x="2850" y="6"/>
                      </a:lnTo>
                      <a:lnTo>
                        <a:pt x="2868" y="0"/>
                      </a:lnTo>
                      <a:lnTo>
                        <a:pt x="2910" y="0"/>
                      </a:lnTo>
                      <a:lnTo>
                        <a:pt x="2958" y="6"/>
                      </a:lnTo>
                      <a:lnTo>
                        <a:pt x="2994" y="24"/>
                      </a:lnTo>
                      <a:lnTo>
                        <a:pt x="3000" y="30"/>
                      </a:lnTo>
                      <a:lnTo>
                        <a:pt x="3006" y="36"/>
                      </a:lnTo>
                      <a:lnTo>
                        <a:pt x="3012" y="42"/>
                      </a:lnTo>
                      <a:lnTo>
                        <a:pt x="3018" y="42"/>
                      </a:lnTo>
                      <a:lnTo>
                        <a:pt x="3030" y="36"/>
                      </a:lnTo>
                      <a:lnTo>
                        <a:pt x="3042" y="30"/>
                      </a:lnTo>
                      <a:lnTo>
                        <a:pt x="3066" y="24"/>
                      </a:lnTo>
                      <a:lnTo>
                        <a:pt x="3084" y="18"/>
                      </a:lnTo>
                      <a:lnTo>
                        <a:pt x="3096" y="18"/>
                      </a:lnTo>
                      <a:lnTo>
                        <a:pt x="3108" y="18"/>
                      </a:lnTo>
                      <a:lnTo>
                        <a:pt x="3114" y="24"/>
                      </a:lnTo>
                      <a:lnTo>
                        <a:pt x="3126" y="30"/>
                      </a:lnTo>
                      <a:lnTo>
                        <a:pt x="3132" y="36"/>
                      </a:lnTo>
                      <a:lnTo>
                        <a:pt x="3138" y="42"/>
                      </a:lnTo>
                      <a:lnTo>
                        <a:pt x="3150" y="48"/>
                      </a:lnTo>
                      <a:lnTo>
                        <a:pt x="3180" y="54"/>
                      </a:lnTo>
                      <a:lnTo>
                        <a:pt x="3222" y="48"/>
                      </a:lnTo>
                      <a:lnTo>
                        <a:pt x="3270" y="42"/>
                      </a:lnTo>
                      <a:lnTo>
                        <a:pt x="3330" y="42"/>
                      </a:lnTo>
                      <a:lnTo>
                        <a:pt x="3396" y="42"/>
                      </a:lnTo>
                      <a:lnTo>
                        <a:pt x="3462" y="42"/>
                      </a:lnTo>
                      <a:lnTo>
                        <a:pt x="3504" y="42"/>
                      </a:lnTo>
                      <a:lnTo>
                        <a:pt x="3522" y="48"/>
                      </a:lnTo>
                      <a:lnTo>
                        <a:pt x="3534" y="54"/>
                      </a:lnTo>
                      <a:lnTo>
                        <a:pt x="3546" y="66"/>
                      </a:lnTo>
                      <a:lnTo>
                        <a:pt x="3552" y="72"/>
                      </a:lnTo>
                      <a:lnTo>
                        <a:pt x="3546" y="84"/>
                      </a:lnTo>
                      <a:lnTo>
                        <a:pt x="3540" y="90"/>
                      </a:lnTo>
                      <a:lnTo>
                        <a:pt x="3510" y="102"/>
                      </a:lnTo>
                      <a:lnTo>
                        <a:pt x="3462" y="96"/>
                      </a:lnTo>
                      <a:lnTo>
                        <a:pt x="3414" y="90"/>
                      </a:lnTo>
                      <a:lnTo>
                        <a:pt x="3378" y="96"/>
                      </a:lnTo>
                      <a:lnTo>
                        <a:pt x="3330" y="108"/>
                      </a:lnTo>
                      <a:lnTo>
                        <a:pt x="3288" y="120"/>
                      </a:lnTo>
                      <a:lnTo>
                        <a:pt x="3252" y="126"/>
                      </a:lnTo>
                      <a:lnTo>
                        <a:pt x="3228" y="132"/>
                      </a:lnTo>
                      <a:lnTo>
                        <a:pt x="3210" y="132"/>
                      </a:lnTo>
                      <a:lnTo>
                        <a:pt x="3204" y="132"/>
                      </a:lnTo>
                      <a:lnTo>
                        <a:pt x="3192" y="132"/>
                      </a:lnTo>
                      <a:lnTo>
                        <a:pt x="3186" y="132"/>
                      </a:lnTo>
                      <a:lnTo>
                        <a:pt x="3168" y="138"/>
                      </a:lnTo>
                      <a:lnTo>
                        <a:pt x="3150" y="144"/>
                      </a:lnTo>
                      <a:lnTo>
                        <a:pt x="3132" y="144"/>
                      </a:lnTo>
                      <a:lnTo>
                        <a:pt x="3120" y="150"/>
                      </a:lnTo>
                      <a:lnTo>
                        <a:pt x="3108" y="144"/>
                      </a:lnTo>
                      <a:lnTo>
                        <a:pt x="3096" y="144"/>
                      </a:lnTo>
                      <a:lnTo>
                        <a:pt x="3078" y="138"/>
                      </a:lnTo>
                      <a:lnTo>
                        <a:pt x="3060" y="138"/>
                      </a:lnTo>
                      <a:lnTo>
                        <a:pt x="3036" y="138"/>
                      </a:lnTo>
                      <a:lnTo>
                        <a:pt x="3018" y="138"/>
                      </a:lnTo>
                      <a:lnTo>
                        <a:pt x="3000" y="138"/>
                      </a:lnTo>
                      <a:lnTo>
                        <a:pt x="2994" y="144"/>
                      </a:lnTo>
                      <a:lnTo>
                        <a:pt x="2988" y="150"/>
                      </a:lnTo>
                      <a:lnTo>
                        <a:pt x="2988" y="156"/>
                      </a:lnTo>
                      <a:lnTo>
                        <a:pt x="2988" y="162"/>
                      </a:lnTo>
                      <a:lnTo>
                        <a:pt x="3000" y="168"/>
                      </a:lnTo>
                      <a:lnTo>
                        <a:pt x="3006" y="168"/>
                      </a:lnTo>
                      <a:lnTo>
                        <a:pt x="3006" y="174"/>
                      </a:lnTo>
                      <a:lnTo>
                        <a:pt x="3006" y="180"/>
                      </a:lnTo>
                      <a:lnTo>
                        <a:pt x="3000" y="186"/>
                      </a:lnTo>
                      <a:lnTo>
                        <a:pt x="2982" y="192"/>
                      </a:lnTo>
                      <a:lnTo>
                        <a:pt x="2970" y="198"/>
                      </a:lnTo>
                      <a:lnTo>
                        <a:pt x="2958" y="204"/>
                      </a:lnTo>
                      <a:lnTo>
                        <a:pt x="2940" y="204"/>
                      </a:lnTo>
                      <a:lnTo>
                        <a:pt x="2928" y="198"/>
                      </a:lnTo>
                      <a:lnTo>
                        <a:pt x="2916" y="198"/>
                      </a:lnTo>
                      <a:lnTo>
                        <a:pt x="2910" y="192"/>
                      </a:lnTo>
                      <a:lnTo>
                        <a:pt x="2904" y="198"/>
                      </a:lnTo>
                      <a:lnTo>
                        <a:pt x="2898" y="204"/>
                      </a:lnTo>
                      <a:lnTo>
                        <a:pt x="2892" y="216"/>
                      </a:lnTo>
                      <a:lnTo>
                        <a:pt x="2886" y="228"/>
                      </a:lnTo>
                      <a:lnTo>
                        <a:pt x="2880" y="240"/>
                      </a:lnTo>
                      <a:lnTo>
                        <a:pt x="2874" y="252"/>
                      </a:lnTo>
                      <a:lnTo>
                        <a:pt x="2874" y="258"/>
                      </a:lnTo>
                      <a:lnTo>
                        <a:pt x="2874" y="270"/>
                      </a:lnTo>
                      <a:lnTo>
                        <a:pt x="2880" y="276"/>
                      </a:lnTo>
                      <a:lnTo>
                        <a:pt x="2892" y="276"/>
                      </a:lnTo>
                      <a:lnTo>
                        <a:pt x="2904" y="276"/>
                      </a:lnTo>
                      <a:lnTo>
                        <a:pt x="2910" y="282"/>
                      </a:lnTo>
                      <a:lnTo>
                        <a:pt x="2910" y="282"/>
                      </a:lnTo>
                      <a:lnTo>
                        <a:pt x="2916" y="288"/>
                      </a:lnTo>
                      <a:lnTo>
                        <a:pt x="2916" y="294"/>
                      </a:lnTo>
                      <a:lnTo>
                        <a:pt x="2916" y="306"/>
                      </a:lnTo>
                      <a:lnTo>
                        <a:pt x="2922" y="318"/>
                      </a:lnTo>
                      <a:lnTo>
                        <a:pt x="2928" y="330"/>
                      </a:lnTo>
                      <a:lnTo>
                        <a:pt x="2940" y="330"/>
                      </a:lnTo>
                      <a:lnTo>
                        <a:pt x="2946" y="330"/>
                      </a:lnTo>
                      <a:lnTo>
                        <a:pt x="2958" y="318"/>
                      </a:lnTo>
                      <a:lnTo>
                        <a:pt x="2970" y="306"/>
                      </a:lnTo>
                      <a:lnTo>
                        <a:pt x="2982" y="294"/>
                      </a:lnTo>
                      <a:lnTo>
                        <a:pt x="2994" y="276"/>
                      </a:lnTo>
                      <a:lnTo>
                        <a:pt x="3000" y="264"/>
                      </a:lnTo>
                      <a:lnTo>
                        <a:pt x="3012" y="258"/>
                      </a:lnTo>
                      <a:lnTo>
                        <a:pt x="3036" y="234"/>
                      </a:lnTo>
                      <a:lnTo>
                        <a:pt x="3072" y="222"/>
                      </a:lnTo>
                      <a:lnTo>
                        <a:pt x="3132" y="216"/>
                      </a:lnTo>
                      <a:lnTo>
                        <a:pt x="3192" y="216"/>
                      </a:lnTo>
                      <a:lnTo>
                        <a:pt x="3252" y="210"/>
                      </a:lnTo>
                      <a:lnTo>
                        <a:pt x="3318" y="186"/>
                      </a:lnTo>
                      <a:lnTo>
                        <a:pt x="3390" y="162"/>
                      </a:lnTo>
                      <a:lnTo>
                        <a:pt x="3462" y="162"/>
                      </a:lnTo>
                      <a:lnTo>
                        <a:pt x="3540" y="168"/>
                      </a:lnTo>
                      <a:lnTo>
                        <a:pt x="3582" y="180"/>
                      </a:lnTo>
                      <a:lnTo>
                        <a:pt x="3606" y="180"/>
                      </a:lnTo>
                      <a:lnTo>
                        <a:pt x="3624" y="180"/>
                      </a:lnTo>
                      <a:lnTo>
                        <a:pt x="3642" y="174"/>
                      </a:lnTo>
                      <a:lnTo>
                        <a:pt x="3654" y="168"/>
                      </a:lnTo>
                      <a:lnTo>
                        <a:pt x="3660" y="174"/>
                      </a:lnTo>
                      <a:lnTo>
                        <a:pt x="3660" y="174"/>
                      </a:lnTo>
                      <a:lnTo>
                        <a:pt x="3660" y="186"/>
                      </a:lnTo>
                      <a:lnTo>
                        <a:pt x="3654" y="198"/>
                      </a:lnTo>
                      <a:lnTo>
                        <a:pt x="3654" y="216"/>
                      </a:lnTo>
                      <a:lnTo>
                        <a:pt x="3648" y="240"/>
                      </a:lnTo>
                      <a:lnTo>
                        <a:pt x="3648" y="258"/>
                      </a:lnTo>
                      <a:lnTo>
                        <a:pt x="3648" y="270"/>
                      </a:lnTo>
                      <a:lnTo>
                        <a:pt x="3648" y="282"/>
                      </a:lnTo>
                      <a:lnTo>
                        <a:pt x="3648" y="288"/>
                      </a:lnTo>
                      <a:lnTo>
                        <a:pt x="3660" y="288"/>
                      </a:lnTo>
                      <a:lnTo>
                        <a:pt x="3672" y="294"/>
                      </a:lnTo>
                      <a:lnTo>
                        <a:pt x="3690" y="294"/>
                      </a:lnTo>
                      <a:lnTo>
                        <a:pt x="3714" y="300"/>
                      </a:lnTo>
                      <a:lnTo>
                        <a:pt x="3732" y="306"/>
                      </a:lnTo>
                      <a:lnTo>
                        <a:pt x="3738" y="306"/>
                      </a:lnTo>
                      <a:lnTo>
                        <a:pt x="3744" y="312"/>
                      </a:lnTo>
                      <a:lnTo>
                        <a:pt x="3744" y="318"/>
                      </a:lnTo>
                      <a:lnTo>
                        <a:pt x="3738" y="318"/>
                      </a:lnTo>
                      <a:lnTo>
                        <a:pt x="3732" y="324"/>
                      </a:lnTo>
                      <a:lnTo>
                        <a:pt x="3726" y="330"/>
                      </a:lnTo>
                      <a:lnTo>
                        <a:pt x="3720" y="336"/>
                      </a:lnTo>
                      <a:lnTo>
                        <a:pt x="3720" y="342"/>
                      </a:lnTo>
                      <a:lnTo>
                        <a:pt x="3726" y="348"/>
                      </a:lnTo>
                      <a:lnTo>
                        <a:pt x="3726" y="360"/>
                      </a:lnTo>
                      <a:lnTo>
                        <a:pt x="3708" y="366"/>
                      </a:lnTo>
                      <a:lnTo>
                        <a:pt x="3678" y="366"/>
                      </a:lnTo>
                      <a:lnTo>
                        <a:pt x="3648" y="360"/>
                      </a:lnTo>
                      <a:lnTo>
                        <a:pt x="3624" y="354"/>
                      </a:lnTo>
                      <a:lnTo>
                        <a:pt x="3582" y="354"/>
                      </a:lnTo>
                      <a:lnTo>
                        <a:pt x="3540" y="360"/>
                      </a:lnTo>
                      <a:lnTo>
                        <a:pt x="3504" y="378"/>
                      </a:lnTo>
                      <a:lnTo>
                        <a:pt x="3462" y="384"/>
                      </a:lnTo>
                      <a:lnTo>
                        <a:pt x="3408" y="378"/>
                      </a:lnTo>
                      <a:lnTo>
                        <a:pt x="3348" y="372"/>
                      </a:lnTo>
                      <a:lnTo>
                        <a:pt x="3306" y="366"/>
                      </a:lnTo>
                      <a:lnTo>
                        <a:pt x="3246" y="354"/>
                      </a:lnTo>
                      <a:lnTo>
                        <a:pt x="3192" y="330"/>
                      </a:lnTo>
                      <a:lnTo>
                        <a:pt x="3174" y="330"/>
                      </a:lnTo>
                      <a:lnTo>
                        <a:pt x="3162" y="324"/>
                      </a:lnTo>
                      <a:lnTo>
                        <a:pt x="3150" y="324"/>
                      </a:lnTo>
                      <a:lnTo>
                        <a:pt x="3132" y="330"/>
                      </a:lnTo>
                      <a:lnTo>
                        <a:pt x="3120" y="336"/>
                      </a:lnTo>
                      <a:lnTo>
                        <a:pt x="3114" y="342"/>
                      </a:lnTo>
                      <a:lnTo>
                        <a:pt x="3114" y="348"/>
                      </a:lnTo>
                      <a:lnTo>
                        <a:pt x="3114" y="360"/>
                      </a:lnTo>
                      <a:lnTo>
                        <a:pt x="3126" y="378"/>
                      </a:lnTo>
                      <a:lnTo>
                        <a:pt x="3132" y="396"/>
                      </a:lnTo>
                      <a:lnTo>
                        <a:pt x="3138" y="408"/>
                      </a:lnTo>
                      <a:lnTo>
                        <a:pt x="3132" y="420"/>
                      </a:lnTo>
                      <a:lnTo>
                        <a:pt x="3126" y="426"/>
                      </a:lnTo>
                      <a:lnTo>
                        <a:pt x="3114" y="438"/>
                      </a:lnTo>
                      <a:lnTo>
                        <a:pt x="3096" y="444"/>
                      </a:lnTo>
                      <a:lnTo>
                        <a:pt x="3084" y="450"/>
                      </a:lnTo>
                      <a:lnTo>
                        <a:pt x="3066" y="456"/>
                      </a:lnTo>
                      <a:lnTo>
                        <a:pt x="3054" y="462"/>
                      </a:lnTo>
                      <a:lnTo>
                        <a:pt x="3036" y="468"/>
                      </a:lnTo>
                      <a:lnTo>
                        <a:pt x="3024" y="474"/>
                      </a:lnTo>
                      <a:lnTo>
                        <a:pt x="3018" y="480"/>
                      </a:lnTo>
                      <a:lnTo>
                        <a:pt x="3018" y="486"/>
                      </a:lnTo>
                      <a:lnTo>
                        <a:pt x="3012" y="498"/>
                      </a:lnTo>
                      <a:lnTo>
                        <a:pt x="3012" y="516"/>
                      </a:lnTo>
                      <a:lnTo>
                        <a:pt x="3012" y="534"/>
                      </a:lnTo>
                      <a:lnTo>
                        <a:pt x="3012" y="546"/>
                      </a:lnTo>
                      <a:lnTo>
                        <a:pt x="3018" y="558"/>
                      </a:lnTo>
                      <a:lnTo>
                        <a:pt x="3030" y="564"/>
                      </a:lnTo>
                      <a:lnTo>
                        <a:pt x="3036" y="558"/>
                      </a:lnTo>
                      <a:lnTo>
                        <a:pt x="3048" y="552"/>
                      </a:lnTo>
                      <a:lnTo>
                        <a:pt x="3066" y="540"/>
                      </a:lnTo>
                      <a:lnTo>
                        <a:pt x="3102" y="510"/>
                      </a:lnTo>
                      <a:lnTo>
                        <a:pt x="3144" y="498"/>
                      </a:lnTo>
                      <a:lnTo>
                        <a:pt x="3198" y="492"/>
                      </a:lnTo>
                      <a:lnTo>
                        <a:pt x="3234" y="486"/>
                      </a:lnTo>
                      <a:lnTo>
                        <a:pt x="3252" y="480"/>
                      </a:lnTo>
                      <a:lnTo>
                        <a:pt x="3276" y="468"/>
                      </a:lnTo>
                      <a:lnTo>
                        <a:pt x="3312" y="462"/>
                      </a:lnTo>
                      <a:lnTo>
                        <a:pt x="3366" y="456"/>
                      </a:lnTo>
                      <a:lnTo>
                        <a:pt x="3432" y="456"/>
                      </a:lnTo>
                      <a:lnTo>
                        <a:pt x="3468" y="450"/>
                      </a:lnTo>
                      <a:lnTo>
                        <a:pt x="3492" y="438"/>
                      </a:lnTo>
                      <a:lnTo>
                        <a:pt x="3522" y="432"/>
                      </a:lnTo>
                      <a:lnTo>
                        <a:pt x="3540" y="432"/>
                      </a:lnTo>
                      <a:lnTo>
                        <a:pt x="3546" y="438"/>
                      </a:lnTo>
                      <a:lnTo>
                        <a:pt x="3552" y="438"/>
                      </a:lnTo>
                      <a:lnTo>
                        <a:pt x="3552" y="450"/>
                      </a:lnTo>
                      <a:lnTo>
                        <a:pt x="3552" y="456"/>
                      </a:lnTo>
                      <a:lnTo>
                        <a:pt x="3546" y="468"/>
                      </a:lnTo>
                      <a:lnTo>
                        <a:pt x="3534" y="480"/>
                      </a:lnTo>
                      <a:lnTo>
                        <a:pt x="3510" y="498"/>
                      </a:lnTo>
                      <a:lnTo>
                        <a:pt x="3480" y="510"/>
                      </a:lnTo>
                      <a:lnTo>
                        <a:pt x="3444" y="522"/>
                      </a:lnTo>
                      <a:lnTo>
                        <a:pt x="3426" y="546"/>
                      </a:lnTo>
                      <a:lnTo>
                        <a:pt x="3420" y="564"/>
                      </a:lnTo>
                      <a:lnTo>
                        <a:pt x="3420" y="576"/>
                      </a:lnTo>
                      <a:lnTo>
                        <a:pt x="3414" y="582"/>
                      </a:lnTo>
                      <a:lnTo>
                        <a:pt x="3414" y="594"/>
                      </a:lnTo>
                      <a:lnTo>
                        <a:pt x="3414" y="600"/>
                      </a:lnTo>
                      <a:lnTo>
                        <a:pt x="3420" y="600"/>
                      </a:lnTo>
                      <a:lnTo>
                        <a:pt x="3426" y="600"/>
                      </a:lnTo>
                      <a:lnTo>
                        <a:pt x="3438" y="594"/>
                      </a:lnTo>
                      <a:lnTo>
                        <a:pt x="3456" y="582"/>
                      </a:lnTo>
                      <a:lnTo>
                        <a:pt x="3510" y="558"/>
                      </a:lnTo>
                      <a:lnTo>
                        <a:pt x="3570" y="546"/>
                      </a:lnTo>
                      <a:lnTo>
                        <a:pt x="3630" y="534"/>
                      </a:lnTo>
                      <a:lnTo>
                        <a:pt x="3654" y="528"/>
                      </a:lnTo>
                      <a:lnTo>
                        <a:pt x="3672" y="516"/>
                      </a:lnTo>
                      <a:lnTo>
                        <a:pt x="3684" y="504"/>
                      </a:lnTo>
                      <a:lnTo>
                        <a:pt x="3690" y="492"/>
                      </a:lnTo>
                      <a:lnTo>
                        <a:pt x="3690" y="474"/>
                      </a:lnTo>
                      <a:lnTo>
                        <a:pt x="3696" y="450"/>
                      </a:lnTo>
                      <a:lnTo>
                        <a:pt x="3708" y="426"/>
                      </a:lnTo>
                      <a:lnTo>
                        <a:pt x="3738" y="414"/>
                      </a:lnTo>
                      <a:lnTo>
                        <a:pt x="3774" y="408"/>
                      </a:lnTo>
                      <a:lnTo>
                        <a:pt x="3810" y="414"/>
                      </a:lnTo>
                      <a:lnTo>
                        <a:pt x="3834" y="432"/>
                      </a:lnTo>
                      <a:lnTo>
                        <a:pt x="3858" y="462"/>
                      </a:lnTo>
                      <a:lnTo>
                        <a:pt x="3870" y="492"/>
                      </a:lnTo>
                      <a:lnTo>
                        <a:pt x="3864" y="522"/>
                      </a:lnTo>
                      <a:lnTo>
                        <a:pt x="3852" y="534"/>
                      </a:lnTo>
                      <a:lnTo>
                        <a:pt x="3840" y="546"/>
                      </a:lnTo>
                      <a:lnTo>
                        <a:pt x="3822" y="552"/>
                      </a:lnTo>
                      <a:lnTo>
                        <a:pt x="3810" y="564"/>
                      </a:lnTo>
                      <a:lnTo>
                        <a:pt x="3792" y="570"/>
                      </a:lnTo>
                      <a:lnTo>
                        <a:pt x="3780" y="588"/>
                      </a:lnTo>
                      <a:lnTo>
                        <a:pt x="3774" y="600"/>
                      </a:lnTo>
                      <a:lnTo>
                        <a:pt x="3750" y="636"/>
                      </a:lnTo>
                      <a:lnTo>
                        <a:pt x="3714" y="684"/>
                      </a:lnTo>
                      <a:lnTo>
                        <a:pt x="3672" y="732"/>
                      </a:lnTo>
                      <a:lnTo>
                        <a:pt x="3666" y="750"/>
                      </a:lnTo>
                      <a:lnTo>
                        <a:pt x="3660" y="762"/>
                      </a:lnTo>
                      <a:lnTo>
                        <a:pt x="3660" y="768"/>
                      </a:lnTo>
                      <a:lnTo>
                        <a:pt x="3666" y="774"/>
                      </a:lnTo>
                      <a:lnTo>
                        <a:pt x="3672" y="780"/>
                      </a:lnTo>
                      <a:lnTo>
                        <a:pt x="3684" y="774"/>
                      </a:lnTo>
                      <a:lnTo>
                        <a:pt x="3696" y="774"/>
                      </a:lnTo>
                      <a:lnTo>
                        <a:pt x="3708" y="768"/>
                      </a:lnTo>
                      <a:lnTo>
                        <a:pt x="3720" y="768"/>
                      </a:lnTo>
                      <a:lnTo>
                        <a:pt x="3738" y="756"/>
                      </a:lnTo>
                      <a:lnTo>
                        <a:pt x="3756" y="750"/>
                      </a:lnTo>
                      <a:lnTo>
                        <a:pt x="3762" y="744"/>
                      </a:lnTo>
                      <a:lnTo>
                        <a:pt x="3768" y="732"/>
                      </a:lnTo>
                      <a:lnTo>
                        <a:pt x="3774" y="714"/>
                      </a:lnTo>
                      <a:lnTo>
                        <a:pt x="3780" y="702"/>
                      </a:lnTo>
                      <a:lnTo>
                        <a:pt x="3786" y="696"/>
                      </a:lnTo>
                      <a:lnTo>
                        <a:pt x="3798" y="696"/>
                      </a:lnTo>
                      <a:lnTo>
                        <a:pt x="3810" y="690"/>
                      </a:lnTo>
                      <a:lnTo>
                        <a:pt x="3822" y="690"/>
                      </a:lnTo>
                      <a:lnTo>
                        <a:pt x="3834" y="684"/>
                      </a:lnTo>
                      <a:lnTo>
                        <a:pt x="3846" y="678"/>
                      </a:lnTo>
                      <a:lnTo>
                        <a:pt x="3858" y="666"/>
                      </a:lnTo>
                      <a:lnTo>
                        <a:pt x="3864" y="648"/>
                      </a:lnTo>
                      <a:lnTo>
                        <a:pt x="3876" y="636"/>
                      </a:lnTo>
                      <a:lnTo>
                        <a:pt x="3888" y="618"/>
                      </a:lnTo>
                      <a:lnTo>
                        <a:pt x="3900" y="612"/>
                      </a:lnTo>
                      <a:lnTo>
                        <a:pt x="3906" y="606"/>
                      </a:lnTo>
                      <a:lnTo>
                        <a:pt x="3918" y="600"/>
                      </a:lnTo>
                      <a:lnTo>
                        <a:pt x="3924" y="594"/>
                      </a:lnTo>
                      <a:lnTo>
                        <a:pt x="3936" y="582"/>
                      </a:lnTo>
                      <a:lnTo>
                        <a:pt x="3942" y="570"/>
                      </a:lnTo>
                      <a:lnTo>
                        <a:pt x="3954" y="546"/>
                      </a:lnTo>
                      <a:lnTo>
                        <a:pt x="3960" y="534"/>
                      </a:lnTo>
                      <a:lnTo>
                        <a:pt x="3966" y="534"/>
                      </a:lnTo>
                      <a:lnTo>
                        <a:pt x="3972" y="534"/>
                      </a:lnTo>
                      <a:lnTo>
                        <a:pt x="3978" y="540"/>
                      </a:lnTo>
                      <a:lnTo>
                        <a:pt x="3984" y="546"/>
                      </a:lnTo>
                      <a:lnTo>
                        <a:pt x="3990" y="558"/>
                      </a:lnTo>
                      <a:lnTo>
                        <a:pt x="3996" y="570"/>
                      </a:lnTo>
                      <a:lnTo>
                        <a:pt x="4002" y="582"/>
                      </a:lnTo>
                      <a:lnTo>
                        <a:pt x="4008" y="588"/>
                      </a:lnTo>
                      <a:lnTo>
                        <a:pt x="4014" y="588"/>
                      </a:lnTo>
                      <a:lnTo>
                        <a:pt x="4026" y="582"/>
                      </a:lnTo>
                      <a:lnTo>
                        <a:pt x="4044" y="576"/>
                      </a:lnTo>
                      <a:lnTo>
                        <a:pt x="4056" y="576"/>
                      </a:lnTo>
                      <a:lnTo>
                        <a:pt x="4068" y="582"/>
                      </a:lnTo>
                      <a:lnTo>
                        <a:pt x="4080" y="588"/>
                      </a:lnTo>
                      <a:lnTo>
                        <a:pt x="4086" y="594"/>
                      </a:lnTo>
                      <a:lnTo>
                        <a:pt x="4104" y="606"/>
                      </a:lnTo>
                      <a:lnTo>
                        <a:pt x="4116" y="618"/>
                      </a:lnTo>
                      <a:lnTo>
                        <a:pt x="4134" y="624"/>
                      </a:lnTo>
                      <a:lnTo>
                        <a:pt x="4146" y="624"/>
                      </a:lnTo>
                      <a:lnTo>
                        <a:pt x="4152" y="618"/>
                      </a:lnTo>
                      <a:lnTo>
                        <a:pt x="4158" y="606"/>
                      </a:lnTo>
                      <a:lnTo>
                        <a:pt x="4170" y="588"/>
                      </a:lnTo>
                      <a:lnTo>
                        <a:pt x="4176" y="570"/>
                      </a:lnTo>
                      <a:lnTo>
                        <a:pt x="4182" y="546"/>
                      </a:lnTo>
                      <a:lnTo>
                        <a:pt x="4194" y="528"/>
                      </a:lnTo>
                      <a:lnTo>
                        <a:pt x="4212" y="522"/>
                      </a:lnTo>
                      <a:lnTo>
                        <a:pt x="4242" y="534"/>
                      </a:lnTo>
                      <a:lnTo>
                        <a:pt x="4290" y="540"/>
                      </a:lnTo>
                      <a:lnTo>
                        <a:pt x="4326" y="540"/>
                      </a:lnTo>
                      <a:lnTo>
                        <a:pt x="4362" y="540"/>
                      </a:lnTo>
                      <a:lnTo>
                        <a:pt x="4398" y="540"/>
                      </a:lnTo>
                      <a:lnTo>
                        <a:pt x="4446" y="552"/>
                      </a:lnTo>
                      <a:lnTo>
                        <a:pt x="4500" y="576"/>
                      </a:lnTo>
                      <a:lnTo>
                        <a:pt x="4518" y="594"/>
                      </a:lnTo>
                      <a:lnTo>
                        <a:pt x="4530" y="606"/>
                      </a:lnTo>
                      <a:lnTo>
                        <a:pt x="4542" y="618"/>
                      </a:lnTo>
                      <a:lnTo>
                        <a:pt x="4542" y="624"/>
                      </a:lnTo>
                      <a:lnTo>
                        <a:pt x="4542" y="636"/>
                      </a:lnTo>
                      <a:lnTo>
                        <a:pt x="4530" y="642"/>
                      </a:lnTo>
                      <a:lnTo>
                        <a:pt x="4524" y="642"/>
                      </a:lnTo>
                      <a:lnTo>
                        <a:pt x="4512" y="648"/>
                      </a:lnTo>
                      <a:lnTo>
                        <a:pt x="4494" y="654"/>
                      </a:lnTo>
                      <a:lnTo>
                        <a:pt x="4482" y="654"/>
                      </a:lnTo>
                      <a:lnTo>
                        <a:pt x="4470" y="654"/>
                      </a:lnTo>
                      <a:lnTo>
                        <a:pt x="4458" y="660"/>
                      </a:lnTo>
                      <a:lnTo>
                        <a:pt x="4434" y="660"/>
                      </a:lnTo>
                      <a:lnTo>
                        <a:pt x="4410" y="666"/>
                      </a:lnTo>
                      <a:lnTo>
                        <a:pt x="4398" y="672"/>
                      </a:lnTo>
                      <a:lnTo>
                        <a:pt x="4386" y="678"/>
                      </a:lnTo>
                      <a:lnTo>
                        <a:pt x="4374" y="690"/>
                      </a:lnTo>
                      <a:lnTo>
                        <a:pt x="4368" y="708"/>
                      </a:lnTo>
                      <a:lnTo>
                        <a:pt x="4368" y="726"/>
                      </a:lnTo>
                      <a:lnTo>
                        <a:pt x="4368" y="744"/>
                      </a:lnTo>
                      <a:lnTo>
                        <a:pt x="4368" y="756"/>
                      </a:lnTo>
                      <a:lnTo>
                        <a:pt x="4362" y="768"/>
                      </a:lnTo>
                      <a:lnTo>
                        <a:pt x="4356" y="774"/>
                      </a:lnTo>
                      <a:lnTo>
                        <a:pt x="4338" y="780"/>
                      </a:lnTo>
                      <a:lnTo>
                        <a:pt x="4296" y="780"/>
                      </a:lnTo>
                      <a:lnTo>
                        <a:pt x="4242" y="774"/>
                      </a:lnTo>
                      <a:lnTo>
                        <a:pt x="4182" y="762"/>
                      </a:lnTo>
                      <a:lnTo>
                        <a:pt x="4134" y="756"/>
                      </a:lnTo>
                      <a:lnTo>
                        <a:pt x="4116" y="756"/>
                      </a:lnTo>
                      <a:lnTo>
                        <a:pt x="4104" y="762"/>
                      </a:lnTo>
                      <a:lnTo>
                        <a:pt x="4098" y="768"/>
                      </a:lnTo>
                      <a:lnTo>
                        <a:pt x="4098" y="780"/>
                      </a:lnTo>
                      <a:lnTo>
                        <a:pt x="4098" y="786"/>
                      </a:lnTo>
                      <a:lnTo>
                        <a:pt x="4110" y="798"/>
                      </a:lnTo>
                      <a:lnTo>
                        <a:pt x="4122" y="798"/>
                      </a:lnTo>
                      <a:lnTo>
                        <a:pt x="4140" y="804"/>
                      </a:lnTo>
                      <a:lnTo>
                        <a:pt x="4152" y="810"/>
                      </a:lnTo>
                      <a:lnTo>
                        <a:pt x="4164" y="816"/>
                      </a:lnTo>
                      <a:lnTo>
                        <a:pt x="4164" y="822"/>
                      </a:lnTo>
                      <a:lnTo>
                        <a:pt x="4164" y="828"/>
                      </a:lnTo>
                      <a:lnTo>
                        <a:pt x="4152" y="828"/>
                      </a:lnTo>
                      <a:lnTo>
                        <a:pt x="4128" y="834"/>
                      </a:lnTo>
                      <a:lnTo>
                        <a:pt x="4098" y="834"/>
                      </a:lnTo>
                      <a:lnTo>
                        <a:pt x="4074" y="828"/>
                      </a:lnTo>
                      <a:lnTo>
                        <a:pt x="4062" y="828"/>
                      </a:lnTo>
                      <a:lnTo>
                        <a:pt x="4050" y="828"/>
                      </a:lnTo>
                      <a:lnTo>
                        <a:pt x="4038" y="828"/>
                      </a:lnTo>
                      <a:lnTo>
                        <a:pt x="4032" y="834"/>
                      </a:lnTo>
                      <a:lnTo>
                        <a:pt x="4020" y="840"/>
                      </a:lnTo>
                      <a:lnTo>
                        <a:pt x="4014" y="852"/>
                      </a:lnTo>
                      <a:lnTo>
                        <a:pt x="4014" y="870"/>
                      </a:lnTo>
                      <a:lnTo>
                        <a:pt x="4020" y="888"/>
                      </a:lnTo>
                      <a:lnTo>
                        <a:pt x="4026" y="894"/>
                      </a:lnTo>
                      <a:lnTo>
                        <a:pt x="4032" y="900"/>
                      </a:lnTo>
                      <a:lnTo>
                        <a:pt x="4044" y="900"/>
                      </a:lnTo>
                      <a:lnTo>
                        <a:pt x="4062" y="900"/>
                      </a:lnTo>
                      <a:lnTo>
                        <a:pt x="4074" y="900"/>
                      </a:lnTo>
                      <a:lnTo>
                        <a:pt x="4092" y="894"/>
                      </a:lnTo>
                      <a:lnTo>
                        <a:pt x="4110" y="888"/>
                      </a:lnTo>
                      <a:lnTo>
                        <a:pt x="4128" y="888"/>
                      </a:lnTo>
                      <a:lnTo>
                        <a:pt x="4140" y="888"/>
                      </a:lnTo>
                      <a:lnTo>
                        <a:pt x="4146" y="888"/>
                      </a:lnTo>
                      <a:lnTo>
                        <a:pt x="4152" y="900"/>
                      </a:lnTo>
                      <a:lnTo>
                        <a:pt x="4152" y="912"/>
                      </a:lnTo>
                      <a:lnTo>
                        <a:pt x="4152" y="930"/>
                      </a:lnTo>
                      <a:lnTo>
                        <a:pt x="4146" y="948"/>
                      </a:lnTo>
                      <a:lnTo>
                        <a:pt x="4140" y="960"/>
                      </a:lnTo>
                      <a:lnTo>
                        <a:pt x="4128" y="972"/>
                      </a:lnTo>
                      <a:lnTo>
                        <a:pt x="4116" y="972"/>
                      </a:lnTo>
                      <a:lnTo>
                        <a:pt x="4098" y="978"/>
                      </a:lnTo>
                      <a:lnTo>
                        <a:pt x="4056" y="990"/>
                      </a:lnTo>
                      <a:lnTo>
                        <a:pt x="4026" y="1020"/>
                      </a:lnTo>
                      <a:lnTo>
                        <a:pt x="3996" y="1068"/>
                      </a:lnTo>
                      <a:lnTo>
                        <a:pt x="3984" y="1080"/>
                      </a:lnTo>
                      <a:lnTo>
                        <a:pt x="3972" y="1092"/>
                      </a:lnTo>
                      <a:lnTo>
                        <a:pt x="3960" y="1092"/>
                      </a:lnTo>
                      <a:lnTo>
                        <a:pt x="3954" y="1092"/>
                      </a:lnTo>
                      <a:lnTo>
                        <a:pt x="3942" y="1092"/>
                      </a:lnTo>
                      <a:lnTo>
                        <a:pt x="3936" y="1092"/>
                      </a:lnTo>
                      <a:lnTo>
                        <a:pt x="3924" y="1092"/>
                      </a:lnTo>
                      <a:lnTo>
                        <a:pt x="3924" y="1098"/>
                      </a:lnTo>
                      <a:lnTo>
                        <a:pt x="3918" y="1110"/>
                      </a:lnTo>
                      <a:lnTo>
                        <a:pt x="3918" y="1122"/>
                      </a:lnTo>
                      <a:lnTo>
                        <a:pt x="3924" y="1146"/>
                      </a:lnTo>
                      <a:lnTo>
                        <a:pt x="3924" y="1164"/>
                      </a:lnTo>
                      <a:lnTo>
                        <a:pt x="3918" y="1176"/>
                      </a:lnTo>
                      <a:lnTo>
                        <a:pt x="3912" y="1188"/>
                      </a:lnTo>
                      <a:lnTo>
                        <a:pt x="3906" y="1194"/>
                      </a:lnTo>
                      <a:lnTo>
                        <a:pt x="3900" y="1200"/>
                      </a:lnTo>
                      <a:lnTo>
                        <a:pt x="3894" y="1206"/>
                      </a:lnTo>
                      <a:lnTo>
                        <a:pt x="3882" y="1212"/>
                      </a:lnTo>
                      <a:lnTo>
                        <a:pt x="3870" y="1224"/>
                      </a:lnTo>
                      <a:lnTo>
                        <a:pt x="3864" y="1236"/>
                      </a:lnTo>
                      <a:lnTo>
                        <a:pt x="3870" y="1242"/>
                      </a:lnTo>
                      <a:lnTo>
                        <a:pt x="3876" y="1248"/>
                      </a:lnTo>
                      <a:lnTo>
                        <a:pt x="3894" y="1254"/>
                      </a:lnTo>
                      <a:lnTo>
                        <a:pt x="3912" y="1254"/>
                      </a:lnTo>
                      <a:lnTo>
                        <a:pt x="3948" y="1260"/>
                      </a:lnTo>
                      <a:lnTo>
                        <a:pt x="3984" y="1278"/>
                      </a:lnTo>
                      <a:lnTo>
                        <a:pt x="4020" y="1302"/>
                      </a:lnTo>
                      <a:lnTo>
                        <a:pt x="4032" y="1320"/>
                      </a:lnTo>
                      <a:lnTo>
                        <a:pt x="4044" y="1338"/>
                      </a:lnTo>
                      <a:lnTo>
                        <a:pt x="4044" y="1356"/>
                      </a:lnTo>
                      <a:lnTo>
                        <a:pt x="4044" y="1368"/>
                      </a:lnTo>
                      <a:lnTo>
                        <a:pt x="4038" y="1380"/>
                      </a:lnTo>
                      <a:lnTo>
                        <a:pt x="4032" y="1386"/>
                      </a:lnTo>
                      <a:lnTo>
                        <a:pt x="4026" y="1392"/>
                      </a:lnTo>
                      <a:lnTo>
                        <a:pt x="4014" y="1386"/>
                      </a:lnTo>
                      <a:lnTo>
                        <a:pt x="4008" y="1374"/>
                      </a:lnTo>
                      <a:lnTo>
                        <a:pt x="4002" y="1368"/>
                      </a:lnTo>
                      <a:lnTo>
                        <a:pt x="3996" y="1362"/>
                      </a:lnTo>
                      <a:lnTo>
                        <a:pt x="3990" y="1356"/>
                      </a:lnTo>
                      <a:lnTo>
                        <a:pt x="3978" y="1350"/>
                      </a:lnTo>
                      <a:lnTo>
                        <a:pt x="3966" y="1344"/>
                      </a:lnTo>
                      <a:lnTo>
                        <a:pt x="3948" y="1338"/>
                      </a:lnTo>
                      <a:lnTo>
                        <a:pt x="3936" y="1332"/>
                      </a:lnTo>
                      <a:lnTo>
                        <a:pt x="3924" y="1332"/>
                      </a:lnTo>
                      <a:lnTo>
                        <a:pt x="3912" y="1338"/>
                      </a:lnTo>
                      <a:lnTo>
                        <a:pt x="3906" y="1350"/>
                      </a:lnTo>
                      <a:lnTo>
                        <a:pt x="3900" y="1362"/>
                      </a:lnTo>
                      <a:lnTo>
                        <a:pt x="3894" y="1374"/>
                      </a:lnTo>
                      <a:lnTo>
                        <a:pt x="3894" y="1386"/>
                      </a:lnTo>
                      <a:lnTo>
                        <a:pt x="3894" y="1398"/>
                      </a:lnTo>
                      <a:lnTo>
                        <a:pt x="3900" y="1410"/>
                      </a:lnTo>
                      <a:lnTo>
                        <a:pt x="3906" y="1416"/>
                      </a:lnTo>
                      <a:lnTo>
                        <a:pt x="3924" y="1416"/>
                      </a:lnTo>
                      <a:lnTo>
                        <a:pt x="3942" y="1416"/>
                      </a:lnTo>
                      <a:lnTo>
                        <a:pt x="3954" y="1416"/>
                      </a:lnTo>
                      <a:lnTo>
                        <a:pt x="3960" y="1422"/>
                      </a:lnTo>
                      <a:lnTo>
                        <a:pt x="3960" y="1428"/>
                      </a:lnTo>
                      <a:lnTo>
                        <a:pt x="3966" y="1434"/>
                      </a:lnTo>
                      <a:lnTo>
                        <a:pt x="3966" y="1446"/>
                      </a:lnTo>
                      <a:lnTo>
                        <a:pt x="3972" y="1464"/>
                      </a:lnTo>
                      <a:lnTo>
                        <a:pt x="3984" y="1470"/>
                      </a:lnTo>
                      <a:lnTo>
                        <a:pt x="3990" y="1476"/>
                      </a:lnTo>
                      <a:lnTo>
                        <a:pt x="4002" y="1476"/>
                      </a:lnTo>
                      <a:lnTo>
                        <a:pt x="4014" y="1470"/>
                      </a:lnTo>
                      <a:lnTo>
                        <a:pt x="4032" y="1464"/>
                      </a:lnTo>
                      <a:lnTo>
                        <a:pt x="4056" y="1458"/>
                      </a:lnTo>
                      <a:lnTo>
                        <a:pt x="4080" y="1464"/>
                      </a:lnTo>
                      <a:lnTo>
                        <a:pt x="4086" y="1482"/>
                      </a:lnTo>
                      <a:lnTo>
                        <a:pt x="4086" y="1506"/>
                      </a:lnTo>
                      <a:lnTo>
                        <a:pt x="4080" y="1530"/>
                      </a:lnTo>
                      <a:lnTo>
                        <a:pt x="4074" y="1554"/>
                      </a:lnTo>
                      <a:lnTo>
                        <a:pt x="4056" y="1566"/>
                      </a:lnTo>
                      <a:lnTo>
                        <a:pt x="4032" y="1566"/>
                      </a:lnTo>
                      <a:lnTo>
                        <a:pt x="4002" y="1554"/>
                      </a:lnTo>
                      <a:lnTo>
                        <a:pt x="3972" y="1536"/>
                      </a:lnTo>
                      <a:lnTo>
                        <a:pt x="3954" y="1524"/>
                      </a:lnTo>
                      <a:lnTo>
                        <a:pt x="3930" y="1506"/>
                      </a:lnTo>
                      <a:lnTo>
                        <a:pt x="3912" y="1488"/>
                      </a:lnTo>
                      <a:lnTo>
                        <a:pt x="3888" y="1464"/>
                      </a:lnTo>
                      <a:lnTo>
                        <a:pt x="3876" y="1458"/>
                      </a:lnTo>
                      <a:lnTo>
                        <a:pt x="3864" y="1458"/>
                      </a:lnTo>
                      <a:lnTo>
                        <a:pt x="3852" y="1452"/>
                      </a:lnTo>
                      <a:lnTo>
                        <a:pt x="3840" y="1452"/>
                      </a:lnTo>
                      <a:lnTo>
                        <a:pt x="3828" y="1452"/>
                      </a:lnTo>
                      <a:lnTo>
                        <a:pt x="3822" y="1458"/>
                      </a:lnTo>
                      <a:lnTo>
                        <a:pt x="3816" y="1464"/>
                      </a:lnTo>
                      <a:lnTo>
                        <a:pt x="3816" y="1470"/>
                      </a:lnTo>
                      <a:lnTo>
                        <a:pt x="3816" y="1482"/>
                      </a:lnTo>
                      <a:lnTo>
                        <a:pt x="3828" y="1494"/>
                      </a:lnTo>
                      <a:lnTo>
                        <a:pt x="3846" y="1506"/>
                      </a:lnTo>
                      <a:lnTo>
                        <a:pt x="3864" y="1524"/>
                      </a:lnTo>
                      <a:lnTo>
                        <a:pt x="3870" y="1536"/>
                      </a:lnTo>
                      <a:lnTo>
                        <a:pt x="3876" y="1542"/>
                      </a:lnTo>
                      <a:lnTo>
                        <a:pt x="3870" y="1554"/>
                      </a:lnTo>
                      <a:lnTo>
                        <a:pt x="3864" y="1560"/>
                      </a:lnTo>
                      <a:lnTo>
                        <a:pt x="3852" y="1560"/>
                      </a:lnTo>
                      <a:lnTo>
                        <a:pt x="3840" y="1560"/>
                      </a:lnTo>
                      <a:lnTo>
                        <a:pt x="3822" y="1560"/>
                      </a:lnTo>
                      <a:lnTo>
                        <a:pt x="3810" y="1560"/>
                      </a:lnTo>
                      <a:lnTo>
                        <a:pt x="3792" y="1560"/>
                      </a:lnTo>
                      <a:lnTo>
                        <a:pt x="3780" y="1554"/>
                      </a:lnTo>
                      <a:lnTo>
                        <a:pt x="3768" y="1554"/>
                      </a:lnTo>
                      <a:lnTo>
                        <a:pt x="3762" y="1554"/>
                      </a:lnTo>
                      <a:lnTo>
                        <a:pt x="3762" y="1560"/>
                      </a:lnTo>
                      <a:lnTo>
                        <a:pt x="3762" y="1566"/>
                      </a:lnTo>
                      <a:lnTo>
                        <a:pt x="3762" y="1578"/>
                      </a:lnTo>
                      <a:lnTo>
                        <a:pt x="3768" y="1596"/>
                      </a:lnTo>
                      <a:lnTo>
                        <a:pt x="3774" y="1608"/>
                      </a:lnTo>
                      <a:lnTo>
                        <a:pt x="3780" y="1620"/>
                      </a:lnTo>
                      <a:lnTo>
                        <a:pt x="3786" y="1638"/>
                      </a:lnTo>
                      <a:lnTo>
                        <a:pt x="3792" y="1650"/>
                      </a:lnTo>
                      <a:lnTo>
                        <a:pt x="3804" y="1662"/>
                      </a:lnTo>
                      <a:lnTo>
                        <a:pt x="3816" y="1674"/>
                      </a:lnTo>
                      <a:lnTo>
                        <a:pt x="3834" y="1674"/>
                      </a:lnTo>
                      <a:lnTo>
                        <a:pt x="3852" y="1674"/>
                      </a:lnTo>
                      <a:lnTo>
                        <a:pt x="3876" y="1674"/>
                      </a:lnTo>
                      <a:lnTo>
                        <a:pt x="3894" y="1680"/>
                      </a:lnTo>
                      <a:lnTo>
                        <a:pt x="3906" y="1680"/>
                      </a:lnTo>
                      <a:lnTo>
                        <a:pt x="3918" y="1686"/>
                      </a:lnTo>
                      <a:lnTo>
                        <a:pt x="3918" y="1692"/>
                      </a:lnTo>
                      <a:lnTo>
                        <a:pt x="3918" y="1698"/>
                      </a:lnTo>
                      <a:lnTo>
                        <a:pt x="3918" y="1704"/>
                      </a:lnTo>
                      <a:lnTo>
                        <a:pt x="3912" y="1722"/>
                      </a:lnTo>
                      <a:lnTo>
                        <a:pt x="3906" y="1740"/>
                      </a:lnTo>
                      <a:lnTo>
                        <a:pt x="3906" y="1764"/>
                      </a:lnTo>
                      <a:lnTo>
                        <a:pt x="3912" y="1788"/>
                      </a:lnTo>
                      <a:lnTo>
                        <a:pt x="3912" y="1800"/>
                      </a:lnTo>
                      <a:lnTo>
                        <a:pt x="3906" y="1806"/>
                      </a:lnTo>
                      <a:lnTo>
                        <a:pt x="3894" y="1806"/>
                      </a:lnTo>
                      <a:lnTo>
                        <a:pt x="3876" y="1812"/>
                      </a:lnTo>
                      <a:lnTo>
                        <a:pt x="3864" y="1806"/>
                      </a:lnTo>
                      <a:lnTo>
                        <a:pt x="3840" y="1800"/>
                      </a:lnTo>
                      <a:lnTo>
                        <a:pt x="3822" y="1794"/>
                      </a:lnTo>
                      <a:lnTo>
                        <a:pt x="3810" y="1794"/>
                      </a:lnTo>
                      <a:lnTo>
                        <a:pt x="3798" y="1794"/>
                      </a:lnTo>
                      <a:lnTo>
                        <a:pt x="3792" y="1800"/>
                      </a:lnTo>
                      <a:lnTo>
                        <a:pt x="3792" y="1812"/>
                      </a:lnTo>
                      <a:lnTo>
                        <a:pt x="3798" y="1818"/>
                      </a:lnTo>
                      <a:lnTo>
                        <a:pt x="3804" y="1824"/>
                      </a:lnTo>
                      <a:lnTo>
                        <a:pt x="3810" y="1836"/>
                      </a:lnTo>
                      <a:lnTo>
                        <a:pt x="3828" y="1836"/>
                      </a:lnTo>
                      <a:lnTo>
                        <a:pt x="3840" y="1842"/>
                      </a:lnTo>
                      <a:lnTo>
                        <a:pt x="3846" y="1848"/>
                      </a:lnTo>
                      <a:lnTo>
                        <a:pt x="3846" y="1854"/>
                      </a:lnTo>
                      <a:lnTo>
                        <a:pt x="3846" y="1866"/>
                      </a:lnTo>
                      <a:lnTo>
                        <a:pt x="3846" y="1878"/>
                      </a:lnTo>
                      <a:lnTo>
                        <a:pt x="3846" y="1890"/>
                      </a:lnTo>
                      <a:lnTo>
                        <a:pt x="3852" y="1902"/>
                      </a:lnTo>
                      <a:lnTo>
                        <a:pt x="3858" y="1914"/>
                      </a:lnTo>
                      <a:lnTo>
                        <a:pt x="3876" y="1920"/>
                      </a:lnTo>
                      <a:lnTo>
                        <a:pt x="3894" y="1926"/>
                      </a:lnTo>
                      <a:lnTo>
                        <a:pt x="3912" y="1932"/>
                      </a:lnTo>
                      <a:lnTo>
                        <a:pt x="3936" y="1938"/>
                      </a:lnTo>
                      <a:lnTo>
                        <a:pt x="3960" y="1944"/>
                      </a:lnTo>
                      <a:lnTo>
                        <a:pt x="3978" y="1956"/>
                      </a:lnTo>
                      <a:lnTo>
                        <a:pt x="3990" y="1962"/>
                      </a:lnTo>
                      <a:lnTo>
                        <a:pt x="3990" y="1974"/>
                      </a:lnTo>
                      <a:lnTo>
                        <a:pt x="3990" y="1992"/>
                      </a:lnTo>
                      <a:lnTo>
                        <a:pt x="3984" y="2004"/>
                      </a:lnTo>
                      <a:lnTo>
                        <a:pt x="3966" y="2016"/>
                      </a:lnTo>
                      <a:lnTo>
                        <a:pt x="3954" y="2016"/>
                      </a:lnTo>
                      <a:lnTo>
                        <a:pt x="3936" y="2016"/>
                      </a:lnTo>
                      <a:lnTo>
                        <a:pt x="3918" y="2016"/>
                      </a:lnTo>
                      <a:lnTo>
                        <a:pt x="3894" y="2004"/>
                      </a:lnTo>
                      <a:lnTo>
                        <a:pt x="3870" y="1992"/>
                      </a:lnTo>
                      <a:lnTo>
                        <a:pt x="3852" y="1974"/>
                      </a:lnTo>
                      <a:lnTo>
                        <a:pt x="3834" y="1962"/>
                      </a:lnTo>
                      <a:lnTo>
                        <a:pt x="3816" y="1950"/>
                      </a:lnTo>
                      <a:lnTo>
                        <a:pt x="3798" y="1950"/>
                      </a:lnTo>
                      <a:lnTo>
                        <a:pt x="3774" y="1962"/>
                      </a:lnTo>
                      <a:lnTo>
                        <a:pt x="3750" y="1974"/>
                      </a:lnTo>
                      <a:lnTo>
                        <a:pt x="3732" y="1986"/>
                      </a:lnTo>
                      <a:lnTo>
                        <a:pt x="3714" y="1998"/>
                      </a:lnTo>
                      <a:lnTo>
                        <a:pt x="3702" y="2010"/>
                      </a:lnTo>
                      <a:lnTo>
                        <a:pt x="3696" y="2016"/>
                      </a:lnTo>
                      <a:lnTo>
                        <a:pt x="3696" y="2028"/>
                      </a:lnTo>
                      <a:lnTo>
                        <a:pt x="3702" y="2040"/>
                      </a:lnTo>
                      <a:lnTo>
                        <a:pt x="3726" y="2052"/>
                      </a:lnTo>
                      <a:lnTo>
                        <a:pt x="3762" y="2058"/>
                      </a:lnTo>
                      <a:lnTo>
                        <a:pt x="3804" y="2064"/>
                      </a:lnTo>
                      <a:lnTo>
                        <a:pt x="3846" y="2064"/>
                      </a:lnTo>
                      <a:lnTo>
                        <a:pt x="3864" y="2070"/>
                      </a:lnTo>
                      <a:lnTo>
                        <a:pt x="3870" y="2088"/>
                      </a:lnTo>
                      <a:lnTo>
                        <a:pt x="3870" y="2112"/>
                      </a:lnTo>
                      <a:lnTo>
                        <a:pt x="3858" y="2136"/>
                      </a:lnTo>
                      <a:lnTo>
                        <a:pt x="3846" y="2160"/>
                      </a:lnTo>
                      <a:lnTo>
                        <a:pt x="3816" y="2190"/>
                      </a:lnTo>
                      <a:lnTo>
                        <a:pt x="3774" y="2196"/>
                      </a:lnTo>
                      <a:lnTo>
                        <a:pt x="3720" y="2202"/>
                      </a:lnTo>
                      <a:lnTo>
                        <a:pt x="3702" y="2202"/>
                      </a:lnTo>
                      <a:lnTo>
                        <a:pt x="3690" y="2202"/>
                      </a:lnTo>
                      <a:lnTo>
                        <a:pt x="3684" y="2196"/>
                      </a:lnTo>
                      <a:lnTo>
                        <a:pt x="3684" y="2190"/>
                      </a:lnTo>
                      <a:lnTo>
                        <a:pt x="3684" y="2184"/>
                      </a:lnTo>
                      <a:lnTo>
                        <a:pt x="3696" y="2178"/>
                      </a:lnTo>
                      <a:lnTo>
                        <a:pt x="3702" y="2166"/>
                      </a:lnTo>
                      <a:lnTo>
                        <a:pt x="3714" y="2160"/>
                      </a:lnTo>
                      <a:lnTo>
                        <a:pt x="3726" y="2154"/>
                      </a:lnTo>
                      <a:lnTo>
                        <a:pt x="3732" y="2148"/>
                      </a:lnTo>
                      <a:lnTo>
                        <a:pt x="3732" y="2142"/>
                      </a:lnTo>
                      <a:lnTo>
                        <a:pt x="3726" y="2142"/>
                      </a:lnTo>
                      <a:lnTo>
                        <a:pt x="3720" y="2142"/>
                      </a:lnTo>
                      <a:lnTo>
                        <a:pt x="3702" y="2136"/>
                      </a:lnTo>
                      <a:lnTo>
                        <a:pt x="3690" y="2136"/>
                      </a:lnTo>
                      <a:lnTo>
                        <a:pt x="3672" y="2136"/>
                      </a:lnTo>
                      <a:lnTo>
                        <a:pt x="3660" y="2130"/>
                      </a:lnTo>
                      <a:lnTo>
                        <a:pt x="3648" y="2124"/>
                      </a:lnTo>
                      <a:lnTo>
                        <a:pt x="3624" y="2112"/>
                      </a:lnTo>
                      <a:lnTo>
                        <a:pt x="3594" y="2100"/>
                      </a:lnTo>
                      <a:lnTo>
                        <a:pt x="3564" y="2100"/>
                      </a:lnTo>
                      <a:lnTo>
                        <a:pt x="3546" y="2100"/>
                      </a:lnTo>
                      <a:lnTo>
                        <a:pt x="3534" y="2094"/>
                      </a:lnTo>
                      <a:lnTo>
                        <a:pt x="3522" y="2082"/>
                      </a:lnTo>
                      <a:lnTo>
                        <a:pt x="3504" y="2076"/>
                      </a:lnTo>
                      <a:lnTo>
                        <a:pt x="3492" y="2058"/>
                      </a:lnTo>
                      <a:lnTo>
                        <a:pt x="3480" y="2046"/>
                      </a:lnTo>
                      <a:lnTo>
                        <a:pt x="3468" y="2040"/>
                      </a:lnTo>
                      <a:lnTo>
                        <a:pt x="3456" y="2034"/>
                      </a:lnTo>
                      <a:lnTo>
                        <a:pt x="3456" y="2040"/>
                      </a:lnTo>
                      <a:lnTo>
                        <a:pt x="3450" y="2052"/>
                      </a:lnTo>
                      <a:lnTo>
                        <a:pt x="3450" y="2070"/>
                      </a:lnTo>
                      <a:lnTo>
                        <a:pt x="3450" y="2082"/>
                      </a:lnTo>
                      <a:lnTo>
                        <a:pt x="3450" y="2100"/>
                      </a:lnTo>
                      <a:lnTo>
                        <a:pt x="3456" y="2118"/>
                      </a:lnTo>
                      <a:lnTo>
                        <a:pt x="3468" y="2130"/>
                      </a:lnTo>
                      <a:lnTo>
                        <a:pt x="3474" y="2148"/>
                      </a:lnTo>
                      <a:lnTo>
                        <a:pt x="3480" y="2160"/>
                      </a:lnTo>
                      <a:lnTo>
                        <a:pt x="3480" y="2172"/>
                      </a:lnTo>
                      <a:lnTo>
                        <a:pt x="3474" y="2178"/>
                      </a:lnTo>
                      <a:lnTo>
                        <a:pt x="3468" y="2178"/>
                      </a:lnTo>
                      <a:lnTo>
                        <a:pt x="3456" y="2172"/>
                      </a:lnTo>
                      <a:lnTo>
                        <a:pt x="3450" y="2166"/>
                      </a:lnTo>
                      <a:lnTo>
                        <a:pt x="3444" y="2172"/>
                      </a:lnTo>
                      <a:lnTo>
                        <a:pt x="3438" y="2178"/>
                      </a:lnTo>
                      <a:lnTo>
                        <a:pt x="3438" y="2184"/>
                      </a:lnTo>
                      <a:lnTo>
                        <a:pt x="3432" y="2190"/>
                      </a:lnTo>
                      <a:lnTo>
                        <a:pt x="3426" y="2202"/>
                      </a:lnTo>
                      <a:lnTo>
                        <a:pt x="3420" y="2202"/>
                      </a:lnTo>
                      <a:lnTo>
                        <a:pt x="3402" y="2208"/>
                      </a:lnTo>
                      <a:lnTo>
                        <a:pt x="3390" y="2196"/>
                      </a:lnTo>
                      <a:lnTo>
                        <a:pt x="3372" y="2184"/>
                      </a:lnTo>
                      <a:lnTo>
                        <a:pt x="3354" y="2166"/>
                      </a:lnTo>
                      <a:lnTo>
                        <a:pt x="3336" y="2136"/>
                      </a:lnTo>
                      <a:lnTo>
                        <a:pt x="3324" y="2124"/>
                      </a:lnTo>
                      <a:lnTo>
                        <a:pt x="3306" y="2118"/>
                      </a:lnTo>
                      <a:lnTo>
                        <a:pt x="3294" y="2118"/>
                      </a:lnTo>
                      <a:lnTo>
                        <a:pt x="3282" y="2118"/>
                      </a:lnTo>
                      <a:lnTo>
                        <a:pt x="3276" y="2124"/>
                      </a:lnTo>
                      <a:lnTo>
                        <a:pt x="3276" y="2136"/>
                      </a:lnTo>
                      <a:lnTo>
                        <a:pt x="3276" y="2148"/>
                      </a:lnTo>
                      <a:lnTo>
                        <a:pt x="3288" y="2160"/>
                      </a:lnTo>
                      <a:lnTo>
                        <a:pt x="3294" y="2172"/>
                      </a:lnTo>
                      <a:lnTo>
                        <a:pt x="3294" y="2178"/>
                      </a:lnTo>
                      <a:lnTo>
                        <a:pt x="3294" y="2178"/>
                      </a:lnTo>
                      <a:lnTo>
                        <a:pt x="3288" y="2178"/>
                      </a:lnTo>
                      <a:lnTo>
                        <a:pt x="3282" y="2178"/>
                      </a:lnTo>
                      <a:lnTo>
                        <a:pt x="3276" y="2178"/>
                      </a:lnTo>
                      <a:lnTo>
                        <a:pt x="3270" y="2172"/>
                      </a:lnTo>
                      <a:lnTo>
                        <a:pt x="3264" y="2172"/>
                      </a:lnTo>
                      <a:lnTo>
                        <a:pt x="3258" y="2172"/>
                      </a:lnTo>
                      <a:lnTo>
                        <a:pt x="3258" y="2172"/>
                      </a:lnTo>
                      <a:lnTo>
                        <a:pt x="3258" y="2178"/>
                      </a:lnTo>
                      <a:lnTo>
                        <a:pt x="3258" y="2190"/>
                      </a:lnTo>
                      <a:lnTo>
                        <a:pt x="3264" y="2202"/>
                      </a:lnTo>
                      <a:lnTo>
                        <a:pt x="3264" y="2214"/>
                      </a:lnTo>
                      <a:lnTo>
                        <a:pt x="3276" y="2220"/>
                      </a:lnTo>
                      <a:lnTo>
                        <a:pt x="3282" y="2226"/>
                      </a:lnTo>
                      <a:lnTo>
                        <a:pt x="3300" y="2232"/>
                      </a:lnTo>
                      <a:lnTo>
                        <a:pt x="3330" y="2238"/>
                      </a:lnTo>
                      <a:lnTo>
                        <a:pt x="3348" y="2250"/>
                      </a:lnTo>
                      <a:lnTo>
                        <a:pt x="3360" y="2256"/>
                      </a:lnTo>
                      <a:lnTo>
                        <a:pt x="3366" y="2262"/>
                      </a:lnTo>
                      <a:lnTo>
                        <a:pt x="3366" y="2268"/>
                      </a:lnTo>
                      <a:lnTo>
                        <a:pt x="3360" y="2280"/>
                      </a:lnTo>
                      <a:lnTo>
                        <a:pt x="3354" y="2286"/>
                      </a:lnTo>
                      <a:lnTo>
                        <a:pt x="3342" y="2292"/>
                      </a:lnTo>
                      <a:lnTo>
                        <a:pt x="3330" y="2292"/>
                      </a:lnTo>
                      <a:lnTo>
                        <a:pt x="3318" y="2304"/>
                      </a:lnTo>
                      <a:lnTo>
                        <a:pt x="3312" y="2310"/>
                      </a:lnTo>
                      <a:lnTo>
                        <a:pt x="3312" y="2316"/>
                      </a:lnTo>
                      <a:lnTo>
                        <a:pt x="3312" y="2322"/>
                      </a:lnTo>
                      <a:lnTo>
                        <a:pt x="3324" y="2322"/>
                      </a:lnTo>
                      <a:lnTo>
                        <a:pt x="3342" y="2328"/>
                      </a:lnTo>
                      <a:lnTo>
                        <a:pt x="3348" y="2328"/>
                      </a:lnTo>
                      <a:lnTo>
                        <a:pt x="3348" y="2334"/>
                      </a:lnTo>
                      <a:lnTo>
                        <a:pt x="3342" y="2346"/>
                      </a:lnTo>
                      <a:lnTo>
                        <a:pt x="3342" y="2352"/>
                      </a:lnTo>
                      <a:lnTo>
                        <a:pt x="3348" y="2358"/>
                      </a:lnTo>
                      <a:lnTo>
                        <a:pt x="3360" y="2364"/>
                      </a:lnTo>
                      <a:lnTo>
                        <a:pt x="3378" y="2364"/>
                      </a:lnTo>
                      <a:lnTo>
                        <a:pt x="3390" y="2364"/>
                      </a:lnTo>
                      <a:lnTo>
                        <a:pt x="3402" y="2358"/>
                      </a:lnTo>
                      <a:lnTo>
                        <a:pt x="3408" y="2358"/>
                      </a:lnTo>
                      <a:lnTo>
                        <a:pt x="3420" y="2352"/>
                      </a:lnTo>
                      <a:lnTo>
                        <a:pt x="3432" y="2352"/>
                      </a:lnTo>
                      <a:lnTo>
                        <a:pt x="3444" y="2352"/>
                      </a:lnTo>
                      <a:lnTo>
                        <a:pt x="3456" y="2358"/>
                      </a:lnTo>
                      <a:lnTo>
                        <a:pt x="3462" y="2370"/>
                      </a:lnTo>
                      <a:lnTo>
                        <a:pt x="3462" y="2382"/>
                      </a:lnTo>
                      <a:lnTo>
                        <a:pt x="3462" y="2394"/>
                      </a:lnTo>
                      <a:lnTo>
                        <a:pt x="3468" y="2400"/>
                      </a:lnTo>
                      <a:lnTo>
                        <a:pt x="3474" y="2406"/>
                      </a:lnTo>
                      <a:lnTo>
                        <a:pt x="3480" y="2406"/>
                      </a:lnTo>
                      <a:lnTo>
                        <a:pt x="3492" y="2406"/>
                      </a:lnTo>
                      <a:lnTo>
                        <a:pt x="3510" y="2406"/>
                      </a:lnTo>
                      <a:lnTo>
                        <a:pt x="3522" y="2400"/>
                      </a:lnTo>
                      <a:lnTo>
                        <a:pt x="3540" y="2400"/>
                      </a:lnTo>
                      <a:lnTo>
                        <a:pt x="3552" y="2406"/>
                      </a:lnTo>
                      <a:lnTo>
                        <a:pt x="3564" y="2412"/>
                      </a:lnTo>
                      <a:lnTo>
                        <a:pt x="3570" y="2424"/>
                      </a:lnTo>
                      <a:lnTo>
                        <a:pt x="3570" y="2436"/>
                      </a:lnTo>
                      <a:lnTo>
                        <a:pt x="3570" y="2448"/>
                      </a:lnTo>
                      <a:lnTo>
                        <a:pt x="3570" y="2460"/>
                      </a:lnTo>
                      <a:lnTo>
                        <a:pt x="3576" y="2466"/>
                      </a:lnTo>
                      <a:lnTo>
                        <a:pt x="3582" y="2472"/>
                      </a:lnTo>
                      <a:lnTo>
                        <a:pt x="3594" y="2472"/>
                      </a:lnTo>
                      <a:lnTo>
                        <a:pt x="3600" y="2466"/>
                      </a:lnTo>
                      <a:lnTo>
                        <a:pt x="3612" y="2460"/>
                      </a:lnTo>
                      <a:lnTo>
                        <a:pt x="3624" y="2460"/>
                      </a:lnTo>
                      <a:lnTo>
                        <a:pt x="3636" y="2466"/>
                      </a:lnTo>
                      <a:lnTo>
                        <a:pt x="3648" y="2472"/>
                      </a:lnTo>
                      <a:lnTo>
                        <a:pt x="3666" y="2484"/>
                      </a:lnTo>
                      <a:lnTo>
                        <a:pt x="3678" y="2496"/>
                      </a:lnTo>
                      <a:lnTo>
                        <a:pt x="3690" y="2508"/>
                      </a:lnTo>
                      <a:lnTo>
                        <a:pt x="3696" y="2520"/>
                      </a:lnTo>
                      <a:lnTo>
                        <a:pt x="3708" y="2538"/>
                      </a:lnTo>
                      <a:lnTo>
                        <a:pt x="3714" y="2556"/>
                      </a:lnTo>
                      <a:lnTo>
                        <a:pt x="3714" y="2568"/>
                      </a:lnTo>
                      <a:lnTo>
                        <a:pt x="3714" y="2580"/>
                      </a:lnTo>
                      <a:lnTo>
                        <a:pt x="3702" y="2586"/>
                      </a:lnTo>
                      <a:lnTo>
                        <a:pt x="3696" y="2592"/>
                      </a:lnTo>
                      <a:lnTo>
                        <a:pt x="3690" y="2592"/>
                      </a:lnTo>
                      <a:lnTo>
                        <a:pt x="3684" y="2598"/>
                      </a:lnTo>
                      <a:lnTo>
                        <a:pt x="3678" y="2610"/>
                      </a:lnTo>
                      <a:lnTo>
                        <a:pt x="3684" y="2616"/>
                      </a:lnTo>
                      <a:lnTo>
                        <a:pt x="3684" y="2634"/>
                      </a:lnTo>
                      <a:lnTo>
                        <a:pt x="3696" y="2646"/>
                      </a:lnTo>
                      <a:lnTo>
                        <a:pt x="3708" y="2670"/>
                      </a:lnTo>
                      <a:lnTo>
                        <a:pt x="3714" y="2682"/>
                      </a:lnTo>
                      <a:lnTo>
                        <a:pt x="3708" y="2694"/>
                      </a:lnTo>
                      <a:lnTo>
                        <a:pt x="3702" y="2706"/>
                      </a:lnTo>
                      <a:lnTo>
                        <a:pt x="3690" y="2718"/>
                      </a:lnTo>
                      <a:lnTo>
                        <a:pt x="3678" y="2724"/>
                      </a:lnTo>
                      <a:lnTo>
                        <a:pt x="3666" y="2724"/>
                      </a:lnTo>
                      <a:lnTo>
                        <a:pt x="3648" y="2724"/>
                      </a:lnTo>
                      <a:lnTo>
                        <a:pt x="3636" y="2718"/>
                      </a:lnTo>
                      <a:lnTo>
                        <a:pt x="3630" y="2712"/>
                      </a:lnTo>
                      <a:lnTo>
                        <a:pt x="3624" y="2706"/>
                      </a:lnTo>
                      <a:lnTo>
                        <a:pt x="3618" y="2688"/>
                      </a:lnTo>
                      <a:lnTo>
                        <a:pt x="3606" y="2676"/>
                      </a:lnTo>
                      <a:lnTo>
                        <a:pt x="3600" y="2670"/>
                      </a:lnTo>
                      <a:lnTo>
                        <a:pt x="3594" y="2670"/>
                      </a:lnTo>
                      <a:lnTo>
                        <a:pt x="3588" y="2670"/>
                      </a:lnTo>
                      <a:lnTo>
                        <a:pt x="3576" y="2682"/>
                      </a:lnTo>
                      <a:lnTo>
                        <a:pt x="3570" y="2688"/>
                      </a:lnTo>
                      <a:lnTo>
                        <a:pt x="3564" y="2700"/>
                      </a:lnTo>
                      <a:lnTo>
                        <a:pt x="3552" y="2712"/>
                      </a:lnTo>
                      <a:lnTo>
                        <a:pt x="3546" y="2712"/>
                      </a:lnTo>
                      <a:lnTo>
                        <a:pt x="3528" y="2718"/>
                      </a:lnTo>
                      <a:lnTo>
                        <a:pt x="3516" y="2712"/>
                      </a:lnTo>
                      <a:lnTo>
                        <a:pt x="3498" y="2700"/>
                      </a:lnTo>
                      <a:lnTo>
                        <a:pt x="3486" y="2682"/>
                      </a:lnTo>
                      <a:lnTo>
                        <a:pt x="3474" y="2664"/>
                      </a:lnTo>
                      <a:lnTo>
                        <a:pt x="3468" y="2652"/>
                      </a:lnTo>
                      <a:lnTo>
                        <a:pt x="3474" y="2634"/>
                      </a:lnTo>
                      <a:lnTo>
                        <a:pt x="3480" y="2622"/>
                      </a:lnTo>
                      <a:lnTo>
                        <a:pt x="3486" y="2610"/>
                      </a:lnTo>
                      <a:lnTo>
                        <a:pt x="3486" y="2598"/>
                      </a:lnTo>
                      <a:lnTo>
                        <a:pt x="3480" y="2586"/>
                      </a:lnTo>
                      <a:lnTo>
                        <a:pt x="3468" y="2580"/>
                      </a:lnTo>
                      <a:lnTo>
                        <a:pt x="3456" y="2574"/>
                      </a:lnTo>
                      <a:lnTo>
                        <a:pt x="3444" y="2574"/>
                      </a:lnTo>
                      <a:lnTo>
                        <a:pt x="3438" y="2574"/>
                      </a:lnTo>
                      <a:lnTo>
                        <a:pt x="3432" y="2568"/>
                      </a:lnTo>
                      <a:lnTo>
                        <a:pt x="3420" y="2556"/>
                      </a:lnTo>
                      <a:lnTo>
                        <a:pt x="3414" y="2538"/>
                      </a:lnTo>
                      <a:lnTo>
                        <a:pt x="3402" y="2520"/>
                      </a:lnTo>
                      <a:lnTo>
                        <a:pt x="3378" y="2496"/>
                      </a:lnTo>
                      <a:lnTo>
                        <a:pt x="3348" y="2484"/>
                      </a:lnTo>
                      <a:lnTo>
                        <a:pt x="3312" y="2484"/>
                      </a:lnTo>
                      <a:lnTo>
                        <a:pt x="3288" y="2478"/>
                      </a:lnTo>
                      <a:lnTo>
                        <a:pt x="3240" y="2460"/>
                      </a:lnTo>
                      <a:lnTo>
                        <a:pt x="3186" y="2436"/>
                      </a:lnTo>
                      <a:lnTo>
                        <a:pt x="3174" y="2436"/>
                      </a:lnTo>
                      <a:lnTo>
                        <a:pt x="3156" y="2436"/>
                      </a:lnTo>
                      <a:lnTo>
                        <a:pt x="3144" y="2448"/>
                      </a:lnTo>
                      <a:lnTo>
                        <a:pt x="3138" y="2454"/>
                      </a:lnTo>
                      <a:lnTo>
                        <a:pt x="3144" y="2472"/>
                      </a:lnTo>
                      <a:lnTo>
                        <a:pt x="3150" y="2484"/>
                      </a:lnTo>
                      <a:lnTo>
                        <a:pt x="3162" y="2496"/>
                      </a:lnTo>
                      <a:lnTo>
                        <a:pt x="3180" y="2508"/>
                      </a:lnTo>
                      <a:lnTo>
                        <a:pt x="3192" y="2514"/>
                      </a:lnTo>
                      <a:lnTo>
                        <a:pt x="3198" y="2520"/>
                      </a:lnTo>
                      <a:lnTo>
                        <a:pt x="3204" y="2520"/>
                      </a:lnTo>
                      <a:lnTo>
                        <a:pt x="3204" y="2526"/>
                      </a:lnTo>
                      <a:lnTo>
                        <a:pt x="3204" y="2532"/>
                      </a:lnTo>
                      <a:lnTo>
                        <a:pt x="3204" y="2538"/>
                      </a:lnTo>
                      <a:lnTo>
                        <a:pt x="3204" y="2544"/>
                      </a:lnTo>
                      <a:lnTo>
                        <a:pt x="3216" y="2550"/>
                      </a:lnTo>
                      <a:lnTo>
                        <a:pt x="3234" y="2556"/>
                      </a:lnTo>
                      <a:lnTo>
                        <a:pt x="3258" y="2556"/>
                      </a:lnTo>
                      <a:lnTo>
                        <a:pt x="3294" y="2556"/>
                      </a:lnTo>
                      <a:lnTo>
                        <a:pt x="3318" y="2556"/>
                      </a:lnTo>
                      <a:lnTo>
                        <a:pt x="3330" y="2562"/>
                      </a:lnTo>
                      <a:lnTo>
                        <a:pt x="3342" y="2568"/>
                      </a:lnTo>
                      <a:lnTo>
                        <a:pt x="3348" y="2574"/>
                      </a:lnTo>
                      <a:lnTo>
                        <a:pt x="3348" y="2586"/>
                      </a:lnTo>
                      <a:lnTo>
                        <a:pt x="3348" y="2592"/>
                      </a:lnTo>
                      <a:lnTo>
                        <a:pt x="3342" y="2598"/>
                      </a:lnTo>
                      <a:lnTo>
                        <a:pt x="3330" y="2604"/>
                      </a:lnTo>
                      <a:lnTo>
                        <a:pt x="3288" y="2616"/>
                      </a:lnTo>
                      <a:lnTo>
                        <a:pt x="3240" y="2622"/>
                      </a:lnTo>
                      <a:lnTo>
                        <a:pt x="3198" y="2616"/>
                      </a:lnTo>
                      <a:lnTo>
                        <a:pt x="3180" y="2616"/>
                      </a:lnTo>
                      <a:lnTo>
                        <a:pt x="3168" y="2616"/>
                      </a:lnTo>
                      <a:lnTo>
                        <a:pt x="3162" y="2628"/>
                      </a:lnTo>
                      <a:lnTo>
                        <a:pt x="3150" y="2634"/>
                      </a:lnTo>
                      <a:lnTo>
                        <a:pt x="3138" y="2646"/>
                      </a:lnTo>
                      <a:lnTo>
                        <a:pt x="3126" y="2652"/>
                      </a:lnTo>
                      <a:lnTo>
                        <a:pt x="3114" y="2658"/>
                      </a:lnTo>
                      <a:lnTo>
                        <a:pt x="3108" y="2664"/>
                      </a:lnTo>
                      <a:lnTo>
                        <a:pt x="3108" y="2670"/>
                      </a:lnTo>
                      <a:lnTo>
                        <a:pt x="3108" y="2682"/>
                      </a:lnTo>
                      <a:lnTo>
                        <a:pt x="3114" y="2688"/>
                      </a:lnTo>
                      <a:lnTo>
                        <a:pt x="3126" y="2694"/>
                      </a:lnTo>
                      <a:lnTo>
                        <a:pt x="3144" y="2700"/>
                      </a:lnTo>
                      <a:lnTo>
                        <a:pt x="3168" y="2706"/>
                      </a:lnTo>
                      <a:lnTo>
                        <a:pt x="3198" y="2712"/>
                      </a:lnTo>
                      <a:lnTo>
                        <a:pt x="3222" y="2718"/>
                      </a:lnTo>
                      <a:lnTo>
                        <a:pt x="3240" y="2718"/>
                      </a:lnTo>
                      <a:lnTo>
                        <a:pt x="3252" y="2724"/>
                      </a:lnTo>
                      <a:lnTo>
                        <a:pt x="3252" y="2730"/>
                      </a:lnTo>
                      <a:lnTo>
                        <a:pt x="3252" y="2736"/>
                      </a:lnTo>
                      <a:lnTo>
                        <a:pt x="3240" y="2736"/>
                      </a:lnTo>
                      <a:lnTo>
                        <a:pt x="3228" y="2742"/>
                      </a:lnTo>
                      <a:lnTo>
                        <a:pt x="3216" y="2748"/>
                      </a:lnTo>
                      <a:lnTo>
                        <a:pt x="3204" y="2748"/>
                      </a:lnTo>
                      <a:lnTo>
                        <a:pt x="3186" y="2754"/>
                      </a:lnTo>
                      <a:lnTo>
                        <a:pt x="3174" y="2754"/>
                      </a:lnTo>
                      <a:lnTo>
                        <a:pt x="3156" y="2760"/>
                      </a:lnTo>
                      <a:lnTo>
                        <a:pt x="3138" y="2760"/>
                      </a:lnTo>
                      <a:lnTo>
                        <a:pt x="3126" y="2766"/>
                      </a:lnTo>
                      <a:lnTo>
                        <a:pt x="3114" y="2778"/>
                      </a:lnTo>
                      <a:lnTo>
                        <a:pt x="3108" y="2784"/>
                      </a:lnTo>
                      <a:lnTo>
                        <a:pt x="3108" y="2790"/>
                      </a:lnTo>
                      <a:lnTo>
                        <a:pt x="3114" y="2796"/>
                      </a:lnTo>
                      <a:lnTo>
                        <a:pt x="3126" y="2796"/>
                      </a:lnTo>
                      <a:lnTo>
                        <a:pt x="3156" y="2802"/>
                      </a:lnTo>
                      <a:lnTo>
                        <a:pt x="3186" y="2808"/>
                      </a:lnTo>
                      <a:lnTo>
                        <a:pt x="3228" y="2796"/>
                      </a:lnTo>
                      <a:lnTo>
                        <a:pt x="3270" y="2790"/>
                      </a:lnTo>
                      <a:lnTo>
                        <a:pt x="3318" y="2790"/>
                      </a:lnTo>
                      <a:lnTo>
                        <a:pt x="3360" y="2790"/>
                      </a:lnTo>
                      <a:lnTo>
                        <a:pt x="3396" y="2766"/>
                      </a:lnTo>
                      <a:lnTo>
                        <a:pt x="3420" y="2754"/>
                      </a:lnTo>
                      <a:lnTo>
                        <a:pt x="3444" y="2760"/>
                      </a:lnTo>
                      <a:lnTo>
                        <a:pt x="3474" y="2778"/>
                      </a:lnTo>
                      <a:lnTo>
                        <a:pt x="3510" y="2784"/>
                      </a:lnTo>
                      <a:lnTo>
                        <a:pt x="3528" y="2790"/>
                      </a:lnTo>
                      <a:lnTo>
                        <a:pt x="3546" y="2796"/>
                      </a:lnTo>
                      <a:lnTo>
                        <a:pt x="3558" y="2808"/>
                      </a:lnTo>
                      <a:lnTo>
                        <a:pt x="3558" y="2814"/>
                      </a:lnTo>
                      <a:lnTo>
                        <a:pt x="3558" y="2820"/>
                      </a:lnTo>
                      <a:lnTo>
                        <a:pt x="3552" y="2832"/>
                      </a:lnTo>
                      <a:lnTo>
                        <a:pt x="3534" y="2838"/>
                      </a:lnTo>
                      <a:lnTo>
                        <a:pt x="3480" y="2856"/>
                      </a:lnTo>
                      <a:lnTo>
                        <a:pt x="3426" y="2898"/>
                      </a:lnTo>
                      <a:lnTo>
                        <a:pt x="3366" y="2952"/>
                      </a:lnTo>
                      <a:lnTo>
                        <a:pt x="3324" y="2982"/>
                      </a:lnTo>
                      <a:lnTo>
                        <a:pt x="3288" y="3000"/>
                      </a:lnTo>
                      <a:lnTo>
                        <a:pt x="3258" y="3018"/>
                      </a:lnTo>
                      <a:lnTo>
                        <a:pt x="3222" y="3042"/>
                      </a:lnTo>
                      <a:lnTo>
                        <a:pt x="3174" y="3066"/>
                      </a:lnTo>
                      <a:lnTo>
                        <a:pt x="3132" y="3066"/>
                      </a:lnTo>
                      <a:lnTo>
                        <a:pt x="3090" y="3066"/>
                      </a:lnTo>
                      <a:lnTo>
                        <a:pt x="3060" y="3072"/>
                      </a:lnTo>
                      <a:lnTo>
                        <a:pt x="3030" y="3084"/>
                      </a:lnTo>
                      <a:lnTo>
                        <a:pt x="3000" y="3078"/>
                      </a:lnTo>
                      <a:lnTo>
                        <a:pt x="2970" y="3072"/>
                      </a:lnTo>
                      <a:lnTo>
                        <a:pt x="2946" y="3084"/>
                      </a:lnTo>
                      <a:lnTo>
                        <a:pt x="2922" y="3102"/>
                      </a:lnTo>
                      <a:lnTo>
                        <a:pt x="2886" y="3096"/>
                      </a:lnTo>
                      <a:lnTo>
                        <a:pt x="2850" y="3084"/>
                      </a:lnTo>
                      <a:lnTo>
                        <a:pt x="2820" y="3084"/>
                      </a:lnTo>
                      <a:lnTo>
                        <a:pt x="2808" y="3090"/>
                      </a:lnTo>
                      <a:lnTo>
                        <a:pt x="2796" y="3084"/>
                      </a:lnTo>
                      <a:lnTo>
                        <a:pt x="2790" y="3078"/>
                      </a:lnTo>
                      <a:lnTo>
                        <a:pt x="2778" y="3060"/>
                      </a:lnTo>
                      <a:lnTo>
                        <a:pt x="2772" y="3042"/>
                      </a:lnTo>
                      <a:lnTo>
                        <a:pt x="2766" y="3012"/>
                      </a:lnTo>
                      <a:lnTo>
                        <a:pt x="2766" y="2994"/>
                      </a:lnTo>
                      <a:lnTo>
                        <a:pt x="2760" y="2988"/>
                      </a:lnTo>
                      <a:lnTo>
                        <a:pt x="2754" y="2988"/>
                      </a:lnTo>
                      <a:lnTo>
                        <a:pt x="2748" y="2994"/>
                      </a:lnTo>
                      <a:lnTo>
                        <a:pt x="2742" y="3006"/>
                      </a:lnTo>
                      <a:lnTo>
                        <a:pt x="2736" y="3018"/>
                      </a:lnTo>
                      <a:lnTo>
                        <a:pt x="2730" y="3036"/>
                      </a:lnTo>
                      <a:lnTo>
                        <a:pt x="2724" y="3054"/>
                      </a:lnTo>
                      <a:lnTo>
                        <a:pt x="2718" y="3072"/>
                      </a:lnTo>
                      <a:lnTo>
                        <a:pt x="2718" y="3090"/>
                      </a:lnTo>
                      <a:lnTo>
                        <a:pt x="2718" y="3102"/>
                      </a:lnTo>
                      <a:lnTo>
                        <a:pt x="2718" y="3126"/>
                      </a:lnTo>
                      <a:lnTo>
                        <a:pt x="2712" y="3150"/>
                      </a:lnTo>
                      <a:lnTo>
                        <a:pt x="2700" y="3168"/>
                      </a:lnTo>
                      <a:lnTo>
                        <a:pt x="2688" y="3180"/>
                      </a:lnTo>
                      <a:lnTo>
                        <a:pt x="2670" y="3192"/>
                      </a:lnTo>
                      <a:lnTo>
                        <a:pt x="2652" y="3198"/>
                      </a:lnTo>
                      <a:lnTo>
                        <a:pt x="2628" y="3210"/>
                      </a:lnTo>
                      <a:lnTo>
                        <a:pt x="2616" y="3216"/>
                      </a:lnTo>
                      <a:lnTo>
                        <a:pt x="2610" y="3222"/>
                      </a:lnTo>
                      <a:lnTo>
                        <a:pt x="2610" y="3234"/>
                      </a:lnTo>
                      <a:lnTo>
                        <a:pt x="2610" y="3246"/>
                      </a:lnTo>
                      <a:lnTo>
                        <a:pt x="2610" y="3264"/>
                      </a:lnTo>
                      <a:lnTo>
                        <a:pt x="2604" y="3294"/>
                      </a:lnTo>
                      <a:lnTo>
                        <a:pt x="2592" y="3318"/>
                      </a:lnTo>
                      <a:lnTo>
                        <a:pt x="2568" y="3342"/>
                      </a:lnTo>
                      <a:lnTo>
                        <a:pt x="2532" y="3372"/>
                      </a:lnTo>
                      <a:lnTo>
                        <a:pt x="2490" y="3402"/>
                      </a:lnTo>
                      <a:lnTo>
                        <a:pt x="2460" y="3420"/>
                      </a:lnTo>
                      <a:lnTo>
                        <a:pt x="2430" y="3426"/>
                      </a:lnTo>
                      <a:lnTo>
                        <a:pt x="2406" y="3426"/>
                      </a:lnTo>
                      <a:lnTo>
                        <a:pt x="2388" y="3426"/>
                      </a:lnTo>
                      <a:lnTo>
                        <a:pt x="2382" y="3426"/>
                      </a:lnTo>
                      <a:lnTo>
                        <a:pt x="2382" y="3426"/>
                      </a:lnTo>
                      <a:lnTo>
                        <a:pt x="2388" y="3432"/>
                      </a:lnTo>
                      <a:lnTo>
                        <a:pt x="2394" y="3444"/>
                      </a:lnTo>
                      <a:lnTo>
                        <a:pt x="2400" y="3456"/>
                      </a:lnTo>
                      <a:lnTo>
                        <a:pt x="2406" y="3468"/>
                      </a:lnTo>
                      <a:lnTo>
                        <a:pt x="2406" y="3480"/>
                      </a:lnTo>
                      <a:lnTo>
                        <a:pt x="2400" y="3480"/>
                      </a:lnTo>
                      <a:lnTo>
                        <a:pt x="2394" y="3486"/>
                      </a:lnTo>
                      <a:lnTo>
                        <a:pt x="2382" y="3486"/>
                      </a:lnTo>
                      <a:lnTo>
                        <a:pt x="2370" y="3486"/>
                      </a:lnTo>
                      <a:lnTo>
                        <a:pt x="2358" y="3486"/>
                      </a:lnTo>
                      <a:lnTo>
                        <a:pt x="2352" y="3486"/>
                      </a:lnTo>
                      <a:lnTo>
                        <a:pt x="2346" y="3480"/>
                      </a:lnTo>
                      <a:lnTo>
                        <a:pt x="2340" y="3474"/>
                      </a:lnTo>
                      <a:lnTo>
                        <a:pt x="2334" y="3462"/>
                      </a:lnTo>
                      <a:lnTo>
                        <a:pt x="2322" y="3450"/>
                      </a:lnTo>
                      <a:lnTo>
                        <a:pt x="2316" y="3444"/>
                      </a:lnTo>
                      <a:lnTo>
                        <a:pt x="2304" y="3450"/>
                      </a:lnTo>
                      <a:lnTo>
                        <a:pt x="2286" y="3456"/>
                      </a:lnTo>
                      <a:lnTo>
                        <a:pt x="2274" y="3474"/>
                      </a:lnTo>
                      <a:lnTo>
                        <a:pt x="2262" y="3486"/>
                      </a:lnTo>
                      <a:lnTo>
                        <a:pt x="2244" y="3498"/>
                      </a:lnTo>
                      <a:lnTo>
                        <a:pt x="2238" y="3504"/>
                      </a:lnTo>
                      <a:lnTo>
                        <a:pt x="2226" y="3504"/>
                      </a:lnTo>
                      <a:lnTo>
                        <a:pt x="2220" y="3498"/>
                      </a:lnTo>
                      <a:lnTo>
                        <a:pt x="2214" y="3480"/>
                      </a:lnTo>
                      <a:lnTo>
                        <a:pt x="2226" y="3438"/>
                      </a:lnTo>
                      <a:lnTo>
                        <a:pt x="2250" y="3408"/>
                      </a:lnTo>
                      <a:lnTo>
                        <a:pt x="2286" y="3378"/>
                      </a:lnTo>
                      <a:lnTo>
                        <a:pt x="2298" y="3372"/>
                      </a:lnTo>
                      <a:lnTo>
                        <a:pt x="2298" y="3360"/>
                      </a:lnTo>
                      <a:lnTo>
                        <a:pt x="2298" y="3348"/>
                      </a:lnTo>
                      <a:lnTo>
                        <a:pt x="2292" y="3342"/>
                      </a:lnTo>
                      <a:lnTo>
                        <a:pt x="2280" y="3336"/>
                      </a:lnTo>
                      <a:lnTo>
                        <a:pt x="2268" y="3336"/>
                      </a:lnTo>
                      <a:lnTo>
                        <a:pt x="2256" y="3336"/>
                      </a:lnTo>
                      <a:lnTo>
                        <a:pt x="2238" y="3348"/>
                      </a:lnTo>
                      <a:lnTo>
                        <a:pt x="2220" y="3354"/>
                      </a:lnTo>
                      <a:lnTo>
                        <a:pt x="2202" y="3366"/>
                      </a:lnTo>
                      <a:lnTo>
                        <a:pt x="2190" y="3378"/>
                      </a:lnTo>
                      <a:lnTo>
                        <a:pt x="2178" y="3390"/>
                      </a:lnTo>
                      <a:lnTo>
                        <a:pt x="2172" y="3402"/>
                      </a:lnTo>
                      <a:lnTo>
                        <a:pt x="2166" y="3414"/>
                      </a:lnTo>
                      <a:lnTo>
                        <a:pt x="2166" y="3426"/>
                      </a:lnTo>
                      <a:lnTo>
                        <a:pt x="2160" y="3438"/>
                      </a:lnTo>
                      <a:lnTo>
                        <a:pt x="2154" y="3444"/>
                      </a:lnTo>
                      <a:lnTo>
                        <a:pt x="2148" y="3444"/>
                      </a:lnTo>
                      <a:lnTo>
                        <a:pt x="2136" y="3444"/>
                      </a:lnTo>
                      <a:lnTo>
                        <a:pt x="2130" y="3438"/>
                      </a:lnTo>
                      <a:lnTo>
                        <a:pt x="2124" y="3438"/>
                      </a:lnTo>
                      <a:lnTo>
                        <a:pt x="2118" y="3438"/>
                      </a:lnTo>
                      <a:lnTo>
                        <a:pt x="2118" y="3444"/>
                      </a:lnTo>
                      <a:lnTo>
                        <a:pt x="2124" y="3450"/>
                      </a:lnTo>
                      <a:lnTo>
                        <a:pt x="2124" y="3462"/>
                      </a:lnTo>
                      <a:lnTo>
                        <a:pt x="2130" y="3474"/>
                      </a:lnTo>
                      <a:lnTo>
                        <a:pt x="2130" y="3486"/>
                      </a:lnTo>
                      <a:lnTo>
                        <a:pt x="2136" y="3504"/>
                      </a:lnTo>
                      <a:lnTo>
                        <a:pt x="2136" y="3510"/>
                      </a:lnTo>
                      <a:lnTo>
                        <a:pt x="2136" y="3522"/>
                      </a:lnTo>
                      <a:lnTo>
                        <a:pt x="2130" y="3528"/>
                      </a:lnTo>
                      <a:lnTo>
                        <a:pt x="2118" y="3534"/>
                      </a:lnTo>
                      <a:lnTo>
                        <a:pt x="2094" y="3534"/>
                      </a:lnTo>
                      <a:lnTo>
                        <a:pt x="2070" y="3534"/>
                      </a:lnTo>
                      <a:lnTo>
                        <a:pt x="2052" y="3534"/>
                      </a:lnTo>
                      <a:lnTo>
                        <a:pt x="2034" y="3522"/>
                      </a:lnTo>
                      <a:lnTo>
                        <a:pt x="2022" y="3510"/>
                      </a:lnTo>
                      <a:lnTo>
                        <a:pt x="2016" y="3498"/>
                      </a:lnTo>
                      <a:lnTo>
                        <a:pt x="2010" y="3498"/>
                      </a:lnTo>
                      <a:lnTo>
                        <a:pt x="2004" y="3498"/>
                      </a:lnTo>
                      <a:lnTo>
                        <a:pt x="1998" y="3504"/>
                      </a:lnTo>
                      <a:lnTo>
                        <a:pt x="1986" y="3522"/>
                      </a:lnTo>
                      <a:lnTo>
                        <a:pt x="1974" y="3540"/>
                      </a:lnTo>
                      <a:lnTo>
                        <a:pt x="1962" y="3558"/>
                      </a:lnTo>
                      <a:lnTo>
                        <a:pt x="1944" y="3576"/>
                      </a:lnTo>
                      <a:lnTo>
                        <a:pt x="1920" y="3588"/>
                      </a:lnTo>
                      <a:lnTo>
                        <a:pt x="1902" y="3594"/>
                      </a:lnTo>
                      <a:lnTo>
                        <a:pt x="1890" y="3600"/>
                      </a:lnTo>
                      <a:lnTo>
                        <a:pt x="1890" y="3606"/>
                      </a:lnTo>
                      <a:lnTo>
                        <a:pt x="1890" y="3618"/>
                      </a:lnTo>
                      <a:lnTo>
                        <a:pt x="1896" y="3630"/>
                      </a:lnTo>
                      <a:lnTo>
                        <a:pt x="1902" y="3642"/>
                      </a:lnTo>
                      <a:lnTo>
                        <a:pt x="1908" y="3660"/>
                      </a:lnTo>
                      <a:lnTo>
                        <a:pt x="1908" y="3672"/>
                      </a:lnTo>
                      <a:lnTo>
                        <a:pt x="1914" y="3690"/>
                      </a:lnTo>
                      <a:lnTo>
                        <a:pt x="1914" y="3702"/>
                      </a:lnTo>
                      <a:lnTo>
                        <a:pt x="1908" y="3714"/>
                      </a:lnTo>
                      <a:lnTo>
                        <a:pt x="1902" y="3714"/>
                      </a:lnTo>
                      <a:lnTo>
                        <a:pt x="1890" y="3714"/>
                      </a:lnTo>
                      <a:lnTo>
                        <a:pt x="1878" y="3708"/>
                      </a:lnTo>
                      <a:lnTo>
                        <a:pt x="1860" y="3702"/>
                      </a:lnTo>
                      <a:lnTo>
                        <a:pt x="1848" y="3702"/>
                      </a:lnTo>
                      <a:lnTo>
                        <a:pt x="1836" y="3702"/>
                      </a:lnTo>
                      <a:lnTo>
                        <a:pt x="1830" y="3708"/>
                      </a:lnTo>
                      <a:lnTo>
                        <a:pt x="1830" y="3714"/>
                      </a:lnTo>
                      <a:lnTo>
                        <a:pt x="1830" y="3726"/>
                      </a:lnTo>
                      <a:lnTo>
                        <a:pt x="1842" y="3744"/>
                      </a:lnTo>
                      <a:lnTo>
                        <a:pt x="1848" y="3756"/>
                      </a:lnTo>
                      <a:lnTo>
                        <a:pt x="1854" y="3774"/>
                      </a:lnTo>
                      <a:lnTo>
                        <a:pt x="1848" y="3792"/>
                      </a:lnTo>
                      <a:lnTo>
                        <a:pt x="1842" y="3810"/>
                      </a:lnTo>
                      <a:lnTo>
                        <a:pt x="1830" y="3822"/>
                      </a:lnTo>
                      <a:lnTo>
                        <a:pt x="1818" y="3828"/>
                      </a:lnTo>
                      <a:lnTo>
                        <a:pt x="1800" y="3834"/>
                      </a:lnTo>
                      <a:lnTo>
                        <a:pt x="1782" y="3834"/>
                      </a:lnTo>
                      <a:lnTo>
                        <a:pt x="1776" y="3840"/>
                      </a:lnTo>
                      <a:lnTo>
                        <a:pt x="1770" y="3846"/>
                      </a:lnTo>
                      <a:lnTo>
                        <a:pt x="1770" y="3852"/>
                      </a:lnTo>
                      <a:lnTo>
                        <a:pt x="1764" y="3864"/>
                      </a:lnTo>
                      <a:lnTo>
                        <a:pt x="1764" y="3870"/>
                      </a:lnTo>
                      <a:lnTo>
                        <a:pt x="1764" y="3870"/>
                      </a:lnTo>
                      <a:lnTo>
                        <a:pt x="1758" y="3870"/>
                      </a:lnTo>
                      <a:lnTo>
                        <a:pt x="1746" y="3876"/>
                      </a:lnTo>
                      <a:lnTo>
                        <a:pt x="1740" y="3882"/>
                      </a:lnTo>
                      <a:lnTo>
                        <a:pt x="1740" y="3888"/>
                      </a:lnTo>
                      <a:lnTo>
                        <a:pt x="1740" y="3900"/>
                      </a:lnTo>
                      <a:lnTo>
                        <a:pt x="1746" y="3912"/>
                      </a:lnTo>
                      <a:lnTo>
                        <a:pt x="1752" y="3924"/>
                      </a:lnTo>
                      <a:lnTo>
                        <a:pt x="1758" y="3936"/>
                      </a:lnTo>
                      <a:lnTo>
                        <a:pt x="1758" y="3948"/>
                      </a:lnTo>
                      <a:lnTo>
                        <a:pt x="1752" y="3960"/>
                      </a:lnTo>
                      <a:lnTo>
                        <a:pt x="1746" y="3966"/>
                      </a:lnTo>
                      <a:lnTo>
                        <a:pt x="1740" y="3972"/>
                      </a:lnTo>
                      <a:lnTo>
                        <a:pt x="1722" y="3966"/>
                      </a:lnTo>
                      <a:lnTo>
                        <a:pt x="1704" y="3960"/>
                      </a:lnTo>
                      <a:lnTo>
                        <a:pt x="1692" y="3942"/>
                      </a:lnTo>
                      <a:lnTo>
                        <a:pt x="1674" y="3924"/>
                      </a:lnTo>
                      <a:lnTo>
                        <a:pt x="1662" y="3918"/>
                      </a:lnTo>
                      <a:lnTo>
                        <a:pt x="1656" y="3912"/>
                      </a:lnTo>
                      <a:lnTo>
                        <a:pt x="1650" y="3912"/>
                      </a:lnTo>
                      <a:lnTo>
                        <a:pt x="1644" y="3918"/>
                      </a:lnTo>
                      <a:lnTo>
                        <a:pt x="1638" y="3930"/>
                      </a:lnTo>
                      <a:lnTo>
                        <a:pt x="1638" y="3942"/>
                      </a:lnTo>
                      <a:lnTo>
                        <a:pt x="1638" y="3960"/>
                      </a:lnTo>
                      <a:lnTo>
                        <a:pt x="1644" y="3978"/>
                      </a:lnTo>
                      <a:lnTo>
                        <a:pt x="1656" y="3990"/>
                      </a:lnTo>
                      <a:lnTo>
                        <a:pt x="1668" y="4008"/>
                      </a:lnTo>
                      <a:lnTo>
                        <a:pt x="1692" y="4026"/>
                      </a:lnTo>
                      <a:lnTo>
                        <a:pt x="1698" y="4050"/>
                      </a:lnTo>
                      <a:lnTo>
                        <a:pt x="1686" y="4086"/>
                      </a:lnTo>
                      <a:lnTo>
                        <a:pt x="1662" y="4110"/>
                      </a:lnTo>
                      <a:lnTo>
                        <a:pt x="1638" y="4134"/>
                      </a:lnTo>
                      <a:lnTo>
                        <a:pt x="1608" y="4140"/>
                      </a:lnTo>
                      <a:lnTo>
                        <a:pt x="1596" y="4140"/>
                      </a:lnTo>
                      <a:lnTo>
                        <a:pt x="1590" y="4140"/>
                      </a:lnTo>
                      <a:lnTo>
                        <a:pt x="1584" y="4146"/>
                      </a:lnTo>
                      <a:lnTo>
                        <a:pt x="1584" y="4152"/>
                      </a:lnTo>
                      <a:lnTo>
                        <a:pt x="1590" y="4158"/>
                      </a:lnTo>
                      <a:lnTo>
                        <a:pt x="1596" y="4170"/>
                      </a:lnTo>
                      <a:lnTo>
                        <a:pt x="1602" y="4188"/>
                      </a:lnTo>
                      <a:lnTo>
                        <a:pt x="1602" y="4224"/>
                      </a:lnTo>
                      <a:lnTo>
                        <a:pt x="1584" y="4254"/>
                      </a:lnTo>
                      <a:lnTo>
                        <a:pt x="1560" y="4278"/>
                      </a:lnTo>
                      <a:lnTo>
                        <a:pt x="1530" y="4284"/>
                      </a:lnTo>
                      <a:lnTo>
                        <a:pt x="1518" y="4284"/>
                      </a:lnTo>
                      <a:lnTo>
                        <a:pt x="1512" y="4290"/>
                      </a:lnTo>
                      <a:lnTo>
                        <a:pt x="1506" y="4296"/>
                      </a:lnTo>
                      <a:lnTo>
                        <a:pt x="1506" y="4308"/>
                      </a:lnTo>
                      <a:lnTo>
                        <a:pt x="1506" y="4320"/>
                      </a:lnTo>
                      <a:lnTo>
                        <a:pt x="1506" y="4332"/>
                      </a:lnTo>
                      <a:lnTo>
                        <a:pt x="1512" y="4344"/>
                      </a:lnTo>
                      <a:lnTo>
                        <a:pt x="1518" y="4350"/>
                      </a:lnTo>
                      <a:lnTo>
                        <a:pt x="1530" y="4362"/>
                      </a:lnTo>
                      <a:lnTo>
                        <a:pt x="1530" y="4374"/>
                      </a:lnTo>
                      <a:lnTo>
                        <a:pt x="1530" y="4380"/>
                      </a:lnTo>
                      <a:lnTo>
                        <a:pt x="1518" y="4392"/>
                      </a:lnTo>
                      <a:lnTo>
                        <a:pt x="1506" y="4404"/>
                      </a:lnTo>
                      <a:lnTo>
                        <a:pt x="1488" y="4410"/>
                      </a:lnTo>
                      <a:lnTo>
                        <a:pt x="1476" y="4416"/>
                      </a:lnTo>
                      <a:lnTo>
                        <a:pt x="1464" y="4410"/>
                      </a:lnTo>
                      <a:lnTo>
                        <a:pt x="1452" y="4404"/>
                      </a:lnTo>
                      <a:lnTo>
                        <a:pt x="1452" y="4398"/>
                      </a:lnTo>
                      <a:lnTo>
                        <a:pt x="1452" y="4380"/>
                      </a:lnTo>
                      <a:lnTo>
                        <a:pt x="1452" y="4362"/>
                      </a:lnTo>
                      <a:lnTo>
                        <a:pt x="1446" y="4350"/>
                      </a:lnTo>
                      <a:lnTo>
                        <a:pt x="1440" y="4344"/>
                      </a:lnTo>
                      <a:lnTo>
                        <a:pt x="1428" y="4344"/>
                      </a:lnTo>
                      <a:lnTo>
                        <a:pt x="1416" y="4350"/>
                      </a:lnTo>
                      <a:lnTo>
                        <a:pt x="1404" y="4362"/>
                      </a:lnTo>
                      <a:lnTo>
                        <a:pt x="1398" y="4374"/>
                      </a:lnTo>
                      <a:lnTo>
                        <a:pt x="1386" y="4380"/>
                      </a:lnTo>
                      <a:lnTo>
                        <a:pt x="1380" y="4374"/>
                      </a:lnTo>
                      <a:lnTo>
                        <a:pt x="1374" y="4368"/>
                      </a:lnTo>
                      <a:lnTo>
                        <a:pt x="1368" y="4362"/>
                      </a:lnTo>
                      <a:lnTo>
                        <a:pt x="1368" y="4350"/>
                      </a:lnTo>
                      <a:lnTo>
                        <a:pt x="1362" y="4338"/>
                      </a:lnTo>
                      <a:lnTo>
                        <a:pt x="1362" y="4326"/>
                      </a:lnTo>
                      <a:lnTo>
                        <a:pt x="1362" y="4314"/>
                      </a:lnTo>
                      <a:lnTo>
                        <a:pt x="1350" y="4308"/>
                      </a:lnTo>
                      <a:lnTo>
                        <a:pt x="1344" y="4308"/>
                      </a:lnTo>
                      <a:lnTo>
                        <a:pt x="1338" y="4302"/>
                      </a:lnTo>
                      <a:lnTo>
                        <a:pt x="1332" y="4296"/>
                      </a:lnTo>
                      <a:lnTo>
                        <a:pt x="1326" y="4284"/>
                      </a:lnTo>
                      <a:lnTo>
                        <a:pt x="1326" y="4278"/>
                      </a:lnTo>
                      <a:lnTo>
                        <a:pt x="1320" y="4272"/>
                      </a:lnTo>
                      <a:lnTo>
                        <a:pt x="1314" y="4272"/>
                      </a:lnTo>
                      <a:lnTo>
                        <a:pt x="1302" y="4272"/>
                      </a:lnTo>
                      <a:lnTo>
                        <a:pt x="1296" y="4272"/>
                      </a:lnTo>
                      <a:lnTo>
                        <a:pt x="1284" y="4266"/>
                      </a:lnTo>
                      <a:lnTo>
                        <a:pt x="1278" y="4254"/>
                      </a:lnTo>
                      <a:lnTo>
                        <a:pt x="1284" y="4248"/>
                      </a:lnTo>
                      <a:lnTo>
                        <a:pt x="1290" y="4236"/>
                      </a:lnTo>
                      <a:lnTo>
                        <a:pt x="1302" y="4230"/>
                      </a:lnTo>
                      <a:lnTo>
                        <a:pt x="1314" y="4218"/>
                      </a:lnTo>
                      <a:lnTo>
                        <a:pt x="1332" y="4212"/>
                      </a:lnTo>
                      <a:lnTo>
                        <a:pt x="1338" y="4206"/>
                      </a:lnTo>
                      <a:lnTo>
                        <a:pt x="1344" y="4200"/>
                      </a:lnTo>
                      <a:lnTo>
                        <a:pt x="1344" y="4188"/>
                      </a:lnTo>
                      <a:lnTo>
                        <a:pt x="1338" y="4182"/>
                      </a:lnTo>
                      <a:lnTo>
                        <a:pt x="1326" y="4170"/>
                      </a:lnTo>
                      <a:lnTo>
                        <a:pt x="1314" y="4164"/>
                      </a:lnTo>
                      <a:lnTo>
                        <a:pt x="1308" y="4164"/>
                      </a:lnTo>
                      <a:lnTo>
                        <a:pt x="1296" y="4158"/>
                      </a:lnTo>
                      <a:lnTo>
                        <a:pt x="1290" y="4158"/>
                      </a:lnTo>
                      <a:lnTo>
                        <a:pt x="1284" y="4158"/>
                      </a:lnTo>
                      <a:lnTo>
                        <a:pt x="1278" y="4164"/>
                      </a:lnTo>
                      <a:lnTo>
                        <a:pt x="1272" y="4170"/>
                      </a:lnTo>
                      <a:lnTo>
                        <a:pt x="1260" y="4188"/>
                      </a:lnTo>
                      <a:lnTo>
                        <a:pt x="1236" y="4206"/>
                      </a:lnTo>
                      <a:lnTo>
                        <a:pt x="1200" y="4212"/>
                      </a:lnTo>
                      <a:lnTo>
                        <a:pt x="1164" y="4212"/>
                      </a:lnTo>
                      <a:lnTo>
                        <a:pt x="1134" y="4206"/>
                      </a:lnTo>
                      <a:lnTo>
                        <a:pt x="1116" y="4200"/>
                      </a:lnTo>
                      <a:lnTo>
                        <a:pt x="1110" y="4194"/>
                      </a:lnTo>
                      <a:lnTo>
                        <a:pt x="1104" y="4188"/>
                      </a:lnTo>
                      <a:lnTo>
                        <a:pt x="1104" y="4176"/>
                      </a:lnTo>
                      <a:lnTo>
                        <a:pt x="1098" y="4164"/>
                      </a:lnTo>
                      <a:lnTo>
                        <a:pt x="1092" y="4158"/>
                      </a:lnTo>
                      <a:lnTo>
                        <a:pt x="1086" y="4146"/>
                      </a:lnTo>
                      <a:lnTo>
                        <a:pt x="1080" y="4146"/>
                      </a:lnTo>
                      <a:lnTo>
                        <a:pt x="1068" y="4140"/>
                      </a:lnTo>
                      <a:lnTo>
                        <a:pt x="1056" y="4128"/>
                      </a:lnTo>
                      <a:lnTo>
                        <a:pt x="1044" y="4116"/>
                      </a:lnTo>
                      <a:lnTo>
                        <a:pt x="1038" y="4104"/>
                      </a:lnTo>
                      <a:lnTo>
                        <a:pt x="1038" y="4092"/>
                      </a:lnTo>
                      <a:lnTo>
                        <a:pt x="1038" y="4074"/>
                      </a:lnTo>
                      <a:lnTo>
                        <a:pt x="1050" y="4062"/>
                      </a:lnTo>
                      <a:lnTo>
                        <a:pt x="1056" y="4056"/>
                      </a:lnTo>
                      <a:lnTo>
                        <a:pt x="1056" y="4056"/>
                      </a:lnTo>
                      <a:lnTo>
                        <a:pt x="1056" y="4050"/>
                      </a:lnTo>
                      <a:lnTo>
                        <a:pt x="1044" y="4044"/>
                      </a:lnTo>
                      <a:lnTo>
                        <a:pt x="1032" y="4044"/>
                      </a:lnTo>
                      <a:lnTo>
                        <a:pt x="1026" y="4044"/>
                      </a:lnTo>
                      <a:lnTo>
                        <a:pt x="1014" y="4038"/>
                      </a:lnTo>
                      <a:lnTo>
                        <a:pt x="1008" y="4032"/>
                      </a:lnTo>
                      <a:lnTo>
                        <a:pt x="1008" y="4032"/>
                      </a:lnTo>
                      <a:lnTo>
                        <a:pt x="1008" y="4026"/>
                      </a:lnTo>
                      <a:lnTo>
                        <a:pt x="1014" y="4014"/>
                      </a:lnTo>
                      <a:lnTo>
                        <a:pt x="1020" y="4008"/>
                      </a:lnTo>
                      <a:lnTo>
                        <a:pt x="1014" y="4002"/>
                      </a:lnTo>
                      <a:lnTo>
                        <a:pt x="1002" y="3996"/>
                      </a:lnTo>
                      <a:lnTo>
                        <a:pt x="984" y="3984"/>
                      </a:lnTo>
                      <a:lnTo>
                        <a:pt x="966" y="3978"/>
                      </a:lnTo>
                      <a:lnTo>
                        <a:pt x="948" y="3960"/>
                      </a:lnTo>
                      <a:lnTo>
                        <a:pt x="936" y="3948"/>
                      </a:lnTo>
                      <a:lnTo>
                        <a:pt x="924" y="3936"/>
                      </a:lnTo>
                      <a:lnTo>
                        <a:pt x="918" y="3930"/>
                      </a:lnTo>
                      <a:lnTo>
                        <a:pt x="924" y="3918"/>
                      </a:lnTo>
                      <a:lnTo>
                        <a:pt x="924" y="3912"/>
                      </a:lnTo>
                      <a:lnTo>
                        <a:pt x="930" y="3900"/>
                      </a:lnTo>
                      <a:lnTo>
                        <a:pt x="942" y="3888"/>
                      </a:lnTo>
                      <a:lnTo>
                        <a:pt x="948" y="3876"/>
                      </a:lnTo>
                      <a:lnTo>
                        <a:pt x="960" y="3864"/>
                      </a:lnTo>
                      <a:lnTo>
                        <a:pt x="960" y="3846"/>
                      </a:lnTo>
                      <a:lnTo>
                        <a:pt x="960" y="3834"/>
                      </a:lnTo>
                      <a:lnTo>
                        <a:pt x="948" y="3828"/>
                      </a:lnTo>
                      <a:lnTo>
                        <a:pt x="924" y="3816"/>
                      </a:lnTo>
                      <a:lnTo>
                        <a:pt x="912" y="3810"/>
                      </a:lnTo>
                      <a:lnTo>
                        <a:pt x="906" y="3798"/>
                      </a:lnTo>
                      <a:lnTo>
                        <a:pt x="900" y="3786"/>
                      </a:lnTo>
                      <a:lnTo>
                        <a:pt x="900" y="3774"/>
                      </a:lnTo>
                      <a:lnTo>
                        <a:pt x="900" y="3756"/>
                      </a:lnTo>
                      <a:lnTo>
                        <a:pt x="900" y="3738"/>
                      </a:lnTo>
                      <a:lnTo>
                        <a:pt x="894" y="3726"/>
                      </a:lnTo>
                      <a:lnTo>
                        <a:pt x="888" y="3708"/>
                      </a:lnTo>
                      <a:lnTo>
                        <a:pt x="882" y="3690"/>
                      </a:lnTo>
                      <a:lnTo>
                        <a:pt x="882" y="3678"/>
                      </a:lnTo>
                      <a:lnTo>
                        <a:pt x="888" y="3672"/>
                      </a:lnTo>
                      <a:lnTo>
                        <a:pt x="900" y="3666"/>
                      </a:lnTo>
                      <a:lnTo>
                        <a:pt x="918" y="3660"/>
                      </a:lnTo>
                      <a:lnTo>
                        <a:pt x="930" y="3642"/>
                      </a:lnTo>
                      <a:lnTo>
                        <a:pt x="948" y="3630"/>
                      </a:lnTo>
                      <a:lnTo>
                        <a:pt x="966" y="3612"/>
                      </a:lnTo>
                      <a:lnTo>
                        <a:pt x="978" y="3600"/>
                      </a:lnTo>
                      <a:lnTo>
                        <a:pt x="990" y="3594"/>
                      </a:lnTo>
                      <a:lnTo>
                        <a:pt x="996" y="3582"/>
                      </a:lnTo>
                      <a:lnTo>
                        <a:pt x="996" y="3576"/>
                      </a:lnTo>
                      <a:lnTo>
                        <a:pt x="984" y="3570"/>
                      </a:lnTo>
                      <a:lnTo>
                        <a:pt x="972" y="3564"/>
                      </a:lnTo>
                      <a:lnTo>
                        <a:pt x="972" y="3558"/>
                      </a:lnTo>
                      <a:lnTo>
                        <a:pt x="978" y="3552"/>
                      </a:lnTo>
                      <a:lnTo>
                        <a:pt x="990" y="3540"/>
                      </a:lnTo>
                      <a:lnTo>
                        <a:pt x="1002" y="3534"/>
                      </a:lnTo>
                      <a:lnTo>
                        <a:pt x="1008" y="3528"/>
                      </a:lnTo>
                      <a:lnTo>
                        <a:pt x="1014" y="3516"/>
                      </a:lnTo>
                      <a:lnTo>
                        <a:pt x="1008" y="3510"/>
                      </a:lnTo>
                      <a:lnTo>
                        <a:pt x="1002" y="3498"/>
                      </a:lnTo>
                      <a:lnTo>
                        <a:pt x="996" y="3492"/>
                      </a:lnTo>
                      <a:lnTo>
                        <a:pt x="984" y="3492"/>
                      </a:lnTo>
                      <a:lnTo>
                        <a:pt x="966" y="3498"/>
                      </a:lnTo>
                      <a:lnTo>
                        <a:pt x="948" y="3510"/>
                      </a:lnTo>
                      <a:lnTo>
                        <a:pt x="936" y="3516"/>
                      </a:lnTo>
                      <a:lnTo>
                        <a:pt x="924" y="3516"/>
                      </a:lnTo>
                      <a:lnTo>
                        <a:pt x="912" y="3510"/>
                      </a:lnTo>
                      <a:lnTo>
                        <a:pt x="906" y="3504"/>
                      </a:lnTo>
                      <a:lnTo>
                        <a:pt x="900" y="3492"/>
                      </a:lnTo>
                      <a:lnTo>
                        <a:pt x="894" y="3474"/>
                      </a:lnTo>
                      <a:lnTo>
                        <a:pt x="900" y="3450"/>
                      </a:lnTo>
                      <a:lnTo>
                        <a:pt x="906" y="3432"/>
                      </a:lnTo>
                      <a:lnTo>
                        <a:pt x="918" y="3414"/>
                      </a:lnTo>
                      <a:lnTo>
                        <a:pt x="924" y="3402"/>
                      </a:lnTo>
                      <a:lnTo>
                        <a:pt x="930" y="3390"/>
                      </a:lnTo>
                      <a:lnTo>
                        <a:pt x="930" y="3378"/>
                      </a:lnTo>
                      <a:lnTo>
                        <a:pt x="930" y="3372"/>
                      </a:lnTo>
                      <a:lnTo>
                        <a:pt x="918" y="3366"/>
                      </a:lnTo>
                      <a:lnTo>
                        <a:pt x="906" y="3360"/>
                      </a:lnTo>
                      <a:lnTo>
                        <a:pt x="906" y="3348"/>
                      </a:lnTo>
                      <a:lnTo>
                        <a:pt x="912" y="3336"/>
                      </a:lnTo>
                      <a:lnTo>
                        <a:pt x="918" y="3318"/>
                      </a:lnTo>
                      <a:lnTo>
                        <a:pt x="936" y="3300"/>
                      </a:lnTo>
                      <a:lnTo>
                        <a:pt x="948" y="3288"/>
                      </a:lnTo>
                      <a:lnTo>
                        <a:pt x="954" y="3276"/>
                      </a:lnTo>
                      <a:lnTo>
                        <a:pt x="948" y="3270"/>
                      </a:lnTo>
                      <a:lnTo>
                        <a:pt x="942" y="3264"/>
                      </a:lnTo>
                      <a:lnTo>
                        <a:pt x="936" y="3264"/>
                      </a:lnTo>
                      <a:lnTo>
                        <a:pt x="918" y="3270"/>
                      </a:lnTo>
                      <a:lnTo>
                        <a:pt x="888" y="3288"/>
                      </a:lnTo>
                      <a:lnTo>
                        <a:pt x="864" y="3306"/>
                      </a:lnTo>
                      <a:lnTo>
                        <a:pt x="840" y="3312"/>
                      </a:lnTo>
                      <a:lnTo>
                        <a:pt x="822" y="3300"/>
                      </a:lnTo>
                      <a:lnTo>
                        <a:pt x="810" y="3288"/>
                      </a:lnTo>
                      <a:lnTo>
                        <a:pt x="810" y="3276"/>
                      </a:lnTo>
                      <a:lnTo>
                        <a:pt x="816" y="3264"/>
                      </a:lnTo>
                      <a:lnTo>
                        <a:pt x="822" y="3252"/>
                      </a:lnTo>
                      <a:lnTo>
                        <a:pt x="834" y="3240"/>
                      </a:lnTo>
                      <a:lnTo>
                        <a:pt x="846" y="3228"/>
                      </a:lnTo>
                      <a:lnTo>
                        <a:pt x="888" y="3210"/>
                      </a:lnTo>
                      <a:lnTo>
                        <a:pt x="936" y="3198"/>
                      </a:lnTo>
                      <a:lnTo>
                        <a:pt x="978" y="3192"/>
                      </a:lnTo>
                      <a:lnTo>
                        <a:pt x="996" y="3192"/>
                      </a:lnTo>
                      <a:lnTo>
                        <a:pt x="1002" y="3180"/>
                      </a:lnTo>
                      <a:lnTo>
                        <a:pt x="1008" y="3174"/>
                      </a:lnTo>
                      <a:lnTo>
                        <a:pt x="1008" y="3162"/>
                      </a:lnTo>
                      <a:lnTo>
                        <a:pt x="1002" y="3156"/>
                      </a:lnTo>
                      <a:lnTo>
                        <a:pt x="990" y="3144"/>
                      </a:lnTo>
                      <a:lnTo>
                        <a:pt x="972" y="3144"/>
                      </a:lnTo>
                      <a:lnTo>
                        <a:pt x="954" y="3138"/>
                      </a:lnTo>
                      <a:lnTo>
                        <a:pt x="942" y="3144"/>
                      </a:lnTo>
                      <a:lnTo>
                        <a:pt x="930" y="3150"/>
                      </a:lnTo>
                      <a:lnTo>
                        <a:pt x="918" y="3150"/>
                      </a:lnTo>
                      <a:lnTo>
                        <a:pt x="906" y="3150"/>
                      </a:lnTo>
                      <a:lnTo>
                        <a:pt x="894" y="3156"/>
                      </a:lnTo>
                      <a:lnTo>
                        <a:pt x="876" y="3150"/>
                      </a:lnTo>
                      <a:lnTo>
                        <a:pt x="864" y="3150"/>
                      </a:lnTo>
                      <a:lnTo>
                        <a:pt x="846" y="3144"/>
                      </a:lnTo>
                      <a:lnTo>
                        <a:pt x="834" y="3138"/>
                      </a:lnTo>
                      <a:lnTo>
                        <a:pt x="828" y="3132"/>
                      </a:lnTo>
                      <a:lnTo>
                        <a:pt x="828" y="3120"/>
                      </a:lnTo>
                      <a:lnTo>
                        <a:pt x="840" y="3096"/>
                      </a:lnTo>
                      <a:lnTo>
                        <a:pt x="858" y="3090"/>
                      </a:lnTo>
                      <a:lnTo>
                        <a:pt x="894" y="3090"/>
                      </a:lnTo>
                      <a:lnTo>
                        <a:pt x="936" y="3090"/>
                      </a:lnTo>
                      <a:lnTo>
                        <a:pt x="966" y="3090"/>
                      </a:lnTo>
                      <a:lnTo>
                        <a:pt x="984" y="3084"/>
                      </a:lnTo>
                      <a:lnTo>
                        <a:pt x="1002" y="3078"/>
                      </a:lnTo>
                      <a:lnTo>
                        <a:pt x="1008" y="3072"/>
                      </a:lnTo>
                      <a:lnTo>
                        <a:pt x="1008" y="3060"/>
                      </a:lnTo>
                      <a:lnTo>
                        <a:pt x="1002" y="3042"/>
                      </a:lnTo>
                      <a:lnTo>
                        <a:pt x="984" y="3030"/>
                      </a:lnTo>
                      <a:lnTo>
                        <a:pt x="948" y="3030"/>
                      </a:lnTo>
                      <a:lnTo>
                        <a:pt x="918" y="3030"/>
                      </a:lnTo>
                      <a:lnTo>
                        <a:pt x="900" y="3018"/>
                      </a:lnTo>
                      <a:lnTo>
                        <a:pt x="894" y="3000"/>
                      </a:lnTo>
                      <a:lnTo>
                        <a:pt x="912" y="2994"/>
                      </a:lnTo>
                      <a:lnTo>
                        <a:pt x="942" y="2988"/>
                      </a:lnTo>
                      <a:lnTo>
                        <a:pt x="978" y="2976"/>
                      </a:lnTo>
                      <a:lnTo>
                        <a:pt x="1014" y="2958"/>
                      </a:lnTo>
                      <a:lnTo>
                        <a:pt x="1026" y="2952"/>
                      </a:lnTo>
                      <a:lnTo>
                        <a:pt x="1032" y="2946"/>
                      </a:lnTo>
                      <a:lnTo>
                        <a:pt x="1026" y="2946"/>
                      </a:lnTo>
                      <a:lnTo>
                        <a:pt x="1020" y="2940"/>
                      </a:lnTo>
                      <a:lnTo>
                        <a:pt x="1008" y="2940"/>
                      </a:lnTo>
                      <a:lnTo>
                        <a:pt x="996" y="2940"/>
                      </a:lnTo>
                      <a:lnTo>
                        <a:pt x="984" y="2940"/>
                      </a:lnTo>
                      <a:lnTo>
                        <a:pt x="966" y="2940"/>
                      </a:lnTo>
                      <a:lnTo>
                        <a:pt x="954" y="2934"/>
                      </a:lnTo>
                      <a:lnTo>
                        <a:pt x="942" y="2934"/>
                      </a:lnTo>
                      <a:lnTo>
                        <a:pt x="936" y="2928"/>
                      </a:lnTo>
                      <a:lnTo>
                        <a:pt x="930" y="2916"/>
                      </a:lnTo>
                      <a:lnTo>
                        <a:pt x="930" y="2910"/>
                      </a:lnTo>
                      <a:lnTo>
                        <a:pt x="936" y="2904"/>
                      </a:lnTo>
                      <a:lnTo>
                        <a:pt x="954" y="2898"/>
                      </a:lnTo>
                      <a:lnTo>
                        <a:pt x="972" y="2892"/>
                      </a:lnTo>
                      <a:lnTo>
                        <a:pt x="990" y="2892"/>
                      </a:lnTo>
                      <a:lnTo>
                        <a:pt x="1008" y="2892"/>
                      </a:lnTo>
                      <a:lnTo>
                        <a:pt x="1020" y="2892"/>
                      </a:lnTo>
                      <a:lnTo>
                        <a:pt x="1038" y="2892"/>
                      </a:lnTo>
                      <a:lnTo>
                        <a:pt x="1044" y="2892"/>
                      </a:lnTo>
                      <a:lnTo>
                        <a:pt x="1050" y="2886"/>
                      </a:lnTo>
                      <a:lnTo>
                        <a:pt x="1056" y="2880"/>
                      </a:lnTo>
                      <a:lnTo>
                        <a:pt x="1056" y="2862"/>
                      </a:lnTo>
                      <a:lnTo>
                        <a:pt x="1062" y="2850"/>
                      </a:lnTo>
                      <a:lnTo>
                        <a:pt x="1068" y="2838"/>
                      </a:lnTo>
                      <a:lnTo>
                        <a:pt x="1086" y="2826"/>
                      </a:lnTo>
                      <a:lnTo>
                        <a:pt x="1110" y="2814"/>
                      </a:lnTo>
                      <a:lnTo>
                        <a:pt x="1128" y="2802"/>
                      </a:lnTo>
                      <a:lnTo>
                        <a:pt x="1140" y="2796"/>
                      </a:lnTo>
                      <a:lnTo>
                        <a:pt x="1146" y="2784"/>
                      </a:lnTo>
                      <a:lnTo>
                        <a:pt x="1152" y="2772"/>
                      </a:lnTo>
                      <a:lnTo>
                        <a:pt x="1146" y="2766"/>
                      </a:lnTo>
                      <a:lnTo>
                        <a:pt x="1140" y="2760"/>
                      </a:lnTo>
                      <a:lnTo>
                        <a:pt x="1128" y="2760"/>
                      </a:lnTo>
                      <a:lnTo>
                        <a:pt x="1116" y="2754"/>
                      </a:lnTo>
                      <a:lnTo>
                        <a:pt x="1104" y="2748"/>
                      </a:lnTo>
                      <a:lnTo>
                        <a:pt x="1104" y="2736"/>
                      </a:lnTo>
                      <a:lnTo>
                        <a:pt x="1104" y="2718"/>
                      </a:lnTo>
                      <a:lnTo>
                        <a:pt x="1110" y="2706"/>
                      </a:lnTo>
                      <a:lnTo>
                        <a:pt x="1116" y="2688"/>
                      </a:lnTo>
                      <a:lnTo>
                        <a:pt x="1128" y="2670"/>
                      </a:lnTo>
                      <a:lnTo>
                        <a:pt x="1146" y="2646"/>
                      </a:lnTo>
                      <a:lnTo>
                        <a:pt x="1176" y="2628"/>
                      </a:lnTo>
                      <a:lnTo>
                        <a:pt x="1206" y="2622"/>
                      </a:lnTo>
                      <a:lnTo>
                        <a:pt x="1224" y="2616"/>
                      </a:lnTo>
                      <a:lnTo>
                        <a:pt x="1236" y="2610"/>
                      </a:lnTo>
                      <a:lnTo>
                        <a:pt x="1242" y="2604"/>
                      </a:lnTo>
                      <a:lnTo>
                        <a:pt x="1248" y="2592"/>
                      </a:lnTo>
                      <a:lnTo>
                        <a:pt x="1248" y="2586"/>
                      </a:lnTo>
                      <a:lnTo>
                        <a:pt x="1242" y="2574"/>
                      </a:lnTo>
                      <a:lnTo>
                        <a:pt x="1236" y="2574"/>
                      </a:lnTo>
                      <a:lnTo>
                        <a:pt x="1224" y="2568"/>
                      </a:lnTo>
                      <a:lnTo>
                        <a:pt x="1218" y="2568"/>
                      </a:lnTo>
                      <a:lnTo>
                        <a:pt x="1218" y="2556"/>
                      </a:lnTo>
                      <a:lnTo>
                        <a:pt x="1218" y="2550"/>
                      </a:lnTo>
                      <a:lnTo>
                        <a:pt x="1218" y="2538"/>
                      </a:lnTo>
                      <a:lnTo>
                        <a:pt x="1212" y="2532"/>
                      </a:lnTo>
                      <a:lnTo>
                        <a:pt x="1206" y="2526"/>
                      </a:lnTo>
                      <a:lnTo>
                        <a:pt x="1200" y="2526"/>
                      </a:lnTo>
                      <a:lnTo>
                        <a:pt x="1188" y="2526"/>
                      </a:lnTo>
                      <a:lnTo>
                        <a:pt x="1170" y="2526"/>
                      </a:lnTo>
                      <a:lnTo>
                        <a:pt x="1158" y="2532"/>
                      </a:lnTo>
                      <a:lnTo>
                        <a:pt x="1140" y="2538"/>
                      </a:lnTo>
                      <a:lnTo>
                        <a:pt x="1128" y="2544"/>
                      </a:lnTo>
                      <a:lnTo>
                        <a:pt x="1122" y="2550"/>
                      </a:lnTo>
                      <a:lnTo>
                        <a:pt x="1110" y="2562"/>
                      </a:lnTo>
                      <a:lnTo>
                        <a:pt x="1092" y="2562"/>
                      </a:lnTo>
                      <a:lnTo>
                        <a:pt x="1074" y="2556"/>
                      </a:lnTo>
                      <a:lnTo>
                        <a:pt x="1062" y="2550"/>
                      </a:lnTo>
                      <a:lnTo>
                        <a:pt x="1050" y="2532"/>
                      </a:lnTo>
                      <a:lnTo>
                        <a:pt x="1038" y="2514"/>
                      </a:lnTo>
                      <a:lnTo>
                        <a:pt x="1014" y="2496"/>
                      </a:lnTo>
                      <a:lnTo>
                        <a:pt x="996" y="2478"/>
                      </a:lnTo>
                      <a:lnTo>
                        <a:pt x="972" y="2466"/>
                      </a:lnTo>
                      <a:lnTo>
                        <a:pt x="960" y="2454"/>
                      </a:lnTo>
                      <a:lnTo>
                        <a:pt x="948" y="2442"/>
                      </a:lnTo>
                      <a:lnTo>
                        <a:pt x="942" y="2436"/>
                      </a:lnTo>
                      <a:lnTo>
                        <a:pt x="936" y="2424"/>
                      </a:lnTo>
                      <a:lnTo>
                        <a:pt x="942" y="2418"/>
                      </a:lnTo>
                      <a:lnTo>
                        <a:pt x="948" y="2412"/>
                      </a:lnTo>
                      <a:lnTo>
                        <a:pt x="960" y="2406"/>
                      </a:lnTo>
                      <a:lnTo>
                        <a:pt x="1008" y="2406"/>
                      </a:lnTo>
                      <a:lnTo>
                        <a:pt x="1056" y="2424"/>
                      </a:lnTo>
                      <a:lnTo>
                        <a:pt x="1098" y="2448"/>
                      </a:lnTo>
                      <a:lnTo>
                        <a:pt x="1116" y="2454"/>
                      </a:lnTo>
                      <a:lnTo>
                        <a:pt x="1134" y="2460"/>
                      </a:lnTo>
                      <a:lnTo>
                        <a:pt x="1152" y="2466"/>
                      </a:lnTo>
                      <a:lnTo>
                        <a:pt x="1164" y="2460"/>
                      </a:lnTo>
                      <a:lnTo>
                        <a:pt x="1170" y="2454"/>
                      </a:lnTo>
                      <a:lnTo>
                        <a:pt x="1176" y="2448"/>
                      </a:lnTo>
                      <a:lnTo>
                        <a:pt x="1176" y="2430"/>
                      </a:lnTo>
                      <a:lnTo>
                        <a:pt x="1182" y="2418"/>
                      </a:lnTo>
                      <a:lnTo>
                        <a:pt x="1182" y="2400"/>
                      </a:lnTo>
                      <a:lnTo>
                        <a:pt x="1182" y="2382"/>
                      </a:lnTo>
                      <a:lnTo>
                        <a:pt x="1182" y="2370"/>
                      </a:lnTo>
                      <a:lnTo>
                        <a:pt x="1176" y="2358"/>
                      </a:lnTo>
                      <a:lnTo>
                        <a:pt x="1164" y="2352"/>
                      </a:lnTo>
                      <a:lnTo>
                        <a:pt x="1164" y="2340"/>
                      </a:lnTo>
                      <a:lnTo>
                        <a:pt x="1158" y="2328"/>
                      </a:lnTo>
                      <a:lnTo>
                        <a:pt x="1158" y="2316"/>
                      </a:lnTo>
                      <a:lnTo>
                        <a:pt x="1152" y="2304"/>
                      </a:lnTo>
                      <a:lnTo>
                        <a:pt x="1146" y="2304"/>
                      </a:lnTo>
                      <a:lnTo>
                        <a:pt x="1134" y="2298"/>
                      </a:lnTo>
                      <a:lnTo>
                        <a:pt x="1128" y="2292"/>
                      </a:lnTo>
                      <a:lnTo>
                        <a:pt x="1134" y="2280"/>
                      </a:lnTo>
                      <a:lnTo>
                        <a:pt x="1140" y="2268"/>
                      </a:lnTo>
                      <a:lnTo>
                        <a:pt x="1146" y="2262"/>
                      </a:lnTo>
                      <a:lnTo>
                        <a:pt x="1164" y="2250"/>
                      </a:lnTo>
                      <a:lnTo>
                        <a:pt x="1170" y="2244"/>
                      </a:lnTo>
                      <a:lnTo>
                        <a:pt x="1176" y="2238"/>
                      </a:lnTo>
                      <a:lnTo>
                        <a:pt x="1170" y="2232"/>
                      </a:lnTo>
                      <a:lnTo>
                        <a:pt x="1158" y="2232"/>
                      </a:lnTo>
                      <a:lnTo>
                        <a:pt x="1146" y="2232"/>
                      </a:lnTo>
                      <a:lnTo>
                        <a:pt x="1134" y="2232"/>
                      </a:lnTo>
                      <a:lnTo>
                        <a:pt x="1116" y="2232"/>
                      </a:lnTo>
                      <a:lnTo>
                        <a:pt x="1104" y="2232"/>
                      </a:lnTo>
                      <a:lnTo>
                        <a:pt x="1092" y="2232"/>
                      </a:lnTo>
                      <a:lnTo>
                        <a:pt x="1080" y="2232"/>
                      </a:lnTo>
                      <a:lnTo>
                        <a:pt x="1074" y="2220"/>
                      </a:lnTo>
                      <a:lnTo>
                        <a:pt x="1074" y="2214"/>
                      </a:lnTo>
                      <a:lnTo>
                        <a:pt x="1074" y="2202"/>
                      </a:lnTo>
                      <a:lnTo>
                        <a:pt x="1074" y="2184"/>
                      </a:lnTo>
                      <a:lnTo>
                        <a:pt x="1080" y="2172"/>
                      </a:lnTo>
                      <a:lnTo>
                        <a:pt x="1086" y="2154"/>
                      </a:lnTo>
                      <a:lnTo>
                        <a:pt x="1086" y="2142"/>
                      </a:lnTo>
                      <a:lnTo>
                        <a:pt x="1086" y="2130"/>
                      </a:lnTo>
                      <a:lnTo>
                        <a:pt x="1086" y="2118"/>
                      </a:lnTo>
                      <a:lnTo>
                        <a:pt x="1080" y="2118"/>
                      </a:lnTo>
                      <a:lnTo>
                        <a:pt x="1068" y="2118"/>
                      </a:lnTo>
                      <a:lnTo>
                        <a:pt x="1056" y="2118"/>
                      </a:lnTo>
                      <a:lnTo>
                        <a:pt x="1038" y="2136"/>
                      </a:lnTo>
                      <a:lnTo>
                        <a:pt x="1026" y="2148"/>
                      </a:lnTo>
                      <a:lnTo>
                        <a:pt x="1020" y="2166"/>
                      </a:lnTo>
                      <a:lnTo>
                        <a:pt x="1020" y="2184"/>
                      </a:lnTo>
                      <a:lnTo>
                        <a:pt x="1020" y="2202"/>
                      </a:lnTo>
                      <a:lnTo>
                        <a:pt x="1026" y="2220"/>
                      </a:lnTo>
                      <a:lnTo>
                        <a:pt x="1032" y="2238"/>
                      </a:lnTo>
                      <a:lnTo>
                        <a:pt x="1032" y="2256"/>
                      </a:lnTo>
                      <a:lnTo>
                        <a:pt x="1026" y="2274"/>
                      </a:lnTo>
                      <a:lnTo>
                        <a:pt x="1008" y="2292"/>
                      </a:lnTo>
                      <a:lnTo>
                        <a:pt x="978" y="2292"/>
                      </a:lnTo>
                      <a:lnTo>
                        <a:pt x="948" y="2286"/>
                      </a:lnTo>
                      <a:lnTo>
                        <a:pt x="924" y="2274"/>
                      </a:lnTo>
                      <a:lnTo>
                        <a:pt x="912" y="2268"/>
                      </a:lnTo>
                      <a:lnTo>
                        <a:pt x="912" y="2268"/>
                      </a:lnTo>
                      <a:lnTo>
                        <a:pt x="912" y="2262"/>
                      </a:lnTo>
                      <a:lnTo>
                        <a:pt x="924" y="2250"/>
                      </a:lnTo>
                      <a:lnTo>
                        <a:pt x="930" y="2244"/>
                      </a:lnTo>
                      <a:lnTo>
                        <a:pt x="942" y="2238"/>
                      </a:lnTo>
                      <a:lnTo>
                        <a:pt x="942" y="2232"/>
                      </a:lnTo>
                      <a:lnTo>
                        <a:pt x="942" y="2226"/>
                      </a:lnTo>
                      <a:lnTo>
                        <a:pt x="936" y="2220"/>
                      </a:lnTo>
                      <a:lnTo>
                        <a:pt x="930" y="2214"/>
                      </a:lnTo>
                      <a:lnTo>
                        <a:pt x="924" y="2202"/>
                      </a:lnTo>
                      <a:lnTo>
                        <a:pt x="924" y="2196"/>
                      </a:lnTo>
                      <a:lnTo>
                        <a:pt x="930" y="2190"/>
                      </a:lnTo>
                      <a:lnTo>
                        <a:pt x="936" y="2184"/>
                      </a:lnTo>
                      <a:lnTo>
                        <a:pt x="942" y="2184"/>
                      </a:lnTo>
                      <a:lnTo>
                        <a:pt x="954" y="2178"/>
                      </a:lnTo>
                      <a:lnTo>
                        <a:pt x="960" y="2172"/>
                      </a:lnTo>
                      <a:lnTo>
                        <a:pt x="966" y="2166"/>
                      </a:lnTo>
                      <a:lnTo>
                        <a:pt x="960" y="2154"/>
                      </a:lnTo>
                      <a:lnTo>
                        <a:pt x="954" y="2148"/>
                      </a:lnTo>
                      <a:lnTo>
                        <a:pt x="948" y="2136"/>
                      </a:lnTo>
                      <a:lnTo>
                        <a:pt x="942" y="2124"/>
                      </a:lnTo>
                      <a:lnTo>
                        <a:pt x="942" y="2112"/>
                      </a:lnTo>
                      <a:lnTo>
                        <a:pt x="948" y="2100"/>
                      </a:lnTo>
                      <a:lnTo>
                        <a:pt x="960" y="2088"/>
                      </a:lnTo>
                      <a:lnTo>
                        <a:pt x="972" y="2082"/>
                      </a:lnTo>
                      <a:lnTo>
                        <a:pt x="984" y="2070"/>
                      </a:lnTo>
                      <a:lnTo>
                        <a:pt x="1002" y="2064"/>
                      </a:lnTo>
                      <a:lnTo>
                        <a:pt x="1014" y="2040"/>
                      </a:lnTo>
                      <a:lnTo>
                        <a:pt x="1020" y="2010"/>
                      </a:lnTo>
                      <a:lnTo>
                        <a:pt x="1020" y="1974"/>
                      </a:lnTo>
                      <a:lnTo>
                        <a:pt x="1014" y="1932"/>
                      </a:lnTo>
                      <a:lnTo>
                        <a:pt x="1008" y="1920"/>
                      </a:lnTo>
                      <a:lnTo>
                        <a:pt x="1002" y="1908"/>
                      </a:lnTo>
                      <a:lnTo>
                        <a:pt x="996" y="1902"/>
                      </a:lnTo>
                      <a:lnTo>
                        <a:pt x="990" y="1896"/>
                      </a:lnTo>
                      <a:lnTo>
                        <a:pt x="978" y="1896"/>
                      </a:lnTo>
                      <a:lnTo>
                        <a:pt x="966" y="1890"/>
                      </a:lnTo>
                      <a:lnTo>
                        <a:pt x="960" y="1878"/>
                      </a:lnTo>
                      <a:lnTo>
                        <a:pt x="954" y="1872"/>
                      </a:lnTo>
                      <a:lnTo>
                        <a:pt x="960" y="1860"/>
                      </a:lnTo>
                      <a:lnTo>
                        <a:pt x="960" y="1848"/>
                      </a:lnTo>
                      <a:lnTo>
                        <a:pt x="966" y="1836"/>
                      </a:lnTo>
                      <a:lnTo>
                        <a:pt x="972" y="1824"/>
                      </a:lnTo>
                      <a:lnTo>
                        <a:pt x="978" y="1812"/>
                      </a:lnTo>
                      <a:lnTo>
                        <a:pt x="978" y="1806"/>
                      </a:lnTo>
                      <a:lnTo>
                        <a:pt x="978" y="1794"/>
                      </a:lnTo>
                      <a:lnTo>
                        <a:pt x="966" y="1788"/>
                      </a:lnTo>
                      <a:lnTo>
                        <a:pt x="954" y="1782"/>
                      </a:lnTo>
                      <a:lnTo>
                        <a:pt x="942" y="1776"/>
                      </a:lnTo>
                      <a:lnTo>
                        <a:pt x="942" y="1764"/>
                      </a:lnTo>
                      <a:lnTo>
                        <a:pt x="942" y="1758"/>
                      </a:lnTo>
                      <a:lnTo>
                        <a:pt x="954" y="1746"/>
                      </a:lnTo>
                      <a:lnTo>
                        <a:pt x="960" y="1734"/>
                      </a:lnTo>
                      <a:lnTo>
                        <a:pt x="960" y="1716"/>
                      </a:lnTo>
                      <a:lnTo>
                        <a:pt x="960" y="1692"/>
                      </a:lnTo>
                      <a:lnTo>
                        <a:pt x="954" y="1674"/>
                      </a:lnTo>
                      <a:lnTo>
                        <a:pt x="942" y="1662"/>
                      </a:lnTo>
                      <a:lnTo>
                        <a:pt x="930" y="1656"/>
                      </a:lnTo>
                      <a:lnTo>
                        <a:pt x="918" y="1650"/>
                      </a:lnTo>
                      <a:lnTo>
                        <a:pt x="906" y="1644"/>
                      </a:lnTo>
                      <a:lnTo>
                        <a:pt x="888" y="1638"/>
                      </a:lnTo>
                      <a:lnTo>
                        <a:pt x="864" y="1632"/>
                      </a:lnTo>
                      <a:lnTo>
                        <a:pt x="852" y="1620"/>
                      </a:lnTo>
                      <a:lnTo>
                        <a:pt x="840" y="1608"/>
                      </a:lnTo>
                      <a:lnTo>
                        <a:pt x="840" y="1596"/>
                      </a:lnTo>
                      <a:lnTo>
                        <a:pt x="840" y="1578"/>
                      </a:lnTo>
                      <a:lnTo>
                        <a:pt x="840" y="1560"/>
                      </a:lnTo>
                      <a:lnTo>
                        <a:pt x="840" y="1536"/>
                      </a:lnTo>
                      <a:lnTo>
                        <a:pt x="840" y="1494"/>
                      </a:lnTo>
                      <a:lnTo>
                        <a:pt x="840" y="1452"/>
                      </a:lnTo>
                      <a:lnTo>
                        <a:pt x="840" y="1404"/>
                      </a:lnTo>
                      <a:lnTo>
                        <a:pt x="828" y="1368"/>
                      </a:lnTo>
                      <a:lnTo>
                        <a:pt x="804" y="1338"/>
                      </a:lnTo>
                      <a:lnTo>
                        <a:pt x="768" y="1320"/>
                      </a:lnTo>
                      <a:lnTo>
                        <a:pt x="738" y="1290"/>
                      </a:lnTo>
                      <a:lnTo>
                        <a:pt x="708" y="1266"/>
                      </a:lnTo>
                      <a:lnTo>
                        <a:pt x="690" y="1260"/>
                      </a:lnTo>
                      <a:lnTo>
                        <a:pt x="672" y="1254"/>
                      </a:lnTo>
                      <a:lnTo>
                        <a:pt x="636" y="1242"/>
                      </a:lnTo>
                      <a:lnTo>
                        <a:pt x="612" y="1236"/>
                      </a:lnTo>
                      <a:lnTo>
                        <a:pt x="600" y="1230"/>
                      </a:lnTo>
                      <a:lnTo>
                        <a:pt x="588" y="1218"/>
                      </a:lnTo>
                      <a:lnTo>
                        <a:pt x="582" y="1206"/>
                      </a:lnTo>
                      <a:lnTo>
                        <a:pt x="582" y="1194"/>
                      </a:lnTo>
                      <a:lnTo>
                        <a:pt x="582" y="1176"/>
                      </a:lnTo>
                      <a:lnTo>
                        <a:pt x="582" y="1164"/>
                      </a:lnTo>
                      <a:lnTo>
                        <a:pt x="576" y="1152"/>
                      </a:lnTo>
                      <a:lnTo>
                        <a:pt x="576" y="1152"/>
                      </a:lnTo>
                      <a:lnTo>
                        <a:pt x="570" y="1152"/>
                      </a:lnTo>
                      <a:lnTo>
                        <a:pt x="558" y="1158"/>
                      </a:lnTo>
                      <a:lnTo>
                        <a:pt x="552" y="1170"/>
                      </a:lnTo>
                      <a:lnTo>
                        <a:pt x="540" y="1188"/>
                      </a:lnTo>
                      <a:lnTo>
                        <a:pt x="522" y="1206"/>
                      </a:lnTo>
                      <a:lnTo>
                        <a:pt x="510" y="1212"/>
                      </a:lnTo>
                      <a:lnTo>
                        <a:pt x="504" y="1212"/>
                      </a:lnTo>
                      <a:lnTo>
                        <a:pt x="492" y="1206"/>
                      </a:lnTo>
                      <a:lnTo>
                        <a:pt x="486" y="1200"/>
                      </a:lnTo>
                      <a:lnTo>
                        <a:pt x="480" y="1182"/>
                      </a:lnTo>
                      <a:lnTo>
                        <a:pt x="468" y="1164"/>
                      </a:lnTo>
                      <a:lnTo>
                        <a:pt x="462" y="1152"/>
                      </a:lnTo>
                      <a:lnTo>
                        <a:pt x="450" y="1140"/>
                      </a:lnTo>
                      <a:lnTo>
                        <a:pt x="438" y="1140"/>
                      </a:lnTo>
                      <a:lnTo>
                        <a:pt x="426" y="1146"/>
                      </a:lnTo>
                      <a:lnTo>
                        <a:pt x="414" y="1158"/>
                      </a:lnTo>
                      <a:lnTo>
                        <a:pt x="408" y="1182"/>
                      </a:lnTo>
                      <a:lnTo>
                        <a:pt x="396" y="1200"/>
                      </a:lnTo>
                      <a:lnTo>
                        <a:pt x="384" y="1212"/>
                      </a:lnTo>
                      <a:lnTo>
                        <a:pt x="372" y="1218"/>
                      </a:lnTo>
                      <a:lnTo>
                        <a:pt x="354" y="1218"/>
                      </a:lnTo>
                      <a:lnTo>
                        <a:pt x="342" y="1212"/>
                      </a:lnTo>
                      <a:lnTo>
                        <a:pt x="330" y="1200"/>
                      </a:lnTo>
                      <a:lnTo>
                        <a:pt x="324" y="1194"/>
                      </a:lnTo>
                      <a:lnTo>
                        <a:pt x="312" y="1188"/>
                      </a:lnTo>
                      <a:lnTo>
                        <a:pt x="300" y="1188"/>
                      </a:lnTo>
                      <a:lnTo>
                        <a:pt x="288" y="1194"/>
                      </a:lnTo>
                      <a:lnTo>
                        <a:pt x="282" y="1200"/>
                      </a:lnTo>
                      <a:lnTo>
                        <a:pt x="276" y="1212"/>
                      </a:lnTo>
                      <a:lnTo>
                        <a:pt x="282" y="1230"/>
                      </a:lnTo>
                      <a:lnTo>
                        <a:pt x="282" y="1248"/>
                      </a:lnTo>
                      <a:lnTo>
                        <a:pt x="276" y="1260"/>
                      </a:lnTo>
                      <a:lnTo>
                        <a:pt x="270" y="1260"/>
                      </a:lnTo>
                      <a:lnTo>
                        <a:pt x="264" y="1260"/>
                      </a:lnTo>
                      <a:lnTo>
                        <a:pt x="246" y="1260"/>
                      </a:lnTo>
                      <a:lnTo>
                        <a:pt x="234" y="1248"/>
                      </a:lnTo>
                      <a:lnTo>
                        <a:pt x="216" y="1242"/>
                      </a:lnTo>
                      <a:lnTo>
                        <a:pt x="192" y="1218"/>
                      </a:lnTo>
                      <a:lnTo>
                        <a:pt x="174" y="1200"/>
                      </a:lnTo>
                      <a:lnTo>
                        <a:pt x="162" y="1182"/>
                      </a:lnTo>
                      <a:lnTo>
                        <a:pt x="156" y="1152"/>
                      </a:lnTo>
                      <a:lnTo>
                        <a:pt x="150" y="1134"/>
                      </a:lnTo>
                      <a:lnTo>
                        <a:pt x="138" y="1122"/>
                      </a:lnTo>
                      <a:lnTo>
                        <a:pt x="126" y="1110"/>
                      </a:lnTo>
                      <a:lnTo>
                        <a:pt x="114" y="1098"/>
                      </a:lnTo>
                      <a:lnTo>
                        <a:pt x="102" y="1092"/>
                      </a:lnTo>
                      <a:lnTo>
                        <a:pt x="90" y="1086"/>
                      </a:lnTo>
                      <a:lnTo>
                        <a:pt x="84" y="1080"/>
                      </a:lnTo>
                      <a:lnTo>
                        <a:pt x="84" y="1074"/>
                      </a:lnTo>
                      <a:lnTo>
                        <a:pt x="90" y="1068"/>
                      </a:lnTo>
                      <a:lnTo>
                        <a:pt x="96" y="1062"/>
                      </a:lnTo>
                      <a:lnTo>
                        <a:pt x="114" y="1050"/>
                      </a:lnTo>
                      <a:lnTo>
                        <a:pt x="144" y="1032"/>
                      </a:lnTo>
                      <a:lnTo>
                        <a:pt x="192" y="1026"/>
                      </a:lnTo>
                      <a:lnTo>
                        <a:pt x="252" y="1020"/>
                      </a:lnTo>
                      <a:lnTo>
                        <a:pt x="270" y="1020"/>
                      </a:lnTo>
                      <a:lnTo>
                        <a:pt x="282" y="1014"/>
                      </a:lnTo>
                      <a:lnTo>
                        <a:pt x="288" y="1008"/>
                      </a:lnTo>
                      <a:lnTo>
                        <a:pt x="288" y="1002"/>
                      </a:lnTo>
                      <a:lnTo>
                        <a:pt x="288" y="996"/>
                      </a:lnTo>
                      <a:lnTo>
                        <a:pt x="282" y="984"/>
                      </a:lnTo>
                      <a:lnTo>
                        <a:pt x="282" y="972"/>
                      </a:lnTo>
                      <a:lnTo>
                        <a:pt x="276" y="960"/>
                      </a:lnTo>
                      <a:lnTo>
                        <a:pt x="276" y="948"/>
                      </a:lnTo>
                      <a:lnTo>
                        <a:pt x="270" y="942"/>
                      </a:lnTo>
                      <a:lnTo>
                        <a:pt x="258" y="942"/>
                      </a:lnTo>
                      <a:lnTo>
                        <a:pt x="246" y="942"/>
                      </a:lnTo>
                      <a:lnTo>
                        <a:pt x="234" y="948"/>
                      </a:lnTo>
                      <a:lnTo>
                        <a:pt x="222" y="954"/>
                      </a:lnTo>
                      <a:lnTo>
                        <a:pt x="210" y="954"/>
                      </a:lnTo>
                      <a:lnTo>
                        <a:pt x="198" y="960"/>
                      </a:lnTo>
                      <a:lnTo>
                        <a:pt x="186" y="960"/>
                      </a:lnTo>
                      <a:lnTo>
                        <a:pt x="168" y="960"/>
                      </a:lnTo>
                      <a:lnTo>
                        <a:pt x="156" y="960"/>
                      </a:lnTo>
                      <a:lnTo>
                        <a:pt x="138" y="954"/>
                      </a:lnTo>
                      <a:lnTo>
                        <a:pt x="126" y="954"/>
                      </a:lnTo>
                      <a:lnTo>
                        <a:pt x="114" y="942"/>
                      </a:lnTo>
                      <a:lnTo>
                        <a:pt x="114" y="930"/>
                      </a:lnTo>
                      <a:lnTo>
                        <a:pt x="108" y="924"/>
                      </a:lnTo>
                      <a:lnTo>
                        <a:pt x="102" y="918"/>
                      </a:lnTo>
                      <a:lnTo>
                        <a:pt x="96" y="918"/>
                      </a:lnTo>
                      <a:lnTo>
                        <a:pt x="84" y="918"/>
                      </a:lnTo>
                      <a:lnTo>
                        <a:pt x="72" y="918"/>
                      </a:lnTo>
                      <a:lnTo>
                        <a:pt x="66" y="918"/>
                      </a:lnTo>
                      <a:lnTo>
                        <a:pt x="54" y="912"/>
                      </a:lnTo>
                      <a:lnTo>
                        <a:pt x="48" y="906"/>
                      </a:lnTo>
                      <a:lnTo>
                        <a:pt x="30" y="888"/>
                      </a:lnTo>
                      <a:lnTo>
                        <a:pt x="18" y="876"/>
                      </a:lnTo>
                      <a:lnTo>
                        <a:pt x="6" y="858"/>
                      </a:lnTo>
                      <a:lnTo>
                        <a:pt x="0" y="840"/>
                      </a:lnTo>
                      <a:lnTo>
                        <a:pt x="0" y="822"/>
                      </a:lnTo>
                      <a:lnTo>
                        <a:pt x="12" y="816"/>
                      </a:lnTo>
                      <a:lnTo>
                        <a:pt x="42" y="822"/>
                      </a:lnTo>
                      <a:lnTo>
                        <a:pt x="72" y="834"/>
                      </a:lnTo>
                      <a:lnTo>
                        <a:pt x="114" y="852"/>
                      </a:lnTo>
                      <a:lnTo>
                        <a:pt x="138" y="858"/>
                      </a:lnTo>
                      <a:lnTo>
                        <a:pt x="156" y="870"/>
                      </a:lnTo>
                      <a:lnTo>
                        <a:pt x="174" y="882"/>
                      </a:lnTo>
                      <a:lnTo>
                        <a:pt x="186" y="894"/>
                      </a:lnTo>
                      <a:lnTo>
                        <a:pt x="198" y="900"/>
                      </a:lnTo>
                      <a:lnTo>
                        <a:pt x="210" y="900"/>
                      </a:lnTo>
                      <a:lnTo>
                        <a:pt x="216" y="894"/>
                      </a:lnTo>
                      <a:lnTo>
                        <a:pt x="228" y="888"/>
                      </a:lnTo>
                      <a:lnTo>
                        <a:pt x="234" y="882"/>
                      </a:lnTo>
                      <a:lnTo>
                        <a:pt x="234" y="870"/>
                      </a:lnTo>
                      <a:lnTo>
                        <a:pt x="234" y="864"/>
                      </a:lnTo>
                      <a:lnTo>
                        <a:pt x="228" y="852"/>
                      </a:lnTo>
                      <a:lnTo>
                        <a:pt x="222" y="846"/>
                      </a:lnTo>
                      <a:lnTo>
                        <a:pt x="216" y="840"/>
                      </a:lnTo>
                      <a:lnTo>
                        <a:pt x="222" y="840"/>
                      </a:lnTo>
                      <a:lnTo>
                        <a:pt x="228" y="834"/>
                      </a:lnTo>
                      <a:lnTo>
                        <a:pt x="240" y="828"/>
                      </a:lnTo>
                      <a:lnTo>
                        <a:pt x="264" y="822"/>
                      </a:lnTo>
                      <a:lnTo>
                        <a:pt x="306" y="816"/>
                      </a:lnTo>
                      <a:lnTo>
                        <a:pt x="354" y="822"/>
                      </a:lnTo>
                      <a:lnTo>
                        <a:pt x="408" y="840"/>
                      </a:lnTo>
                      <a:lnTo>
                        <a:pt x="426" y="846"/>
                      </a:lnTo>
                      <a:lnTo>
                        <a:pt x="438" y="846"/>
                      </a:lnTo>
                      <a:lnTo>
                        <a:pt x="450" y="840"/>
                      </a:lnTo>
                      <a:lnTo>
                        <a:pt x="450" y="834"/>
                      </a:lnTo>
                      <a:lnTo>
                        <a:pt x="450" y="828"/>
                      </a:lnTo>
                      <a:lnTo>
                        <a:pt x="450" y="816"/>
                      </a:lnTo>
                      <a:lnTo>
                        <a:pt x="444" y="798"/>
                      </a:lnTo>
                      <a:lnTo>
                        <a:pt x="432" y="774"/>
                      </a:lnTo>
                      <a:lnTo>
                        <a:pt x="420" y="762"/>
                      </a:lnTo>
                      <a:lnTo>
                        <a:pt x="414" y="750"/>
                      </a:lnTo>
                      <a:lnTo>
                        <a:pt x="402" y="744"/>
                      </a:lnTo>
                      <a:lnTo>
                        <a:pt x="390" y="750"/>
                      </a:lnTo>
                      <a:lnTo>
                        <a:pt x="378" y="756"/>
                      </a:lnTo>
                      <a:lnTo>
                        <a:pt x="360" y="762"/>
                      </a:lnTo>
                      <a:lnTo>
                        <a:pt x="348" y="762"/>
                      </a:lnTo>
                      <a:lnTo>
                        <a:pt x="330" y="762"/>
                      </a:lnTo>
                      <a:lnTo>
                        <a:pt x="318" y="762"/>
                      </a:lnTo>
                      <a:lnTo>
                        <a:pt x="306" y="750"/>
                      </a:lnTo>
                      <a:lnTo>
                        <a:pt x="288" y="738"/>
                      </a:lnTo>
                      <a:lnTo>
                        <a:pt x="276" y="738"/>
                      </a:lnTo>
                      <a:lnTo>
                        <a:pt x="258" y="744"/>
                      </a:lnTo>
                      <a:lnTo>
                        <a:pt x="234" y="756"/>
                      </a:lnTo>
                      <a:lnTo>
                        <a:pt x="222" y="762"/>
                      </a:lnTo>
                      <a:lnTo>
                        <a:pt x="210" y="774"/>
                      </a:lnTo>
                      <a:lnTo>
                        <a:pt x="204" y="774"/>
                      </a:lnTo>
                      <a:lnTo>
                        <a:pt x="192" y="774"/>
                      </a:lnTo>
                      <a:lnTo>
                        <a:pt x="186" y="774"/>
                      </a:lnTo>
                      <a:lnTo>
                        <a:pt x="168" y="762"/>
                      </a:lnTo>
                      <a:lnTo>
                        <a:pt x="156" y="750"/>
                      </a:lnTo>
                      <a:lnTo>
                        <a:pt x="144" y="738"/>
                      </a:lnTo>
                      <a:lnTo>
                        <a:pt x="132" y="720"/>
                      </a:lnTo>
                      <a:lnTo>
                        <a:pt x="120" y="708"/>
                      </a:lnTo>
                      <a:lnTo>
                        <a:pt x="108" y="690"/>
                      </a:lnTo>
                      <a:lnTo>
                        <a:pt x="90" y="678"/>
                      </a:lnTo>
                      <a:lnTo>
                        <a:pt x="66" y="666"/>
                      </a:lnTo>
                      <a:lnTo>
                        <a:pt x="54" y="654"/>
                      </a:lnTo>
                      <a:lnTo>
                        <a:pt x="42" y="642"/>
                      </a:lnTo>
                      <a:lnTo>
                        <a:pt x="30" y="624"/>
                      </a:lnTo>
                      <a:lnTo>
                        <a:pt x="30" y="600"/>
                      </a:lnTo>
                      <a:lnTo>
                        <a:pt x="30" y="582"/>
                      </a:lnTo>
                      <a:lnTo>
                        <a:pt x="30" y="576"/>
                      </a:lnTo>
                      <a:lnTo>
                        <a:pt x="42" y="564"/>
                      </a:lnTo>
                      <a:lnTo>
                        <a:pt x="48" y="558"/>
                      </a:lnTo>
                      <a:lnTo>
                        <a:pt x="60" y="558"/>
                      </a:lnTo>
                      <a:lnTo>
                        <a:pt x="72" y="552"/>
                      </a:lnTo>
                      <a:lnTo>
                        <a:pt x="84" y="546"/>
                      </a:lnTo>
                      <a:lnTo>
                        <a:pt x="90" y="540"/>
                      </a:lnTo>
                      <a:lnTo>
                        <a:pt x="108" y="528"/>
                      </a:lnTo>
                      <a:lnTo>
                        <a:pt x="126" y="528"/>
                      </a:lnTo>
                      <a:lnTo>
                        <a:pt x="144" y="534"/>
                      </a:lnTo>
                      <a:lnTo>
                        <a:pt x="156" y="534"/>
                      </a:lnTo>
                      <a:lnTo>
                        <a:pt x="168" y="534"/>
                      </a:lnTo>
                      <a:lnTo>
                        <a:pt x="186" y="522"/>
                      </a:lnTo>
                      <a:lnTo>
                        <a:pt x="204" y="510"/>
                      </a:lnTo>
                      <a:lnTo>
                        <a:pt x="216" y="498"/>
                      </a:lnTo>
                      <a:lnTo>
                        <a:pt x="222" y="498"/>
                      </a:lnTo>
                      <a:lnTo>
                        <a:pt x="228" y="498"/>
                      </a:lnTo>
                      <a:lnTo>
                        <a:pt x="234" y="504"/>
                      </a:lnTo>
                      <a:lnTo>
                        <a:pt x="246" y="510"/>
                      </a:lnTo>
                      <a:lnTo>
                        <a:pt x="270" y="522"/>
                      </a:lnTo>
                      <a:lnTo>
                        <a:pt x="282" y="528"/>
                      </a:lnTo>
                      <a:lnTo>
                        <a:pt x="300" y="528"/>
                      </a:lnTo>
                      <a:lnTo>
                        <a:pt x="312" y="528"/>
                      </a:lnTo>
                      <a:lnTo>
                        <a:pt x="324" y="516"/>
                      </a:lnTo>
                      <a:lnTo>
                        <a:pt x="336" y="510"/>
                      </a:lnTo>
                      <a:lnTo>
                        <a:pt x="348" y="498"/>
                      </a:lnTo>
                      <a:lnTo>
                        <a:pt x="360" y="486"/>
                      </a:lnTo>
                      <a:lnTo>
                        <a:pt x="378" y="480"/>
                      </a:lnTo>
                      <a:lnTo>
                        <a:pt x="396" y="480"/>
                      </a:lnTo>
                      <a:lnTo>
                        <a:pt x="414" y="480"/>
                      </a:lnTo>
                      <a:lnTo>
                        <a:pt x="432" y="480"/>
                      </a:lnTo>
                      <a:lnTo>
                        <a:pt x="462" y="492"/>
                      </a:lnTo>
                      <a:lnTo>
                        <a:pt x="504" y="498"/>
                      </a:lnTo>
                      <a:lnTo>
                        <a:pt x="540" y="510"/>
                      </a:lnTo>
                      <a:lnTo>
                        <a:pt x="564" y="516"/>
                      </a:lnTo>
                      <a:lnTo>
                        <a:pt x="576" y="510"/>
                      </a:lnTo>
                      <a:lnTo>
                        <a:pt x="588" y="504"/>
                      </a:lnTo>
                      <a:lnTo>
                        <a:pt x="594" y="498"/>
                      </a:lnTo>
                      <a:lnTo>
                        <a:pt x="594" y="486"/>
                      </a:lnTo>
                      <a:lnTo>
                        <a:pt x="588" y="480"/>
                      </a:lnTo>
                      <a:lnTo>
                        <a:pt x="594" y="474"/>
                      </a:lnTo>
                      <a:lnTo>
                        <a:pt x="606" y="468"/>
                      </a:lnTo>
                      <a:lnTo>
                        <a:pt x="618" y="468"/>
                      </a:lnTo>
                      <a:lnTo>
                        <a:pt x="636" y="468"/>
                      </a:lnTo>
                      <a:lnTo>
                        <a:pt x="660" y="462"/>
                      </a:lnTo>
                      <a:lnTo>
                        <a:pt x="678" y="462"/>
                      </a:lnTo>
                      <a:lnTo>
                        <a:pt x="696" y="456"/>
                      </a:lnTo>
                      <a:lnTo>
                        <a:pt x="702" y="450"/>
                      </a:lnTo>
                      <a:lnTo>
                        <a:pt x="708" y="444"/>
                      </a:lnTo>
                      <a:lnTo>
                        <a:pt x="708" y="432"/>
                      </a:lnTo>
                      <a:lnTo>
                        <a:pt x="702" y="426"/>
                      </a:lnTo>
                      <a:lnTo>
                        <a:pt x="690" y="420"/>
                      </a:lnTo>
                      <a:lnTo>
                        <a:pt x="678" y="414"/>
                      </a:lnTo>
                      <a:lnTo>
                        <a:pt x="672" y="408"/>
                      </a:lnTo>
                      <a:lnTo>
                        <a:pt x="654" y="408"/>
                      </a:lnTo>
                      <a:lnTo>
                        <a:pt x="648" y="408"/>
                      </a:lnTo>
                      <a:lnTo>
                        <a:pt x="648" y="402"/>
                      </a:lnTo>
                      <a:lnTo>
                        <a:pt x="648" y="402"/>
                      </a:lnTo>
                      <a:lnTo>
                        <a:pt x="642" y="396"/>
                      </a:lnTo>
                      <a:lnTo>
                        <a:pt x="642" y="384"/>
                      </a:lnTo>
                      <a:lnTo>
                        <a:pt x="636" y="372"/>
                      </a:lnTo>
                      <a:lnTo>
                        <a:pt x="624" y="372"/>
                      </a:lnTo>
                      <a:lnTo>
                        <a:pt x="612" y="378"/>
                      </a:lnTo>
                      <a:lnTo>
                        <a:pt x="600" y="390"/>
                      </a:lnTo>
                      <a:lnTo>
                        <a:pt x="582" y="402"/>
                      </a:lnTo>
                      <a:lnTo>
                        <a:pt x="558" y="414"/>
                      </a:lnTo>
                      <a:lnTo>
                        <a:pt x="540" y="420"/>
                      </a:lnTo>
                      <a:lnTo>
                        <a:pt x="528" y="420"/>
                      </a:lnTo>
                      <a:lnTo>
                        <a:pt x="516" y="414"/>
                      </a:lnTo>
                      <a:lnTo>
                        <a:pt x="504" y="402"/>
                      </a:lnTo>
                      <a:lnTo>
                        <a:pt x="498" y="384"/>
                      </a:lnTo>
                      <a:lnTo>
                        <a:pt x="486" y="372"/>
                      </a:lnTo>
                      <a:lnTo>
                        <a:pt x="480" y="354"/>
                      </a:lnTo>
                      <a:lnTo>
                        <a:pt x="474" y="336"/>
                      </a:lnTo>
                      <a:lnTo>
                        <a:pt x="474" y="324"/>
                      </a:lnTo>
                      <a:lnTo>
                        <a:pt x="474" y="306"/>
                      </a:lnTo>
                      <a:lnTo>
                        <a:pt x="498" y="294"/>
                      </a:lnTo>
                      <a:lnTo>
                        <a:pt x="534" y="282"/>
                      </a:lnTo>
                      <a:lnTo>
                        <a:pt x="576" y="270"/>
                      </a:lnTo>
                      <a:lnTo>
                        <a:pt x="636" y="246"/>
                      </a:lnTo>
                      <a:lnTo>
                        <a:pt x="690" y="234"/>
                      </a:lnTo>
                      <a:lnTo>
                        <a:pt x="714" y="240"/>
                      </a:lnTo>
                      <a:lnTo>
                        <a:pt x="738" y="246"/>
                      </a:lnTo>
                      <a:lnTo>
                        <a:pt x="762" y="252"/>
                      </a:lnTo>
                      <a:lnTo>
                        <a:pt x="774" y="258"/>
                      </a:lnTo>
                      <a:lnTo>
                        <a:pt x="780" y="258"/>
                      </a:lnTo>
                      <a:lnTo>
                        <a:pt x="780" y="258"/>
                      </a:lnTo>
                      <a:lnTo>
                        <a:pt x="786" y="246"/>
                      </a:lnTo>
                      <a:lnTo>
                        <a:pt x="786" y="240"/>
                      </a:lnTo>
                      <a:lnTo>
                        <a:pt x="786" y="222"/>
                      </a:lnTo>
                      <a:lnTo>
                        <a:pt x="792" y="210"/>
                      </a:lnTo>
                      <a:lnTo>
                        <a:pt x="798" y="204"/>
                      </a:lnTo>
                      <a:lnTo>
                        <a:pt x="804" y="198"/>
                      </a:lnTo>
                      <a:lnTo>
                        <a:pt x="816" y="198"/>
                      </a:lnTo>
                      <a:lnTo>
                        <a:pt x="828" y="204"/>
                      </a:lnTo>
                      <a:lnTo>
                        <a:pt x="840" y="222"/>
                      </a:lnTo>
                      <a:lnTo>
                        <a:pt x="846" y="240"/>
                      </a:lnTo>
                      <a:lnTo>
                        <a:pt x="858" y="246"/>
                      </a:lnTo>
                      <a:lnTo>
                        <a:pt x="864" y="252"/>
                      </a:lnTo>
                      <a:lnTo>
                        <a:pt x="882" y="258"/>
                      </a:lnTo>
                      <a:lnTo>
                        <a:pt x="900" y="252"/>
                      </a:lnTo>
                      <a:lnTo>
                        <a:pt x="912" y="252"/>
                      </a:lnTo>
                      <a:lnTo>
                        <a:pt x="924" y="246"/>
                      </a:lnTo>
                      <a:lnTo>
                        <a:pt x="924" y="240"/>
                      </a:lnTo>
                      <a:lnTo>
                        <a:pt x="924" y="228"/>
                      </a:lnTo>
                      <a:lnTo>
                        <a:pt x="918" y="222"/>
                      </a:lnTo>
                      <a:lnTo>
                        <a:pt x="918" y="210"/>
                      </a:lnTo>
                      <a:lnTo>
                        <a:pt x="912" y="198"/>
                      </a:lnTo>
                      <a:lnTo>
                        <a:pt x="912" y="192"/>
                      </a:lnTo>
                      <a:lnTo>
                        <a:pt x="918" y="180"/>
                      </a:lnTo>
                      <a:lnTo>
                        <a:pt x="930" y="174"/>
                      </a:lnTo>
                      <a:lnTo>
                        <a:pt x="936" y="168"/>
                      </a:lnTo>
                      <a:lnTo>
                        <a:pt x="936" y="162"/>
                      </a:lnTo>
                      <a:lnTo>
                        <a:pt x="936" y="150"/>
                      </a:lnTo>
                      <a:lnTo>
                        <a:pt x="930" y="138"/>
                      </a:lnTo>
                      <a:lnTo>
                        <a:pt x="930" y="126"/>
                      </a:lnTo>
                      <a:lnTo>
                        <a:pt x="942" y="120"/>
                      </a:lnTo>
                      <a:lnTo>
                        <a:pt x="954" y="114"/>
                      </a:lnTo>
                      <a:lnTo>
                        <a:pt x="966" y="108"/>
                      </a:lnTo>
                      <a:lnTo>
                        <a:pt x="984" y="108"/>
                      </a:lnTo>
                      <a:lnTo>
                        <a:pt x="1002" y="102"/>
                      </a:lnTo>
                      <a:lnTo>
                        <a:pt x="1020" y="96"/>
                      </a:lnTo>
                      <a:lnTo>
                        <a:pt x="1038" y="90"/>
                      </a:lnTo>
                      <a:lnTo>
                        <a:pt x="1050" y="90"/>
                      </a:lnTo>
                      <a:lnTo>
                        <a:pt x="1062" y="96"/>
                      </a:lnTo>
                      <a:lnTo>
                        <a:pt x="1074" y="108"/>
                      </a:lnTo>
                      <a:lnTo>
                        <a:pt x="1080" y="120"/>
                      </a:lnTo>
                      <a:lnTo>
                        <a:pt x="1086" y="132"/>
                      </a:lnTo>
                      <a:lnTo>
                        <a:pt x="1098" y="138"/>
                      </a:lnTo>
                      <a:lnTo>
                        <a:pt x="1110" y="156"/>
                      </a:lnTo>
                      <a:lnTo>
                        <a:pt x="1122" y="168"/>
                      </a:lnTo>
                      <a:lnTo>
                        <a:pt x="1128" y="180"/>
                      </a:lnTo>
                      <a:lnTo>
                        <a:pt x="1128" y="198"/>
                      </a:lnTo>
                      <a:lnTo>
                        <a:pt x="1122" y="222"/>
                      </a:lnTo>
                      <a:lnTo>
                        <a:pt x="1134" y="258"/>
                      </a:lnTo>
                      <a:lnTo>
                        <a:pt x="1170" y="300"/>
                      </a:lnTo>
                      <a:lnTo>
                        <a:pt x="1188" y="318"/>
                      </a:lnTo>
                      <a:lnTo>
                        <a:pt x="1206" y="324"/>
                      </a:lnTo>
                      <a:lnTo>
                        <a:pt x="1218" y="324"/>
                      </a:lnTo>
                      <a:lnTo>
                        <a:pt x="1230" y="324"/>
                      </a:lnTo>
                      <a:lnTo>
                        <a:pt x="1236" y="312"/>
                      </a:lnTo>
                      <a:lnTo>
                        <a:pt x="1236" y="300"/>
                      </a:lnTo>
                      <a:lnTo>
                        <a:pt x="1230" y="288"/>
                      </a:lnTo>
                      <a:lnTo>
                        <a:pt x="1224" y="276"/>
                      </a:lnTo>
                      <a:lnTo>
                        <a:pt x="1212" y="258"/>
                      </a:lnTo>
                      <a:lnTo>
                        <a:pt x="1206" y="246"/>
                      </a:lnTo>
                      <a:lnTo>
                        <a:pt x="1200" y="234"/>
                      </a:lnTo>
                      <a:lnTo>
                        <a:pt x="1200" y="222"/>
                      </a:lnTo>
                      <a:lnTo>
                        <a:pt x="1200" y="210"/>
                      </a:lnTo>
                      <a:lnTo>
                        <a:pt x="1200" y="192"/>
                      </a:lnTo>
                      <a:lnTo>
                        <a:pt x="1194" y="180"/>
                      </a:lnTo>
                      <a:lnTo>
                        <a:pt x="1194" y="168"/>
                      </a:lnTo>
                      <a:lnTo>
                        <a:pt x="1188" y="156"/>
                      </a:lnTo>
                      <a:lnTo>
                        <a:pt x="1182" y="150"/>
                      </a:lnTo>
                      <a:lnTo>
                        <a:pt x="1176" y="138"/>
                      </a:lnTo>
                      <a:lnTo>
                        <a:pt x="1164" y="126"/>
                      </a:lnTo>
                      <a:lnTo>
                        <a:pt x="1152" y="108"/>
                      </a:lnTo>
                      <a:lnTo>
                        <a:pt x="1140" y="96"/>
                      </a:lnTo>
                      <a:lnTo>
                        <a:pt x="1152" y="90"/>
                      </a:lnTo>
                      <a:lnTo>
                        <a:pt x="1176" y="90"/>
                      </a:lnTo>
                      <a:lnTo>
                        <a:pt x="1206" y="90"/>
                      </a:lnTo>
                      <a:lnTo>
                        <a:pt x="1242" y="96"/>
                      </a:lnTo>
                      <a:lnTo>
                        <a:pt x="1266" y="96"/>
                      </a:lnTo>
                      <a:lnTo>
                        <a:pt x="1314" y="102"/>
                      </a:lnTo>
                      <a:lnTo>
                        <a:pt x="1350" y="108"/>
                      </a:lnTo>
                      <a:lnTo>
                        <a:pt x="1380" y="126"/>
                      </a:lnTo>
                      <a:lnTo>
                        <a:pt x="1392" y="132"/>
                      </a:lnTo>
                      <a:lnTo>
                        <a:pt x="1398" y="138"/>
                      </a:lnTo>
                      <a:lnTo>
                        <a:pt x="1404" y="132"/>
                      </a:lnTo>
                      <a:lnTo>
                        <a:pt x="1410" y="126"/>
                      </a:lnTo>
                      <a:lnTo>
                        <a:pt x="1416" y="114"/>
                      </a:lnTo>
                      <a:lnTo>
                        <a:pt x="1422" y="108"/>
                      </a:lnTo>
                      <a:lnTo>
                        <a:pt x="1434" y="102"/>
                      </a:lnTo>
                      <a:lnTo>
                        <a:pt x="1446" y="96"/>
                      </a:lnTo>
                      <a:lnTo>
                        <a:pt x="1470" y="108"/>
                      </a:lnTo>
                      <a:lnTo>
                        <a:pt x="1494" y="150"/>
                      </a:lnTo>
                      <a:lnTo>
                        <a:pt x="1512" y="222"/>
                      </a:lnTo>
                      <a:lnTo>
                        <a:pt x="1512" y="246"/>
                      </a:lnTo>
                      <a:lnTo>
                        <a:pt x="1518" y="258"/>
                      </a:lnTo>
                      <a:lnTo>
                        <a:pt x="1530" y="264"/>
                      </a:lnTo>
                      <a:lnTo>
                        <a:pt x="1536" y="270"/>
                      </a:lnTo>
                      <a:lnTo>
                        <a:pt x="1542" y="264"/>
                      </a:lnTo>
                      <a:lnTo>
                        <a:pt x="1554" y="258"/>
                      </a:lnTo>
                      <a:lnTo>
                        <a:pt x="1560" y="246"/>
                      </a:lnTo>
                      <a:lnTo>
                        <a:pt x="1566" y="240"/>
                      </a:lnTo>
                      <a:lnTo>
                        <a:pt x="1578" y="228"/>
                      </a:lnTo>
                      <a:lnTo>
                        <a:pt x="1590" y="210"/>
                      </a:lnTo>
                      <a:lnTo>
                        <a:pt x="1602" y="204"/>
                      </a:lnTo>
                      <a:lnTo>
                        <a:pt x="1614" y="204"/>
                      </a:lnTo>
                      <a:lnTo>
                        <a:pt x="1632" y="216"/>
                      </a:lnTo>
                      <a:lnTo>
                        <a:pt x="1644" y="228"/>
                      </a:lnTo>
                      <a:lnTo>
                        <a:pt x="1650" y="240"/>
                      </a:lnTo>
                      <a:lnTo>
                        <a:pt x="1662" y="246"/>
                      </a:lnTo>
                      <a:lnTo>
                        <a:pt x="1674" y="246"/>
                      </a:lnTo>
                      <a:lnTo>
                        <a:pt x="1692" y="246"/>
                      </a:lnTo>
                      <a:lnTo>
                        <a:pt x="1710" y="246"/>
                      </a:lnTo>
                      <a:lnTo>
                        <a:pt x="1734" y="252"/>
                      </a:lnTo>
                      <a:lnTo>
                        <a:pt x="1746" y="258"/>
                      </a:lnTo>
                      <a:lnTo>
                        <a:pt x="1764" y="270"/>
                      </a:lnTo>
                      <a:lnTo>
                        <a:pt x="1776" y="276"/>
                      </a:lnTo>
                      <a:lnTo>
                        <a:pt x="1788" y="282"/>
                      </a:lnTo>
                      <a:lnTo>
                        <a:pt x="1794" y="282"/>
                      </a:lnTo>
                      <a:lnTo>
                        <a:pt x="1800" y="276"/>
                      </a:lnTo>
                      <a:lnTo>
                        <a:pt x="1800" y="264"/>
                      </a:lnTo>
                      <a:lnTo>
                        <a:pt x="1800" y="240"/>
                      </a:lnTo>
                      <a:lnTo>
                        <a:pt x="1794" y="216"/>
                      </a:lnTo>
                      <a:lnTo>
                        <a:pt x="1788" y="192"/>
                      </a:lnTo>
                      <a:lnTo>
                        <a:pt x="1770" y="174"/>
                      </a:lnTo>
                      <a:lnTo>
                        <a:pt x="1764" y="162"/>
                      </a:lnTo>
                      <a:lnTo>
                        <a:pt x="1758" y="150"/>
                      </a:lnTo>
                      <a:lnTo>
                        <a:pt x="1758" y="138"/>
                      </a:lnTo>
                      <a:lnTo>
                        <a:pt x="1764" y="126"/>
                      </a:lnTo>
                      <a:lnTo>
                        <a:pt x="1776" y="114"/>
                      </a:lnTo>
                      <a:lnTo>
                        <a:pt x="1794" y="96"/>
                      </a:lnTo>
                      <a:lnTo>
                        <a:pt x="1830" y="90"/>
                      </a:lnTo>
                      <a:lnTo>
                        <a:pt x="1860" y="96"/>
                      </a:lnTo>
                      <a:lnTo>
                        <a:pt x="1884" y="120"/>
                      </a:lnTo>
                      <a:lnTo>
                        <a:pt x="1902" y="156"/>
                      </a:lnTo>
                      <a:lnTo>
                        <a:pt x="1926" y="180"/>
                      </a:lnTo>
                      <a:lnTo>
                        <a:pt x="1944" y="186"/>
                      </a:lnTo>
                      <a:lnTo>
                        <a:pt x="1968" y="180"/>
                      </a:lnTo>
                      <a:lnTo>
                        <a:pt x="2004" y="174"/>
                      </a:lnTo>
                      <a:lnTo>
                        <a:pt x="2040" y="180"/>
                      </a:lnTo>
                      <a:lnTo>
                        <a:pt x="2064" y="198"/>
                      </a:lnTo>
                      <a:lnTo>
                        <a:pt x="2082" y="228"/>
                      </a:lnTo>
                      <a:lnTo>
                        <a:pt x="2100" y="252"/>
                      </a:lnTo>
                      <a:lnTo>
                        <a:pt x="2112" y="282"/>
                      </a:lnTo>
                      <a:lnTo>
                        <a:pt x="2130" y="312"/>
                      </a:lnTo>
                      <a:lnTo>
                        <a:pt x="2148" y="336"/>
                      </a:lnTo>
                      <a:lnTo>
                        <a:pt x="2184" y="360"/>
                      </a:lnTo>
                      <a:lnTo>
                        <a:pt x="2202" y="366"/>
                      </a:lnTo>
                      <a:lnTo>
                        <a:pt x="2214" y="366"/>
                      </a:lnTo>
                      <a:lnTo>
                        <a:pt x="2226" y="366"/>
                      </a:lnTo>
                      <a:lnTo>
                        <a:pt x="2226" y="360"/>
                      </a:lnTo>
                      <a:lnTo>
                        <a:pt x="2226" y="348"/>
                      </a:lnTo>
                      <a:lnTo>
                        <a:pt x="2226" y="336"/>
                      </a:lnTo>
                      <a:lnTo>
                        <a:pt x="2220" y="324"/>
                      </a:lnTo>
                      <a:lnTo>
                        <a:pt x="2220" y="306"/>
                      </a:lnTo>
                      <a:lnTo>
                        <a:pt x="2214" y="288"/>
                      </a:lnTo>
                      <a:lnTo>
                        <a:pt x="2208" y="270"/>
                      </a:lnTo>
                      <a:lnTo>
                        <a:pt x="2208" y="264"/>
                      </a:lnTo>
                      <a:lnTo>
                        <a:pt x="2214" y="252"/>
                      </a:lnTo>
                      <a:lnTo>
                        <a:pt x="2220" y="252"/>
                      </a:lnTo>
                      <a:lnTo>
                        <a:pt x="2232" y="246"/>
                      </a:lnTo>
                      <a:lnTo>
                        <a:pt x="2238" y="252"/>
                      </a:lnTo>
                      <a:lnTo>
                        <a:pt x="2250" y="252"/>
                      </a:lnTo>
                      <a:lnTo>
                        <a:pt x="2262" y="258"/>
                      </a:lnTo>
                      <a:lnTo>
                        <a:pt x="2274" y="258"/>
                      </a:lnTo>
                      <a:lnTo>
                        <a:pt x="2280" y="264"/>
                      </a:lnTo>
                      <a:lnTo>
                        <a:pt x="2292" y="270"/>
                      </a:lnTo>
                      <a:lnTo>
                        <a:pt x="2304" y="270"/>
                      </a:lnTo>
                      <a:lnTo>
                        <a:pt x="2310" y="270"/>
                      </a:lnTo>
                      <a:lnTo>
                        <a:pt x="2316" y="264"/>
                      </a:lnTo>
                      <a:lnTo>
                        <a:pt x="2316" y="258"/>
                      </a:lnTo>
                      <a:lnTo>
                        <a:pt x="2310" y="252"/>
                      </a:lnTo>
                      <a:lnTo>
                        <a:pt x="2310" y="240"/>
                      </a:lnTo>
                      <a:lnTo>
                        <a:pt x="2310" y="234"/>
                      </a:lnTo>
                      <a:lnTo>
                        <a:pt x="2316" y="228"/>
                      </a:lnTo>
                      <a:lnTo>
                        <a:pt x="2328" y="228"/>
                      </a:lnTo>
                      <a:lnTo>
                        <a:pt x="2346" y="228"/>
                      </a:lnTo>
                      <a:lnTo>
                        <a:pt x="2364" y="228"/>
                      </a:lnTo>
                      <a:lnTo>
                        <a:pt x="2382" y="228"/>
                      </a:lnTo>
                      <a:lnTo>
                        <a:pt x="2424" y="240"/>
                      </a:lnTo>
                      <a:lnTo>
                        <a:pt x="2460" y="258"/>
                      </a:lnTo>
                      <a:lnTo>
                        <a:pt x="2496" y="294"/>
                      </a:lnTo>
                      <a:lnTo>
                        <a:pt x="2508" y="306"/>
                      </a:lnTo>
                      <a:lnTo>
                        <a:pt x="2526" y="312"/>
                      </a:lnTo>
                      <a:lnTo>
                        <a:pt x="2532" y="306"/>
                      </a:lnTo>
                      <a:lnTo>
                        <a:pt x="2544" y="300"/>
                      </a:lnTo>
                      <a:lnTo>
                        <a:pt x="2550" y="288"/>
                      </a:lnTo>
                      <a:lnTo>
                        <a:pt x="2556" y="276"/>
                      </a:lnTo>
                      <a:lnTo>
                        <a:pt x="2556" y="270"/>
                      </a:lnTo>
                      <a:lnTo>
                        <a:pt x="2556" y="258"/>
                      </a:lnTo>
                      <a:lnTo>
                        <a:pt x="2544" y="252"/>
                      </a:lnTo>
                      <a:lnTo>
                        <a:pt x="2526" y="240"/>
                      </a:lnTo>
                      <a:lnTo>
                        <a:pt x="2508" y="222"/>
                      </a:lnTo>
                      <a:lnTo>
                        <a:pt x="2490" y="210"/>
                      </a:lnTo>
                      <a:lnTo>
                        <a:pt x="2466" y="192"/>
                      </a:lnTo>
                      <a:lnTo>
                        <a:pt x="2424" y="174"/>
                      </a:lnTo>
                      <a:lnTo>
                        <a:pt x="2382" y="168"/>
                      </a:lnTo>
                      <a:lnTo>
                        <a:pt x="2328" y="162"/>
                      </a:lnTo>
                      <a:lnTo>
                        <a:pt x="2286" y="156"/>
                      </a:lnTo>
                      <a:lnTo>
                        <a:pt x="2244" y="156"/>
                      </a:lnTo>
                      <a:lnTo>
                        <a:pt x="2208" y="144"/>
                      </a:lnTo>
                      <a:lnTo>
                        <a:pt x="2196" y="144"/>
                      </a:lnTo>
                      <a:lnTo>
                        <a:pt x="2190" y="138"/>
                      </a:lnTo>
                      <a:lnTo>
                        <a:pt x="2196" y="126"/>
                      </a:lnTo>
                      <a:lnTo>
                        <a:pt x="2202" y="120"/>
                      </a:lnTo>
                      <a:lnTo>
                        <a:pt x="2208" y="114"/>
                      </a:lnTo>
                      <a:lnTo>
                        <a:pt x="2214" y="102"/>
                      </a:lnTo>
                      <a:lnTo>
                        <a:pt x="2214" y="96"/>
                      </a:lnTo>
                      <a:lnTo>
                        <a:pt x="2214" y="84"/>
                      </a:lnTo>
                      <a:lnTo>
                        <a:pt x="2208" y="72"/>
                      </a:lnTo>
                      <a:lnTo>
                        <a:pt x="2208" y="66"/>
                      </a:lnTo>
                      <a:lnTo>
                        <a:pt x="2208" y="60"/>
                      </a:lnTo>
                      <a:lnTo>
                        <a:pt x="2220" y="60"/>
                      </a:lnTo>
                      <a:lnTo>
                        <a:pt x="2226" y="60"/>
                      </a:lnTo>
                      <a:lnTo>
                        <a:pt x="2238" y="60"/>
                      </a:lnTo>
                      <a:lnTo>
                        <a:pt x="2244" y="60"/>
                      </a:lnTo>
                      <a:lnTo>
                        <a:pt x="2256" y="66"/>
                      </a:lnTo>
                      <a:lnTo>
                        <a:pt x="2262" y="72"/>
                      </a:lnTo>
                      <a:lnTo>
                        <a:pt x="2268" y="72"/>
                      </a:lnTo>
                      <a:lnTo>
                        <a:pt x="2274" y="72"/>
                      </a:lnTo>
                      <a:lnTo>
                        <a:pt x="2280" y="66"/>
                      </a:lnTo>
                      <a:lnTo>
                        <a:pt x="2280" y="54"/>
                      </a:lnTo>
                      <a:lnTo>
                        <a:pt x="2280" y="36"/>
                      </a:lnTo>
                      <a:lnTo>
                        <a:pt x="2286" y="12"/>
                      </a:lnTo>
                      <a:lnTo>
                        <a:pt x="2310" y="0"/>
                      </a:lnTo>
                      <a:lnTo>
                        <a:pt x="2346" y="0"/>
                      </a:lnTo>
                      <a:lnTo>
                        <a:pt x="2388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1" name="Freeform 374">
                  <a:extLst>
                    <a:ext uri="{FF2B5EF4-FFF2-40B4-BE49-F238E27FC236}">
                      <a16:creationId xmlns:a16="http://schemas.microsoft.com/office/drawing/2014/main" id="{51DEDD54-FFC7-4ACE-9672-F01D18957F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375" y="-6132"/>
                  <a:ext cx="210" cy="198"/>
                </a:xfrm>
                <a:custGeom>
                  <a:avLst/>
                  <a:gdLst>
                    <a:gd name="T0" fmla="*/ 108 w 210"/>
                    <a:gd name="T1" fmla="*/ 0 h 198"/>
                    <a:gd name="T2" fmla="*/ 120 w 210"/>
                    <a:gd name="T3" fmla="*/ 6 h 198"/>
                    <a:gd name="T4" fmla="*/ 126 w 210"/>
                    <a:gd name="T5" fmla="*/ 18 h 198"/>
                    <a:gd name="T6" fmla="*/ 138 w 210"/>
                    <a:gd name="T7" fmla="*/ 30 h 198"/>
                    <a:gd name="T8" fmla="*/ 150 w 210"/>
                    <a:gd name="T9" fmla="*/ 48 h 198"/>
                    <a:gd name="T10" fmla="*/ 162 w 210"/>
                    <a:gd name="T11" fmla="*/ 60 h 198"/>
                    <a:gd name="T12" fmla="*/ 180 w 210"/>
                    <a:gd name="T13" fmla="*/ 72 h 198"/>
                    <a:gd name="T14" fmla="*/ 192 w 210"/>
                    <a:gd name="T15" fmla="*/ 96 h 198"/>
                    <a:gd name="T16" fmla="*/ 210 w 210"/>
                    <a:gd name="T17" fmla="*/ 138 h 198"/>
                    <a:gd name="T18" fmla="*/ 204 w 210"/>
                    <a:gd name="T19" fmla="*/ 174 h 198"/>
                    <a:gd name="T20" fmla="*/ 180 w 210"/>
                    <a:gd name="T21" fmla="*/ 198 h 198"/>
                    <a:gd name="T22" fmla="*/ 150 w 210"/>
                    <a:gd name="T23" fmla="*/ 198 h 198"/>
                    <a:gd name="T24" fmla="*/ 108 w 210"/>
                    <a:gd name="T25" fmla="*/ 186 h 198"/>
                    <a:gd name="T26" fmla="*/ 66 w 210"/>
                    <a:gd name="T27" fmla="*/ 174 h 198"/>
                    <a:gd name="T28" fmla="*/ 30 w 210"/>
                    <a:gd name="T29" fmla="*/ 150 h 198"/>
                    <a:gd name="T30" fmla="*/ 18 w 210"/>
                    <a:gd name="T31" fmla="*/ 144 h 198"/>
                    <a:gd name="T32" fmla="*/ 6 w 210"/>
                    <a:gd name="T33" fmla="*/ 126 h 198"/>
                    <a:gd name="T34" fmla="*/ 0 w 210"/>
                    <a:gd name="T35" fmla="*/ 114 h 198"/>
                    <a:gd name="T36" fmla="*/ 0 w 210"/>
                    <a:gd name="T37" fmla="*/ 102 h 198"/>
                    <a:gd name="T38" fmla="*/ 0 w 210"/>
                    <a:gd name="T39" fmla="*/ 96 h 198"/>
                    <a:gd name="T40" fmla="*/ 12 w 210"/>
                    <a:gd name="T41" fmla="*/ 90 h 198"/>
                    <a:gd name="T42" fmla="*/ 24 w 210"/>
                    <a:gd name="T43" fmla="*/ 84 h 198"/>
                    <a:gd name="T44" fmla="*/ 42 w 210"/>
                    <a:gd name="T45" fmla="*/ 84 h 198"/>
                    <a:gd name="T46" fmla="*/ 60 w 210"/>
                    <a:gd name="T47" fmla="*/ 84 h 198"/>
                    <a:gd name="T48" fmla="*/ 66 w 210"/>
                    <a:gd name="T49" fmla="*/ 78 h 198"/>
                    <a:gd name="T50" fmla="*/ 72 w 210"/>
                    <a:gd name="T51" fmla="*/ 66 h 198"/>
                    <a:gd name="T52" fmla="*/ 72 w 210"/>
                    <a:gd name="T53" fmla="*/ 54 h 198"/>
                    <a:gd name="T54" fmla="*/ 66 w 210"/>
                    <a:gd name="T55" fmla="*/ 42 h 198"/>
                    <a:gd name="T56" fmla="*/ 66 w 210"/>
                    <a:gd name="T57" fmla="*/ 30 h 198"/>
                    <a:gd name="T58" fmla="*/ 66 w 210"/>
                    <a:gd name="T59" fmla="*/ 24 h 198"/>
                    <a:gd name="T60" fmla="*/ 72 w 210"/>
                    <a:gd name="T61" fmla="*/ 18 h 198"/>
                    <a:gd name="T62" fmla="*/ 78 w 210"/>
                    <a:gd name="T63" fmla="*/ 12 h 198"/>
                    <a:gd name="T64" fmla="*/ 84 w 210"/>
                    <a:gd name="T65" fmla="*/ 6 h 198"/>
                    <a:gd name="T66" fmla="*/ 96 w 210"/>
                    <a:gd name="T67" fmla="*/ 0 h 198"/>
                    <a:gd name="T68" fmla="*/ 108 w 210"/>
                    <a:gd name="T69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10" h="198">
                      <a:moveTo>
                        <a:pt x="108" y="0"/>
                      </a:moveTo>
                      <a:lnTo>
                        <a:pt x="120" y="6"/>
                      </a:lnTo>
                      <a:lnTo>
                        <a:pt x="126" y="18"/>
                      </a:lnTo>
                      <a:lnTo>
                        <a:pt x="138" y="30"/>
                      </a:lnTo>
                      <a:lnTo>
                        <a:pt x="150" y="48"/>
                      </a:lnTo>
                      <a:lnTo>
                        <a:pt x="162" y="60"/>
                      </a:lnTo>
                      <a:lnTo>
                        <a:pt x="180" y="72"/>
                      </a:lnTo>
                      <a:lnTo>
                        <a:pt x="192" y="96"/>
                      </a:lnTo>
                      <a:lnTo>
                        <a:pt x="210" y="138"/>
                      </a:lnTo>
                      <a:lnTo>
                        <a:pt x="204" y="174"/>
                      </a:lnTo>
                      <a:lnTo>
                        <a:pt x="180" y="198"/>
                      </a:lnTo>
                      <a:lnTo>
                        <a:pt x="150" y="198"/>
                      </a:lnTo>
                      <a:lnTo>
                        <a:pt x="108" y="186"/>
                      </a:lnTo>
                      <a:lnTo>
                        <a:pt x="66" y="174"/>
                      </a:lnTo>
                      <a:lnTo>
                        <a:pt x="30" y="150"/>
                      </a:lnTo>
                      <a:lnTo>
                        <a:pt x="18" y="144"/>
                      </a:lnTo>
                      <a:lnTo>
                        <a:pt x="6" y="126"/>
                      </a:lnTo>
                      <a:lnTo>
                        <a:pt x="0" y="114"/>
                      </a:lnTo>
                      <a:lnTo>
                        <a:pt x="0" y="102"/>
                      </a:lnTo>
                      <a:lnTo>
                        <a:pt x="0" y="96"/>
                      </a:lnTo>
                      <a:lnTo>
                        <a:pt x="12" y="90"/>
                      </a:lnTo>
                      <a:lnTo>
                        <a:pt x="24" y="84"/>
                      </a:lnTo>
                      <a:lnTo>
                        <a:pt x="42" y="84"/>
                      </a:lnTo>
                      <a:lnTo>
                        <a:pt x="60" y="84"/>
                      </a:lnTo>
                      <a:lnTo>
                        <a:pt x="66" y="78"/>
                      </a:lnTo>
                      <a:lnTo>
                        <a:pt x="72" y="66"/>
                      </a:lnTo>
                      <a:lnTo>
                        <a:pt x="72" y="54"/>
                      </a:lnTo>
                      <a:lnTo>
                        <a:pt x="66" y="42"/>
                      </a:lnTo>
                      <a:lnTo>
                        <a:pt x="66" y="30"/>
                      </a:lnTo>
                      <a:lnTo>
                        <a:pt x="66" y="24"/>
                      </a:lnTo>
                      <a:lnTo>
                        <a:pt x="72" y="18"/>
                      </a:lnTo>
                      <a:lnTo>
                        <a:pt x="78" y="12"/>
                      </a:lnTo>
                      <a:lnTo>
                        <a:pt x="84" y="6"/>
                      </a:lnTo>
                      <a:lnTo>
                        <a:pt x="96" y="0"/>
                      </a:lnTo>
                      <a:lnTo>
                        <a:pt x="10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2" name="Freeform 375">
                  <a:extLst>
                    <a:ext uri="{FF2B5EF4-FFF2-40B4-BE49-F238E27FC236}">
                      <a16:creationId xmlns:a16="http://schemas.microsoft.com/office/drawing/2014/main" id="{C5DF9C7B-FE4F-4FC6-A331-9BB5B5D348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63" y="-6312"/>
                  <a:ext cx="276" cy="120"/>
                </a:xfrm>
                <a:custGeom>
                  <a:avLst/>
                  <a:gdLst>
                    <a:gd name="T0" fmla="*/ 30 w 276"/>
                    <a:gd name="T1" fmla="*/ 0 h 120"/>
                    <a:gd name="T2" fmla="*/ 42 w 276"/>
                    <a:gd name="T3" fmla="*/ 0 h 120"/>
                    <a:gd name="T4" fmla="*/ 54 w 276"/>
                    <a:gd name="T5" fmla="*/ 0 h 120"/>
                    <a:gd name="T6" fmla="*/ 60 w 276"/>
                    <a:gd name="T7" fmla="*/ 0 h 120"/>
                    <a:gd name="T8" fmla="*/ 72 w 276"/>
                    <a:gd name="T9" fmla="*/ 0 h 120"/>
                    <a:gd name="T10" fmla="*/ 84 w 276"/>
                    <a:gd name="T11" fmla="*/ 6 h 120"/>
                    <a:gd name="T12" fmla="*/ 126 w 276"/>
                    <a:gd name="T13" fmla="*/ 12 h 120"/>
                    <a:gd name="T14" fmla="*/ 174 w 276"/>
                    <a:gd name="T15" fmla="*/ 18 h 120"/>
                    <a:gd name="T16" fmla="*/ 210 w 276"/>
                    <a:gd name="T17" fmla="*/ 18 h 120"/>
                    <a:gd name="T18" fmla="*/ 228 w 276"/>
                    <a:gd name="T19" fmla="*/ 24 h 120"/>
                    <a:gd name="T20" fmla="*/ 240 w 276"/>
                    <a:gd name="T21" fmla="*/ 30 h 120"/>
                    <a:gd name="T22" fmla="*/ 240 w 276"/>
                    <a:gd name="T23" fmla="*/ 36 h 120"/>
                    <a:gd name="T24" fmla="*/ 246 w 276"/>
                    <a:gd name="T25" fmla="*/ 42 h 120"/>
                    <a:gd name="T26" fmla="*/ 240 w 276"/>
                    <a:gd name="T27" fmla="*/ 54 h 120"/>
                    <a:gd name="T28" fmla="*/ 234 w 276"/>
                    <a:gd name="T29" fmla="*/ 54 h 120"/>
                    <a:gd name="T30" fmla="*/ 228 w 276"/>
                    <a:gd name="T31" fmla="*/ 60 h 120"/>
                    <a:gd name="T32" fmla="*/ 222 w 276"/>
                    <a:gd name="T33" fmla="*/ 60 h 120"/>
                    <a:gd name="T34" fmla="*/ 222 w 276"/>
                    <a:gd name="T35" fmla="*/ 66 h 120"/>
                    <a:gd name="T36" fmla="*/ 222 w 276"/>
                    <a:gd name="T37" fmla="*/ 72 h 120"/>
                    <a:gd name="T38" fmla="*/ 228 w 276"/>
                    <a:gd name="T39" fmla="*/ 78 h 120"/>
                    <a:gd name="T40" fmla="*/ 234 w 276"/>
                    <a:gd name="T41" fmla="*/ 84 h 120"/>
                    <a:gd name="T42" fmla="*/ 252 w 276"/>
                    <a:gd name="T43" fmla="*/ 84 h 120"/>
                    <a:gd name="T44" fmla="*/ 264 w 276"/>
                    <a:gd name="T45" fmla="*/ 84 h 120"/>
                    <a:gd name="T46" fmla="*/ 276 w 276"/>
                    <a:gd name="T47" fmla="*/ 90 h 120"/>
                    <a:gd name="T48" fmla="*/ 276 w 276"/>
                    <a:gd name="T49" fmla="*/ 96 h 120"/>
                    <a:gd name="T50" fmla="*/ 276 w 276"/>
                    <a:gd name="T51" fmla="*/ 102 h 120"/>
                    <a:gd name="T52" fmla="*/ 264 w 276"/>
                    <a:gd name="T53" fmla="*/ 108 h 120"/>
                    <a:gd name="T54" fmla="*/ 252 w 276"/>
                    <a:gd name="T55" fmla="*/ 114 h 120"/>
                    <a:gd name="T56" fmla="*/ 234 w 276"/>
                    <a:gd name="T57" fmla="*/ 114 h 120"/>
                    <a:gd name="T58" fmla="*/ 210 w 276"/>
                    <a:gd name="T59" fmla="*/ 120 h 120"/>
                    <a:gd name="T60" fmla="*/ 192 w 276"/>
                    <a:gd name="T61" fmla="*/ 120 h 120"/>
                    <a:gd name="T62" fmla="*/ 174 w 276"/>
                    <a:gd name="T63" fmla="*/ 114 h 120"/>
                    <a:gd name="T64" fmla="*/ 162 w 276"/>
                    <a:gd name="T65" fmla="*/ 108 h 120"/>
                    <a:gd name="T66" fmla="*/ 150 w 276"/>
                    <a:gd name="T67" fmla="*/ 96 h 120"/>
                    <a:gd name="T68" fmla="*/ 138 w 276"/>
                    <a:gd name="T69" fmla="*/ 78 h 120"/>
                    <a:gd name="T70" fmla="*/ 120 w 276"/>
                    <a:gd name="T71" fmla="*/ 60 h 120"/>
                    <a:gd name="T72" fmla="*/ 84 w 276"/>
                    <a:gd name="T73" fmla="*/ 48 h 120"/>
                    <a:gd name="T74" fmla="*/ 48 w 276"/>
                    <a:gd name="T75" fmla="*/ 42 h 120"/>
                    <a:gd name="T76" fmla="*/ 18 w 276"/>
                    <a:gd name="T77" fmla="*/ 24 h 120"/>
                    <a:gd name="T78" fmla="*/ 6 w 276"/>
                    <a:gd name="T79" fmla="*/ 18 h 120"/>
                    <a:gd name="T80" fmla="*/ 0 w 276"/>
                    <a:gd name="T81" fmla="*/ 6 h 120"/>
                    <a:gd name="T82" fmla="*/ 6 w 276"/>
                    <a:gd name="T83" fmla="*/ 6 h 120"/>
                    <a:gd name="T84" fmla="*/ 6 w 276"/>
                    <a:gd name="T85" fmla="*/ 0 h 120"/>
                    <a:gd name="T86" fmla="*/ 18 w 276"/>
                    <a:gd name="T87" fmla="*/ 0 h 120"/>
                    <a:gd name="T88" fmla="*/ 30 w 276"/>
                    <a:gd name="T89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76" h="120">
                      <a:moveTo>
                        <a:pt x="30" y="0"/>
                      </a:moveTo>
                      <a:lnTo>
                        <a:pt x="42" y="0"/>
                      </a:lnTo>
                      <a:lnTo>
                        <a:pt x="54" y="0"/>
                      </a:lnTo>
                      <a:lnTo>
                        <a:pt x="60" y="0"/>
                      </a:lnTo>
                      <a:lnTo>
                        <a:pt x="72" y="0"/>
                      </a:lnTo>
                      <a:lnTo>
                        <a:pt x="84" y="6"/>
                      </a:lnTo>
                      <a:lnTo>
                        <a:pt x="126" y="12"/>
                      </a:lnTo>
                      <a:lnTo>
                        <a:pt x="174" y="18"/>
                      </a:lnTo>
                      <a:lnTo>
                        <a:pt x="210" y="18"/>
                      </a:lnTo>
                      <a:lnTo>
                        <a:pt x="228" y="24"/>
                      </a:lnTo>
                      <a:lnTo>
                        <a:pt x="240" y="30"/>
                      </a:lnTo>
                      <a:lnTo>
                        <a:pt x="240" y="36"/>
                      </a:lnTo>
                      <a:lnTo>
                        <a:pt x="246" y="42"/>
                      </a:lnTo>
                      <a:lnTo>
                        <a:pt x="240" y="54"/>
                      </a:lnTo>
                      <a:lnTo>
                        <a:pt x="234" y="54"/>
                      </a:lnTo>
                      <a:lnTo>
                        <a:pt x="228" y="60"/>
                      </a:lnTo>
                      <a:lnTo>
                        <a:pt x="222" y="60"/>
                      </a:lnTo>
                      <a:lnTo>
                        <a:pt x="222" y="66"/>
                      </a:lnTo>
                      <a:lnTo>
                        <a:pt x="222" y="72"/>
                      </a:lnTo>
                      <a:lnTo>
                        <a:pt x="228" y="78"/>
                      </a:lnTo>
                      <a:lnTo>
                        <a:pt x="234" y="84"/>
                      </a:lnTo>
                      <a:lnTo>
                        <a:pt x="252" y="84"/>
                      </a:lnTo>
                      <a:lnTo>
                        <a:pt x="264" y="84"/>
                      </a:lnTo>
                      <a:lnTo>
                        <a:pt x="276" y="90"/>
                      </a:lnTo>
                      <a:lnTo>
                        <a:pt x="276" y="96"/>
                      </a:lnTo>
                      <a:lnTo>
                        <a:pt x="276" y="102"/>
                      </a:lnTo>
                      <a:lnTo>
                        <a:pt x="264" y="108"/>
                      </a:lnTo>
                      <a:lnTo>
                        <a:pt x="252" y="114"/>
                      </a:lnTo>
                      <a:lnTo>
                        <a:pt x="234" y="114"/>
                      </a:lnTo>
                      <a:lnTo>
                        <a:pt x="210" y="120"/>
                      </a:lnTo>
                      <a:lnTo>
                        <a:pt x="192" y="120"/>
                      </a:lnTo>
                      <a:lnTo>
                        <a:pt x="174" y="114"/>
                      </a:lnTo>
                      <a:lnTo>
                        <a:pt x="162" y="108"/>
                      </a:lnTo>
                      <a:lnTo>
                        <a:pt x="150" y="96"/>
                      </a:lnTo>
                      <a:lnTo>
                        <a:pt x="138" y="78"/>
                      </a:lnTo>
                      <a:lnTo>
                        <a:pt x="120" y="60"/>
                      </a:lnTo>
                      <a:lnTo>
                        <a:pt x="84" y="48"/>
                      </a:lnTo>
                      <a:lnTo>
                        <a:pt x="48" y="42"/>
                      </a:lnTo>
                      <a:lnTo>
                        <a:pt x="18" y="24"/>
                      </a:lnTo>
                      <a:lnTo>
                        <a:pt x="6" y="18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18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3" name="Freeform 376">
                  <a:extLst>
                    <a:ext uri="{FF2B5EF4-FFF2-40B4-BE49-F238E27FC236}">
                      <a16:creationId xmlns:a16="http://schemas.microsoft.com/office/drawing/2014/main" id="{833C4FD1-EDAE-4A00-BFFA-BEC964BF6B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93" y="-6408"/>
                  <a:ext cx="162" cy="54"/>
                </a:xfrm>
                <a:custGeom>
                  <a:avLst/>
                  <a:gdLst>
                    <a:gd name="T0" fmla="*/ 54 w 162"/>
                    <a:gd name="T1" fmla="*/ 0 h 54"/>
                    <a:gd name="T2" fmla="*/ 78 w 162"/>
                    <a:gd name="T3" fmla="*/ 0 h 54"/>
                    <a:gd name="T4" fmla="*/ 108 w 162"/>
                    <a:gd name="T5" fmla="*/ 0 h 54"/>
                    <a:gd name="T6" fmla="*/ 126 w 162"/>
                    <a:gd name="T7" fmla="*/ 6 h 54"/>
                    <a:gd name="T8" fmla="*/ 144 w 162"/>
                    <a:gd name="T9" fmla="*/ 18 h 54"/>
                    <a:gd name="T10" fmla="*/ 156 w 162"/>
                    <a:gd name="T11" fmla="*/ 24 h 54"/>
                    <a:gd name="T12" fmla="*/ 162 w 162"/>
                    <a:gd name="T13" fmla="*/ 36 h 54"/>
                    <a:gd name="T14" fmla="*/ 156 w 162"/>
                    <a:gd name="T15" fmla="*/ 42 h 54"/>
                    <a:gd name="T16" fmla="*/ 150 w 162"/>
                    <a:gd name="T17" fmla="*/ 48 h 54"/>
                    <a:gd name="T18" fmla="*/ 120 w 162"/>
                    <a:gd name="T19" fmla="*/ 54 h 54"/>
                    <a:gd name="T20" fmla="*/ 72 w 162"/>
                    <a:gd name="T21" fmla="*/ 54 h 54"/>
                    <a:gd name="T22" fmla="*/ 30 w 162"/>
                    <a:gd name="T23" fmla="*/ 48 h 54"/>
                    <a:gd name="T24" fmla="*/ 18 w 162"/>
                    <a:gd name="T25" fmla="*/ 48 h 54"/>
                    <a:gd name="T26" fmla="*/ 6 w 162"/>
                    <a:gd name="T27" fmla="*/ 42 h 54"/>
                    <a:gd name="T28" fmla="*/ 0 w 162"/>
                    <a:gd name="T29" fmla="*/ 36 h 54"/>
                    <a:gd name="T30" fmla="*/ 0 w 162"/>
                    <a:gd name="T31" fmla="*/ 24 h 54"/>
                    <a:gd name="T32" fmla="*/ 0 w 162"/>
                    <a:gd name="T33" fmla="*/ 18 h 54"/>
                    <a:gd name="T34" fmla="*/ 6 w 162"/>
                    <a:gd name="T35" fmla="*/ 6 h 54"/>
                    <a:gd name="T36" fmla="*/ 18 w 162"/>
                    <a:gd name="T37" fmla="*/ 0 h 54"/>
                    <a:gd name="T38" fmla="*/ 30 w 162"/>
                    <a:gd name="T39" fmla="*/ 0 h 54"/>
                    <a:gd name="T40" fmla="*/ 54 w 162"/>
                    <a:gd name="T41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62" h="54">
                      <a:moveTo>
                        <a:pt x="54" y="0"/>
                      </a:moveTo>
                      <a:lnTo>
                        <a:pt x="78" y="0"/>
                      </a:lnTo>
                      <a:lnTo>
                        <a:pt x="108" y="0"/>
                      </a:lnTo>
                      <a:lnTo>
                        <a:pt x="126" y="6"/>
                      </a:lnTo>
                      <a:lnTo>
                        <a:pt x="144" y="18"/>
                      </a:lnTo>
                      <a:lnTo>
                        <a:pt x="156" y="24"/>
                      </a:lnTo>
                      <a:lnTo>
                        <a:pt x="162" y="36"/>
                      </a:lnTo>
                      <a:lnTo>
                        <a:pt x="156" y="42"/>
                      </a:lnTo>
                      <a:lnTo>
                        <a:pt x="150" y="48"/>
                      </a:lnTo>
                      <a:lnTo>
                        <a:pt x="120" y="54"/>
                      </a:lnTo>
                      <a:lnTo>
                        <a:pt x="72" y="54"/>
                      </a:lnTo>
                      <a:lnTo>
                        <a:pt x="30" y="48"/>
                      </a:lnTo>
                      <a:lnTo>
                        <a:pt x="18" y="48"/>
                      </a:lnTo>
                      <a:lnTo>
                        <a:pt x="6" y="42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8" y="0"/>
                      </a:lnTo>
                      <a:lnTo>
                        <a:pt x="30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4" name="Freeform 377">
                  <a:extLst>
                    <a:ext uri="{FF2B5EF4-FFF2-40B4-BE49-F238E27FC236}">
                      <a16:creationId xmlns:a16="http://schemas.microsoft.com/office/drawing/2014/main" id="{0047E85A-72FC-45E7-A1D8-56C3323591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77" y="-6996"/>
                  <a:ext cx="54" cy="96"/>
                </a:xfrm>
                <a:custGeom>
                  <a:avLst/>
                  <a:gdLst>
                    <a:gd name="T0" fmla="*/ 36 w 54"/>
                    <a:gd name="T1" fmla="*/ 0 h 96"/>
                    <a:gd name="T2" fmla="*/ 42 w 54"/>
                    <a:gd name="T3" fmla="*/ 6 h 96"/>
                    <a:gd name="T4" fmla="*/ 48 w 54"/>
                    <a:gd name="T5" fmla="*/ 18 h 96"/>
                    <a:gd name="T6" fmla="*/ 54 w 54"/>
                    <a:gd name="T7" fmla="*/ 30 h 96"/>
                    <a:gd name="T8" fmla="*/ 48 w 54"/>
                    <a:gd name="T9" fmla="*/ 48 h 96"/>
                    <a:gd name="T10" fmla="*/ 42 w 54"/>
                    <a:gd name="T11" fmla="*/ 66 h 96"/>
                    <a:gd name="T12" fmla="*/ 30 w 54"/>
                    <a:gd name="T13" fmla="*/ 84 h 96"/>
                    <a:gd name="T14" fmla="*/ 24 w 54"/>
                    <a:gd name="T15" fmla="*/ 96 h 96"/>
                    <a:gd name="T16" fmla="*/ 18 w 54"/>
                    <a:gd name="T17" fmla="*/ 96 h 96"/>
                    <a:gd name="T18" fmla="*/ 12 w 54"/>
                    <a:gd name="T19" fmla="*/ 90 h 96"/>
                    <a:gd name="T20" fmla="*/ 6 w 54"/>
                    <a:gd name="T21" fmla="*/ 84 h 96"/>
                    <a:gd name="T22" fmla="*/ 0 w 54"/>
                    <a:gd name="T23" fmla="*/ 66 h 96"/>
                    <a:gd name="T24" fmla="*/ 0 w 54"/>
                    <a:gd name="T25" fmla="*/ 54 h 96"/>
                    <a:gd name="T26" fmla="*/ 6 w 54"/>
                    <a:gd name="T27" fmla="*/ 36 h 96"/>
                    <a:gd name="T28" fmla="*/ 12 w 54"/>
                    <a:gd name="T29" fmla="*/ 18 h 96"/>
                    <a:gd name="T30" fmla="*/ 18 w 54"/>
                    <a:gd name="T31" fmla="*/ 6 h 96"/>
                    <a:gd name="T32" fmla="*/ 24 w 54"/>
                    <a:gd name="T33" fmla="*/ 0 h 96"/>
                    <a:gd name="T34" fmla="*/ 36 w 54"/>
                    <a:gd name="T35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" h="96">
                      <a:moveTo>
                        <a:pt x="36" y="0"/>
                      </a:moveTo>
                      <a:lnTo>
                        <a:pt x="42" y="6"/>
                      </a:lnTo>
                      <a:lnTo>
                        <a:pt x="48" y="18"/>
                      </a:lnTo>
                      <a:lnTo>
                        <a:pt x="54" y="30"/>
                      </a:lnTo>
                      <a:lnTo>
                        <a:pt x="48" y="48"/>
                      </a:lnTo>
                      <a:lnTo>
                        <a:pt x="42" y="66"/>
                      </a:lnTo>
                      <a:lnTo>
                        <a:pt x="30" y="84"/>
                      </a:lnTo>
                      <a:lnTo>
                        <a:pt x="24" y="96"/>
                      </a:lnTo>
                      <a:lnTo>
                        <a:pt x="18" y="96"/>
                      </a:lnTo>
                      <a:lnTo>
                        <a:pt x="12" y="90"/>
                      </a:lnTo>
                      <a:lnTo>
                        <a:pt x="6" y="84"/>
                      </a:lnTo>
                      <a:lnTo>
                        <a:pt x="0" y="66"/>
                      </a:lnTo>
                      <a:lnTo>
                        <a:pt x="0" y="54"/>
                      </a:lnTo>
                      <a:lnTo>
                        <a:pt x="6" y="36"/>
                      </a:lnTo>
                      <a:lnTo>
                        <a:pt x="12" y="18"/>
                      </a:lnTo>
                      <a:lnTo>
                        <a:pt x="18" y="6"/>
                      </a:lnTo>
                      <a:lnTo>
                        <a:pt x="24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5" name="Freeform 378">
                  <a:extLst>
                    <a:ext uri="{FF2B5EF4-FFF2-40B4-BE49-F238E27FC236}">
                      <a16:creationId xmlns:a16="http://schemas.microsoft.com/office/drawing/2014/main" id="{E96BEA38-073F-463B-8F07-1FB54AC7EA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577" y="-8562"/>
                  <a:ext cx="54" cy="96"/>
                </a:xfrm>
                <a:custGeom>
                  <a:avLst/>
                  <a:gdLst>
                    <a:gd name="T0" fmla="*/ 12 w 54"/>
                    <a:gd name="T1" fmla="*/ 0 h 96"/>
                    <a:gd name="T2" fmla="*/ 18 w 54"/>
                    <a:gd name="T3" fmla="*/ 0 h 96"/>
                    <a:gd name="T4" fmla="*/ 24 w 54"/>
                    <a:gd name="T5" fmla="*/ 6 h 96"/>
                    <a:gd name="T6" fmla="*/ 36 w 54"/>
                    <a:gd name="T7" fmla="*/ 12 h 96"/>
                    <a:gd name="T8" fmla="*/ 42 w 54"/>
                    <a:gd name="T9" fmla="*/ 30 h 96"/>
                    <a:gd name="T10" fmla="*/ 48 w 54"/>
                    <a:gd name="T11" fmla="*/ 54 h 96"/>
                    <a:gd name="T12" fmla="*/ 54 w 54"/>
                    <a:gd name="T13" fmla="*/ 72 h 96"/>
                    <a:gd name="T14" fmla="*/ 54 w 54"/>
                    <a:gd name="T15" fmla="*/ 84 h 96"/>
                    <a:gd name="T16" fmla="*/ 48 w 54"/>
                    <a:gd name="T17" fmla="*/ 90 h 96"/>
                    <a:gd name="T18" fmla="*/ 42 w 54"/>
                    <a:gd name="T19" fmla="*/ 96 h 96"/>
                    <a:gd name="T20" fmla="*/ 36 w 54"/>
                    <a:gd name="T21" fmla="*/ 96 h 96"/>
                    <a:gd name="T22" fmla="*/ 30 w 54"/>
                    <a:gd name="T23" fmla="*/ 90 h 96"/>
                    <a:gd name="T24" fmla="*/ 18 w 54"/>
                    <a:gd name="T25" fmla="*/ 84 h 96"/>
                    <a:gd name="T26" fmla="*/ 12 w 54"/>
                    <a:gd name="T27" fmla="*/ 72 h 96"/>
                    <a:gd name="T28" fmla="*/ 6 w 54"/>
                    <a:gd name="T29" fmla="*/ 66 h 96"/>
                    <a:gd name="T30" fmla="*/ 6 w 54"/>
                    <a:gd name="T31" fmla="*/ 54 h 96"/>
                    <a:gd name="T32" fmla="*/ 0 w 54"/>
                    <a:gd name="T33" fmla="*/ 30 h 96"/>
                    <a:gd name="T34" fmla="*/ 0 w 54"/>
                    <a:gd name="T35" fmla="*/ 12 h 96"/>
                    <a:gd name="T36" fmla="*/ 6 w 54"/>
                    <a:gd name="T37" fmla="*/ 6 h 96"/>
                    <a:gd name="T38" fmla="*/ 12 w 54"/>
                    <a:gd name="T39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4" h="96">
                      <a:moveTo>
                        <a:pt x="12" y="0"/>
                      </a:moveTo>
                      <a:lnTo>
                        <a:pt x="18" y="0"/>
                      </a:lnTo>
                      <a:lnTo>
                        <a:pt x="24" y="6"/>
                      </a:lnTo>
                      <a:lnTo>
                        <a:pt x="36" y="12"/>
                      </a:lnTo>
                      <a:lnTo>
                        <a:pt x="42" y="30"/>
                      </a:lnTo>
                      <a:lnTo>
                        <a:pt x="48" y="54"/>
                      </a:lnTo>
                      <a:lnTo>
                        <a:pt x="54" y="72"/>
                      </a:lnTo>
                      <a:lnTo>
                        <a:pt x="54" y="84"/>
                      </a:lnTo>
                      <a:lnTo>
                        <a:pt x="48" y="90"/>
                      </a:lnTo>
                      <a:lnTo>
                        <a:pt x="42" y="96"/>
                      </a:lnTo>
                      <a:lnTo>
                        <a:pt x="36" y="96"/>
                      </a:lnTo>
                      <a:lnTo>
                        <a:pt x="30" y="90"/>
                      </a:lnTo>
                      <a:lnTo>
                        <a:pt x="18" y="84"/>
                      </a:lnTo>
                      <a:lnTo>
                        <a:pt x="12" y="72"/>
                      </a:lnTo>
                      <a:lnTo>
                        <a:pt x="6" y="66"/>
                      </a:lnTo>
                      <a:lnTo>
                        <a:pt x="6" y="54"/>
                      </a:lnTo>
                      <a:lnTo>
                        <a:pt x="0" y="30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6" name="Freeform 379">
                  <a:extLst>
                    <a:ext uri="{FF2B5EF4-FFF2-40B4-BE49-F238E27FC236}">
                      <a16:creationId xmlns:a16="http://schemas.microsoft.com/office/drawing/2014/main" id="{46363841-E16E-4967-9EA3-79A2197046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097" y="-8574"/>
                  <a:ext cx="48" cy="90"/>
                </a:xfrm>
                <a:custGeom>
                  <a:avLst/>
                  <a:gdLst>
                    <a:gd name="T0" fmla="*/ 24 w 48"/>
                    <a:gd name="T1" fmla="*/ 0 h 90"/>
                    <a:gd name="T2" fmla="*/ 36 w 48"/>
                    <a:gd name="T3" fmla="*/ 6 h 90"/>
                    <a:gd name="T4" fmla="*/ 42 w 48"/>
                    <a:gd name="T5" fmla="*/ 12 h 90"/>
                    <a:gd name="T6" fmla="*/ 48 w 48"/>
                    <a:gd name="T7" fmla="*/ 24 h 90"/>
                    <a:gd name="T8" fmla="*/ 48 w 48"/>
                    <a:gd name="T9" fmla="*/ 48 h 90"/>
                    <a:gd name="T10" fmla="*/ 48 w 48"/>
                    <a:gd name="T11" fmla="*/ 54 h 90"/>
                    <a:gd name="T12" fmla="*/ 48 w 48"/>
                    <a:gd name="T13" fmla="*/ 66 h 90"/>
                    <a:gd name="T14" fmla="*/ 42 w 48"/>
                    <a:gd name="T15" fmla="*/ 78 h 90"/>
                    <a:gd name="T16" fmla="*/ 36 w 48"/>
                    <a:gd name="T17" fmla="*/ 84 h 90"/>
                    <a:gd name="T18" fmla="*/ 24 w 48"/>
                    <a:gd name="T19" fmla="*/ 90 h 90"/>
                    <a:gd name="T20" fmla="*/ 18 w 48"/>
                    <a:gd name="T21" fmla="*/ 90 h 90"/>
                    <a:gd name="T22" fmla="*/ 12 w 48"/>
                    <a:gd name="T23" fmla="*/ 90 h 90"/>
                    <a:gd name="T24" fmla="*/ 6 w 48"/>
                    <a:gd name="T25" fmla="*/ 84 h 90"/>
                    <a:gd name="T26" fmla="*/ 0 w 48"/>
                    <a:gd name="T27" fmla="*/ 66 h 90"/>
                    <a:gd name="T28" fmla="*/ 0 w 48"/>
                    <a:gd name="T29" fmla="*/ 48 h 90"/>
                    <a:gd name="T30" fmla="*/ 0 w 48"/>
                    <a:gd name="T31" fmla="*/ 36 h 90"/>
                    <a:gd name="T32" fmla="*/ 6 w 48"/>
                    <a:gd name="T33" fmla="*/ 24 h 90"/>
                    <a:gd name="T34" fmla="*/ 12 w 48"/>
                    <a:gd name="T35" fmla="*/ 12 h 90"/>
                    <a:gd name="T36" fmla="*/ 18 w 48"/>
                    <a:gd name="T37" fmla="*/ 6 h 90"/>
                    <a:gd name="T38" fmla="*/ 24 w 48"/>
                    <a:gd name="T39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8" h="90">
                      <a:moveTo>
                        <a:pt x="24" y="0"/>
                      </a:moveTo>
                      <a:lnTo>
                        <a:pt x="36" y="6"/>
                      </a:lnTo>
                      <a:lnTo>
                        <a:pt x="42" y="12"/>
                      </a:lnTo>
                      <a:lnTo>
                        <a:pt x="48" y="24"/>
                      </a:lnTo>
                      <a:lnTo>
                        <a:pt x="48" y="48"/>
                      </a:lnTo>
                      <a:lnTo>
                        <a:pt x="48" y="54"/>
                      </a:lnTo>
                      <a:lnTo>
                        <a:pt x="48" y="66"/>
                      </a:lnTo>
                      <a:lnTo>
                        <a:pt x="42" y="78"/>
                      </a:lnTo>
                      <a:lnTo>
                        <a:pt x="36" y="84"/>
                      </a:lnTo>
                      <a:lnTo>
                        <a:pt x="24" y="90"/>
                      </a:lnTo>
                      <a:lnTo>
                        <a:pt x="18" y="90"/>
                      </a:lnTo>
                      <a:lnTo>
                        <a:pt x="12" y="90"/>
                      </a:lnTo>
                      <a:lnTo>
                        <a:pt x="6" y="84"/>
                      </a:lnTo>
                      <a:lnTo>
                        <a:pt x="0" y="66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6" y="24"/>
                      </a:lnTo>
                      <a:lnTo>
                        <a:pt x="12" y="12"/>
                      </a:lnTo>
                      <a:lnTo>
                        <a:pt x="18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7" name="Freeform 380">
                  <a:extLst>
                    <a:ext uri="{FF2B5EF4-FFF2-40B4-BE49-F238E27FC236}">
                      <a16:creationId xmlns:a16="http://schemas.microsoft.com/office/drawing/2014/main" id="{C3A2F175-84A0-47E9-B159-FF7C7B53E9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239" y="-7932"/>
                  <a:ext cx="60" cy="54"/>
                </a:xfrm>
                <a:custGeom>
                  <a:avLst/>
                  <a:gdLst>
                    <a:gd name="T0" fmla="*/ 36 w 60"/>
                    <a:gd name="T1" fmla="*/ 0 h 54"/>
                    <a:gd name="T2" fmla="*/ 48 w 60"/>
                    <a:gd name="T3" fmla="*/ 6 h 54"/>
                    <a:gd name="T4" fmla="*/ 54 w 60"/>
                    <a:gd name="T5" fmla="*/ 12 h 54"/>
                    <a:gd name="T6" fmla="*/ 60 w 60"/>
                    <a:gd name="T7" fmla="*/ 24 h 54"/>
                    <a:gd name="T8" fmla="*/ 60 w 60"/>
                    <a:gd name="T9" fmla="*/ 36 h 54"/>
                    <a:gd name="T10" fmla="*/ 54 w 60"/>
                    <a:gd name="T11" fmla="*/ 42 h 54"/>
                    <a:gd name="T12" fmla="*/ 48 w 60"/>
                    <a:gd name="T13" fmla="*/ 54 h 54"/>
                    <a:gd name="T14" fmla="*/ 36 w 60"/>
                    <a:gd name="T15" fmla="*/ 54 h 54"/>
                    <a:gd name="T16" fmla="*/ 24 w 60"/>
                    <a:gd name="T17" fmla="*/ 54 h 54"/>
                    <a:gd name="T18" fmla="*/ 12 w 60"/>
                    <a:gd name="T19" fmla="*/ 48 h 54"/>
                    <a:gd name="T20" fmla="*/ 6 w 60"/>
                    <a:gd name="T21" fmla="*/ 42 h 54"/>
                    <a:gd name="T22" fmla="*/ 0 w 60"/>
                    <a:gd name="T23" fmla="*/ 30 h 54"/>
                    <a:gd name="T24" fmla="*/ 6 w 60"/>
                    <a:gd name="T25" fmla="*/ 24 h 54"/>
                    <a:gd name="T26" fmla="*/ 18 w 60"/>
                    <a:gd name="T27" fmla="*/ 6 h 54"/>
                    <a:gd name="T28" fmla="*/ 30 w 60"/>
                    <a:gd name="T29" fmla="*/ 0 h 54"/>
                    <a:gd name="T30" fmla="*/ 36 w 60"/>
                    <a:gd name="T31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0" h="54">
                      <a:moveTo>
                        <a:pt x="36" y="0"/>
                      </a:moveTo>
                      <a:lnTo>
                        <a:pt x="48" y="6"/>
                      </a:lnTo>
                      <a:lnTo>
                        <a:pt x="54" y="12"/>
                      </a:lnTo>
                      <a:lnTo>
                        <a:pt x="60" y="24"/>
                      </a:lnTo>
                      <a:lnTo>
                        <a:pt x="60" y="36"/>
                      </a:lnTo>
                      <a:lnTo>
                        <a:pt x="54" y="42"/>
                      </a:lnTo>
                      <a:lnTo>
                        <a:pt x="48" y="54"/>
                      </a:lnTo>
                      <a:lnTo>
                        <a:pt x="36" y="54"/>
                      </a:lnTo>
                      <a:lnTo>
                        <a:pt x="24" y="54"/>
                      </a:lnTo>
                      <a:lnTo>
                        <a:pt x="12" y="48"/>
                      </a:lnTo>
                      <a:lnTo>
                        <a:pt x="6" y="42"/>
                      </a:lnTo>
                      <a:lnTo>
                        <a:pt x="0" y="30"/>
                      </a:lnTo>
                      <a:lnTo>
                        <a:pt x="6" y="24"/>
                      </a:lnTo>
                      <a:lnTo>
                        <a:pt x="18" y="6"/>
                      </a:lnTo>
                      <a:lnTo>
                        <a:pt x="3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8" name="Freeform 381">
                  <a:extLst>
                    <a:ext uri="{FF2B5EF4-FFF2-40B4-BE49-F238E27FC236}">
                      <a16:creationId xmlns:a16="http://schemas.microsoft.com/office/drawing/2014/main" id="{169E7C01-2075-4F01-B001-32F60C2A6B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47" y="-7548"/>
                  <a:ext cx="60" cy="60"/>
                </a:xfrm>
                <a:custGeom>
                  <a:avLst/>
                  <a:gdLst>
                    <a:gd name="T0" fmla="*/ 42 w 60"/>
                    <a:gd name="T1" fmla="*/ 0 h 60"/>
                    <a:gd name="T2" fmla="*/ 54 w 60"/>
                    <a:gd name="T3" fmla="*/ 0 h 60"/>
                    <a:gd name="T4" fmla="*/ 60 w 60"/>
                    <a:gd name="T5" fmla="*/ 6 h 60"/>
                    <a:gd name="T6" fmla="*/ 60 w 60"/>
                    <a:gd name="T7" fmla="*/ 12 h 60"/>
                    <a:gd name="T8" fmla="*/ 60 w 60"/>
                    <a:gd name="T9" fmla="*/ 24 h 60"/>
                    <a:gd name="T10" fmla="*/ 48 w 60"/>
                    <a:gd name="T11" fmla="*/ 36 h 60"/>
                    <a:gd name="T12" fmla="*/ 36 w 60"/>
                    <a:gd name="T13" fmla="*/ 48 h 60"/>
                    <a:gd name="T14" fmla="*/ 24 w 60"/>
                    <a:gd name="T15" fmla="*/ 60 h 60"/>
                    <a:gd name="T16" fmla="*/ 12 w 60"/>
                    <a:gd name="T17" fmla="*/ 60 h 60"/>
                    <a:gd name="T18" fmla="*/ 6 w 60"/>
                    <a:gd name="T19" fmla="*/ 60 h 60"/>
                    <a:gd name="T20" fmla="*/ 0 w 60"/>
                    <a:gd name="T21" fmla="*/ 54 h 60"/>
                    <a:gd name="T22" fmla="*/ 0 w 60"/>
                    <a:gd name="T23" fmla="*/ 42 h 60"/>
                    <a:gd name="T24" fmla="*/ 0 w 60"/>
                    <a:gd name="T25" fmla="*/ 36 h 60"/>
                    <a:gd name="T26" fmla="*/ 6 w 60"/>
                    <a:gd name="T27" fmla="*/ 24 h 60"/>
                    <a:gd name="T28" fmla="*/ 18 w 60"/>
                    <a:gd name="T29" fmla="*/ 12 h 60"/>
                    <a:gd name="T30" fmla="*/ 30 w 60"/>
                    <a:gd name="T31" fmla="*/ 6 h 60"/>
                    <a:gd name="T32" fmla="*/ 42 w 60"/>
                    <a:gd name="T3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" h="60">
                      <a:moveTo>
                        <a:pt x="42" y="0"/>
                      </a:moveTo>
                      <a:lnTo>
                        <a:pt x="54" y="0"/>
                      </a:lnTo>
                      <a:lnTo>
                        <a:pt x="60" y="6"/>
                      </a:lnTo>
                      <a:lnTo>
                        <a:pt x="60" y="12"/>
                      </a:lnTo>
                      <a:lnTo>
                        <a:pt x="60" y="24"/>
                      </a:lnTo>
                      <a:lnTo>
                        <a:pt x="48" y="36"/>
                      </a:lnTo>
                      <a:lnTo>
                        <a:pt x="36" y="48"/>
                      </a:lnTo>
                      <a:lnTo>
                        <a:pt x="24" y="60"/>
                      </a:lnTo>
                      <a:lnTo>
                        <a:pt x="12" y="60"/>
                      </a:lnTo>
                      <a:lnTo>
                        <a:pt x="6" y="60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0" y="36"/>
                      </a:lnTo>
                      <a:lnTo>
                        <a:pt x="6" y="24"/>
                      </a:lnTo>
                      <a:lnTo>
                        <a:pt x="18" y="12"/>
                      </a:lnTo>
                      <a:lnTo>
                        <a:pt x="30" y="6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19" name="Freeform 382">
                  <a:extLst>
                    <a:ext uri="{FF2B5EF4-FFF2-40B4-BE49-F238E27FC236}">
                      <a16:creationId xmlns:a16="http://schemas.microsoft.com/office/drawing/2014/main" id="{170E9B5F-6BA5-41A1-90B0-889FB9F9A3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921" y="-5178"/>
                  <a:ext cx="954" cy="558"/>
                </a:xfrm>
                <a:custGeom>
                  <a:avLst/>
                  <a:gdLst>
                    <a:gd name="T0" fmla="*/ 246 w 954"/>
                    <a:gd name="T1" fmla="*/ 30 h 558"/>
                    <a:gd name="T2" fmla="*/ 264 w 954"/>
                    <a:gd name="T3" fmla="*/ 84 h 558"/>
                    <a:gd name="T4" fmla="*/ 276 w 954"/>
                    <a:gd name="T5" fmla="*/ 114 h 558"/>
                    <a:gd name="T6" fmla="*/ 276 w 954"/>
                    <a:gd name="T7" fmla="*/ 156 h 558"/>
                    <a:gd name="T8" fmla="*/ 264 w 954"/>
                    <a:gd name="T9" fmla="*/ 198 h 558"/>
                    <a:gd name="T10" fmla="*/ 318 w 954"/>
                    <a:gd name="T11" fmla="*/ 210 h 558"/>
                    <a:gd name="T12" fmla="*/ 348 w 954"/>
                    <a:gd name="T13" fmla="*/ 168 h 558"/>
                    <a:gd name="T14" fmla="*/ 372 w 954"/>
                    <a:gd name="T15" fmla="*/ 144 h 558"/>
                    <a:gd name="T16" fmla="*/ 366 w 954"/>
                    <a:gd name="T17" fmla="*/ 84 h 558"/>
                    <a:gd name="T18" fmla="*/ 402 w 954"/>
                    <a:gd name="T19" fmla="*/ 108 h 558"/>
                    <a:gd name="T20" fmla="*/ 420 w 954"/>
                    <a:gd name="T21" fmla="*/ 84 h 558"/>
                    <a:gd name="T22" fmla="*/ 480 w 954"/>
                    <a:gd name="T23" fmla="*/ 66 h 558"/>
                    <a:gd name="T24" fmla="*/ 522 w 954"/>
                    <a:gd name="T25" fmla="*/ 126 h 558"/>
                    <a:gd name="T26" fmla="*/ 540 w 954"/>
                    <a:gd name="T27" fmla="*/ 90 h 558"/>
                    <a:gd name="T28" fmla="*/ 582 w 954"/>
                    <a:gd name="T29" fmla="*/ 84 h 558"/>
                    <a:gd name="T30" fmla="*/ 648 w 954"/>
                    <a:gd name="T31" fmla="*/ 84 h 558"/>
                    <a:gd name="T32" fmla="*/ 696 w 954"/>
                    <a:gd name="T33" fmla="*/ 12 h 558"/>
                    <a:gd name="T34" fmla="*/ 744 w 954"/>
                    <a:gd name="T35" fmla="*/ 24 h 558"/>
                    <a:gd name="T36" fmla="*/ 786 w 954"/>
                    <a:gd name="T37" fmla="*/ 36 h 558"/>
                    <a:gd name="T38" fmla="*/ 888 w 954"/>
                    <a:gd name="T39" fmla="*/ 42 h 558"/>
                    <a:gd name="T40" fmla="*/ 864 w 954"/>
                    <a:gd name="T41" fmla="*/ 102 h 558"/>
                    <a:gd name="T42" fmla="*/ 906 w 954"/>
                    <a:gd name="T43" fmla="*/ 156 h 558"/>
                    <a:gd name="T44" fmla="*/ 954 w 954"/>
                    <a:gd name="T45" fmla="*/ 204 h 558"/>
                    <a:gd name="T46" fmla="*/ 948 w 954"/>
                    <a:gd name="T47" fmla="*/ 276 h 558"/>
                    <a:gd name="T48" fmla="*/ 930 w 954"/>
                    <a:gd name="T49" fmla="*/ 294 h 558"/>
                    <a:gd name="T50" fmla="*/ 942 w 954"/>
                    <a:gd name="T51" fmla="*/ 336 h 558"/>
                    <a:gd name="T52" fmla="*/ 882 w 954"/>
                    <a:gd name="T53" fmla="*/ 366 h 558"/>
                    <a:gd name="T54" fmla="*/ 864 w 954"/>
                    <a:gd name="T55" fmla="*/ 426 h 558"/>
                    <a:gd name="T56" fmla="*/ 780 w 954"/>
                    <a:gd name="T57" fmla="*/ 450 h 558"/>
                    <a:gd name="T58" fmla="*/ 648 w 954"/>
                    <a:gd name="T59" fmla="*/ 498 h 558"/>
                    <a:gd name="T60" fmla="*/ 462 w 954"/>
                    <a:gd name="T61" fmla="*/ 558 h 558"/>
                    <a:gd name="T62" fmla="*/ 264 w 954"/>
                    <a:gd name="T63" fmla="*/ 468 h 558"/>
                    <a:gd name="T64" fmla="*/ 210 w 954"/>
                    <a:gd name="T65" fmla="*/ 450 h 558"/>
                    <a:gd name="T66" fmla="*/ 138 w 954"/>
                    <a:gd name="T67" fmla="*/ 438 h 558"/>
                    <a:gd name="T68" fmla="*/ 120 w 954"/>
                    <a:gd name="T69" fmla="*/ 408 h 558"/>
                    <a:gd name="T70" fmla="*/ 198 w 954"/>
                    <a:gd name="T71" fmla="*/ 360 h 558"/>
                    <a:gd name="T72" fmla="*/ 180 w 954"/>
                    <a:gd name="T73" fmla="*/ 312 h 558"/>
                    <a:gd name="T74" fmla="*/ 108 w 954"/>
                    <a:gd name="T75" fmla="*/ 306 h 558"/>
                    <a:gd name="T76" fmla="*/ 48 w 954"/>
                    <a:gd name="T77" fmla="*/ 258 h 558"/>
                    <a:gd name="T78" fmla="*/ 120 w 954"/>
                    <a:gd name="T79" fmla="*/ 252 h 558"/>
                    <a:gd name="T80" fmla="*/ 198 w 954"/>
                    <a:gd name="T81" fmla="*/ 240 h 558"/>
                    <a:gd name="T82" fmla="*/ 192 w 954"/>
                    <a:gd name="T83" fmla="*/ 174 h 558"/>
                    <a:gd name="T84" fmla="*/ 126 w 954"/>
                    <a:gd name="T85" fmla="*/ 174 h 558"/>
                    <a:gd name="T86" fmla="*/ 48 w 954"/>
                    <a:gd name="T87" fmla="*/ 192 h 558"/>
                    <a:gd name="T88" fmla="*/ 0 w 954"/>
                    <a:gd name="T89" fmla="*/ 162 h 558"/>
                    <a:gd name="T90" fmla="*/ 48 w 954"/>
                    <a:gd name="T91" fmla="*/ 132 h 558"/>
                    <a:gd name="T92" fmla="*/ 66 w 954"/>
                    <a:gd name="T93" fmla="*/ 114 h 558"/>
                    <a:gd name="T94" fmla="*/ 54 w 954"/>
                    <a:gd name="T95" fmla="*/ 66 h 558"/>
                    <a:gd name="T96" fmla="*/ 96 w 954"/>
                    <a:gd name="T97" fmla="*/ 54 h 558"/>
                    <a:gd name="T98" fmla="*/ 156 w 954"/>
                    <a:gd name="T99" fmla="*/ 90 h 558"/>
                    <a:gd name="T100" fmla="*/ 162 w 954"/>
                    <a:gd name="T101" fmla="*/ 48 h 558"/>
                    <a:gd name="T102" fmla="*/ 180 w 954"/>
                    <a:gd name="T103" fmla="*/ 0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954" h="558">
                      <a:moveTo>
                        <a:pt x="180" y="0"/>
                      </a:moveTo>
                      <a:lnTo>
                        <a:pt x="198" y="6"/>
                      </a:lnTo>
                      <a:lnTo>
                        <a:pt x="210" y="12"/>
                      </a:lnTo>
                      <a:lnTo>
                        <a:pt x="228" y="18"/>
                      </a:lnTo>
                      <a:lnTo>
                        <a:pt x="246" y="30"/>
                      </a:lnTo>
                      <a:lnTo>
                        <a:pt x="264" y="36"/>
                      </a:lnTo>
                      <a:lnTo>
                        <a:pt x="270" y="48"/>
                      </a:lnTo>
                      <a:lnTo>
                        <a:pt x="276" y="54"/>
                      </a:lnTo>
                      <a:lnTo>
                        <a:pt x="270" y="66"/>
                      </a:lnTo>
                      <a:lnTo>
                        <a:pt x="264" y="84"/>
                      </a:lnTo>
                      <a:lnTo>
                        <a:pt x="264" y="96"/>
                      </a:lnTo>
                      <a:lnTo>
                        <a:pt x="264" y="108"/>
                      </a:lnTo>
                      <a:lnTo>
                        <a:pt x="264" y="114"/>
                      </a:lnTo>
                      <a:lnTo>
                        <a:pt x="276" y="114"/>
                      </a:lnTo>
                      <a:lnTo>
                        <a:pt x="276" y="114"/>
                      </a:lnTo>
                      <a:lnTo>
                        <a:pt x="282" y="126"/>
                      </a:lnTo>
                      <a:lnTo>
                        <a:pt x="282" y="132"/>
                      </a:lnTo>
                      <a:lnTo>
                        <a:pt x="282" y="144"/>
                      </a:lnTo>
                      <a:lnTo>
                        <a:pt x="282" y="150"/>
                      </a:lnTo>
                      <a:lnTo>
                        <a:pt x="276" y="156"/>
                      </a:lnTo>
                      <a:lnTo>
                        <a:pt x="258" y="156"/>
                      </a:lnTo>
                      <a:lnTo>
                        <a:pt x="252" y="162"/>
                      </a:lnTo>
                      <a:lnTo>
                        <a:pt x="252" y="174"/>
                      </a:lnTo>
                      <a:lnTo>
                        <a:pt x="252" y="186"/>
                      </a:lnTo>
                      <a:lnTo>
                        <a:pt x="264" y="198"/>
                      </a:lnTo>
                      <a:lnTo>
                        <a:pt x="282" y="204"/>
                      </a:lnTo>
                      <a:lnTo>
                        <a:pt x="294" y="210"/>
                      </a:lnTo>
                      <a:lnTo>
                        <a:pt x="306" y="216"/>
                      </a:lnTo>
                      <a:lnTo>
                        <a:pt x="312" y="216"/>
                      </a:lnTo>
                      <a:lnTo>
                        <a:pt x="318" y="210"/>
                      </a:lnTo>
                      <a:lnTo>
                        <a:pt x="324" y="198"/>
                      </a:lnTo>
                      <a:lnTo>
                        <a:pt x="324" y="180"/>
                      </a:lnTo>
                      <a:lnTo>
                        <a:pt x="330" y="174"/>
                      </a:lnTo>
                      <a:lnTo>
                        <a:pt x="336" y="174"/>
                      </a:lnTo>
                      <a:lnTo>
                        <a:pt x="348" y="168"/>
                      </a:lnTo>
                      <a:lnTo>
                        <a:pt x="360" y="168"/>
                      </a:lnTo>
                      <a:lnTo>
                        <a:pt x="372" y="168"/>
                      </a:lnTo>
                      <a:lnTo>
                        <a:pt x="378" y="162"/>
                      </a:lnTo>
                      <a:lnTo>
                        <a:pt x="372" y="156"/>
                      </a:lnTo>
                      <a:lnTo>
                        <a:pt x="372" y="144"/>
                      </a:lnTo>
                      <a:lnTo>
                        <a:pt x="366" y="132"/>
                      </a:lnTo>
                      <a:lnTo>
                        <a:pt x="360" y="120"/>
                      </a:lnTo>
                      <a:lnTo>
                        <a:pt x="360" y="102"/>
                      </a:lnTo>
                      <a:lnTo>
                        <a:pt x="360" y="90"/>
                      </a:lnTo>
                      <a:lnTo>
                        <a:pt x="366" y="84"/>
                      </a:lnTo>
                      <a:lnTo>
                        <a:pt x="366" y="78"/>
                      </a:lnTo>
                      <a:lnTo>
                        <a:pt x="378" y="84"/>
                      </a:lnTo>
                      <a:lnTo>
                        <a:pt x="384" y="90"/>
                      </a:lnTo>
                      <a:lnTo>
                        <a:pt x="396" y="102"/>
                      </a:lnTo>
                      <a:lnTo>
                        <a:pt x="402" y="108"/>
                      </a:lnTo>
                      <a:lnTo>
                        <a:pt x="408" y="114"/>
                      </a:lnTo>
                      <a:lnTo>
                        <a:pt x="414" y="114"/>
                      </a:lnTo>
                      <a:lnTo>
                        <a:pt x="420" y="108"/>
                      </a:lnTo>
                      <a:lnTo>
                        <a:pt x="420" y="96"/>
                      </a:lnTo>
                      <a:lnTo>
                        <a:pt x="420" y="84"/>
                      </a:lnTo>
                      <a:lnTo>
                        <a:pt x="426" y="72"/>
                      </a:lnTo>
                      <a:lnTo>
                        <a:pt x="438" y="60"/>
                      </a:lnTo>
                      <a:lnTo>
                        <a:pt x="450" y="60"/>
                      </a:lnTo>
                      <a:lnTo>
                        <a:pt x="462" y="60"/>
                      </a:lnTo>
                      <a:lnTo>
                        <a:pt x="480" y="66"/>
                      </a:lnTo>
                      <a:lnTo>
                        <a:pt x="486" y="78"/>
                      </a:lnTo>
                      <a:lnTo>
                        <a:pt x="498" y="96"/>
                      </a:lnTo>
                      <a:lnTo>
                        <a:pt x="504" y="108"/>
                      </a:lnTo>
                      <a:lnTo>
                        <a:pt x="510" y="120"/>
                      </a:lnTo>
                      <a:lnTo>
                        <a:pt x="522" y="126"/>
                      </a:lnTo>
                      <a:lnTo>
                        <a:pt x="528" y="126"/>
                      </a:lnTo>
                      <a:lnTo>
                        <a:pt x="534" y="126"/>
                      </a:lnTo>
                      <a:lnTo>
                        <a:pt x="534" y="120"/>
                      </a:lnTo>
                      <a:lnTo>
                        <a:pt x="540" y="108"/>
                      </a:lnTo>
                      <a:lnTo>
                        <a:pt x="540" y="90"/>
                      </a:lnTo>
                      <a:lnTo>
                        <a:pt x="540" y="78"/>
                      </a:lnTo>
                      <a:lnTo>
                        <a:pt x="546" y="72"/>
                      </a:lnTo>
                      <a:lnTo>
                        <a:pt x="558" y="72"/>
                      </a:lnTo>
                      <a:lnTo>
                        <a:pt x="570" y="78"/>
                      </a:lnTo>
                      <a:lnTo>
                        <a:pt x="582" y="84"/>
                      </a:lnTo>
                      <a:lnTo>
                        <a:pt x="594" y="90"/>
                      </a:lnTo>
                      <a:lnTo>
                        <a:pt x="612" y="96"/>
                      </a:lnTo>
                      <a:lnTo>
                        <a:pt x="624" y="96"/>
                      </a:lnTo>
                      <a:lnTo>
                        <a:pt x="636" y="90"/>
                      </a:lnTo>
                      <a:lnTo>
                        <a:pt x="648" y="84"/>
                      </a:lnTo>
                      <a:lnTo>
                        <a:pt x="654" y="66"/>
                      </a:lnTo>
                      <a:lnTo>
                        <a:pt x="660" y="48"/>
                      </a:lnTo>
                      <a:lnTo>
                        <a:pt x="666" y="30"/>
                      </a:lnTo>
                      <a:lnTo>
                        <a:pt x="678" y="18"/>
                      </a:lnTo>
                      <a:lnTo>
                        <a:pt x="696" y="12"/>
                      </a:lnTo>
                      <a:lnTo>
                        <a:pt x="714" y="6"/>
                      </a:lnTo>
                      <a:lnTo>
                        <a:pt x="726" y="6"/>
                      </a:lnTo>
                      <a:lnTo>
                        <a:pt x="738" y="12"/>
                      </a:lnTo>
                      <a:lnTo>
                        <a:pt x="744" y="18"/>
                      </a:lnTo>
                      <a:lnTo>
                        <a:pt x="744" y="24"/>
                      </a:lnTo>
                      <a:lnTo>
                        <a:pt x="750" y="36"/>
                      </a:lnTo>
                      <a:lnTo>
                        <a:pt x="756" y="42"/>
                      </a:lnTo>
                      <a:lnTo>
                        <a:pt x="762" y="48"/>
                      </a:lnTo>
                      <a:lnTo>
                        <a:pt x="768" y="42"/>
                      </a:lnTo>
                      <a:lnTo>
                        <a:pt x="786" y="36"/>
                      </a:lnTo>
                      <a:lnTo>
                        <a:pt x="816" y="18"/>
                      </a:lnTo>
                      <a:lnTo>
                        <a:pt x="846" y="12"/>
                      </a:lnTo>
                      <a:lnTo>
                        <a:pt x="870" y="12"/>
                      </a:lnTo>
                      <a:lnTo>
                        <a:pt x="888" y="24"/>
                      </a:lnTo>
                      <a:lnTo>
                        <a:pt x="888" y="42"/>
                      </a:lnTo>
                      <a:lnTo>
                        <a:pt x="888" y="60"/>
                      </a:lnTo>
                      <a:lnTo>
                        <a:pt x="888" y="72"/>
                      </a:lnTo>
                      <a:lnTo>
                        <a:pt x="876" y="90"/>
                      </a:lnTo>
                      <a:lnTo>
                        <a:pt x="870" y="96"/>
                      </a:lnTo>
                      <a:lnTo>
                        <a:pt x="864" y="102"/>
                      </a:lnTo>
                      <a:lnTo>
                        <a:pt x="864" y="114"/>
                      </a:lnTo>
                      <a:lnTo>
                        <a:pt x="870" y="120"/>
                      </a:lnTo>
                      <a:lnTo>
                        <a:pt x="876" y="132"/>
                      </a:lnTo>
                      <a:lnTo>
                        <a:pt x="894" y="144"/>
                      </a:lnTo>
                      <a:lnTo>
                        <a:pt x="906" y="156"/>
                      </a:lnTo>
                      <a:lnTo>
                        <a:pt x="918" y="162"/>
                      </a:lnTo>
                      <a:lnTo>
                        <a:pt x="930" y="168"/>
                      </a:lnTo>
                      <a:lnTo>
                        <a:pt x="942" y="180"/>
                      </a:lnTo>
                      <a:lnTo>
                        <a:pt x="948" y="186"/>
                      </a:lnTo>
                      <a:lnTo>
                        <a:pt x="954" y="204"/>
                      </a:lnTo>
                      <a:lnTo>
                        <a:pt x="954" y="222"/>
                      </a:lnTo>
                      <a:lnTo>
                        <a:pt x="954" y="246"/>
                      </a:lnTo>
                      <a:lnTo>
                        <a:pt x="954" y="258"/>
                      </a:lnTo>
                      <a:lnTo>
                        <a:pt x="954" y="270"/>
                      </a:lnTo>
                      <a:lnTo>
                        <a:pt x="948" y="276"/>
                      </a:lnTo>
                      <a:lnTo>
                        <a:pt x="942" y="282"/>
                      </a:lnTo>
                      <a:lnTo>
                        <a:pt x="930" y="282"/>
                      </a:lnTo>
                      <a:lnTo>
                        <a:pt x="924" y="282"/>
                      </a:lnTo>
                      <a:lnTo>
                        <a:pt x="924" y="288"/>
                      </a:lnTo>
                      <a:lnTo>
                        <a:pt x="930" y="294"/>
                      </a:lnTo>
                      <a:lnTo>
                        <a:pt x="936" y="300"/>
                      </a:lnTo>
                      <a:lnTo>
                        <a:pt x="942" y="306"/>
                      </a:lnTo>
                      <a:lnTo>
                        <a:pt x="948" y="318"/>
                      </a:lnTo>
                      <a:lnTo>
                        <a:pt x="948" y="324"/>
                      </a:lnTo>
                      <a:lnTo>
                        <a:pt x="942" y="336"/>
                      </a:lnTo>
                      <a:lnTo>
                        <a:pt x="924" y="348"/>
                      </a:lnTo>
                      <a:lnTo>
                        <a:pt x="906" y="354"/>
                      </a:lnTo>
                      <a:lnTo>
                        <a:pt x="894" y="360"/>
                      </a:lnTo>
                      <a:lnTo>
                        <a:pt x="888" y="360"/>
                      </a:lnTo>
                      <a:lnTo>
                        <a:pt x="882" y="366"/>
                      </a:lnTo>
                      <a:lnTo>
                        <a:pt x="882" y="378"/>
                      </a:lnTo>
                      <a:lnTo>
                        <a:pt x="882" y="390"/>
                      </a:lnTo>
                      <a:lnTo>
                        <a:pt x="882" y="402"/>
                      </a:lnTo>
                      <a:lnTo>
                        <a:pt x="876" y="414"/>
                      </a:lnTo>
                      <a:lnTo>
                        <a:pt x="864" y="426"/>
                      </a:lnTo>
                      <a:lnTo>
                        <a:pt x="852" y="438"/>
                      </a:lnTo>
                      <a:lnTo>
                        <a:pt x="834" y="438"/>
                      </a:lnTo>
                      <a:lnTo>
                        <a:pt x="810" y="444"/>
                      </a:lnTo>
                      <a:lnTo>
                        <a:pt x="798" y="444"/>
                      </a:lnTo>
                      <a:lnTo>
                        <a:pt x="780" y="450"/>
                      </a:lnTo>
                      <a:lnTo>
                        <a:pt x="774" y="456"/>
                      </a:lnTo>
                      <a:lnTo>
                        <a:pt x="762" y="468"/>
                      </a:lnTo>
                      <a:lnTo>
                        <a:pt x="738" y="486"/>
                      </a:lnTo>
                      <a:lnTo>
                        <a:pt x="702" y="492"/>
                      </a:lnTo>
                      <a:lnTo>
                        <a:pt x="648" y="498"/>
                      </a:lnTo>
                      <a:lnTo>
                        <a:pt x="600" y="504"/>
                      </a:lnTo>
                      <a:lnTo>
                        <a:pt x="564" y="510"/>
                      </a:lnTo>
                      <a:lnTo>
                        <a:pt x="534" y="534"/>
                      </a:lnTo>
                      <a:lnTo>
                        <a:pt x="504" y="552"/>
                      </a:lnTo>
                      <a:lnTo>
                        <a:pt x="462" y="558"/>
                      </a:lnTo>
                      <a:lnTo>
                        <a:pt x="426" y="552"/>
                      </a:lnTo>
                      <a:lnTo>
                        <a:pt x="390" y="534"/>
                      </a:lnTo>
                      <a:lnTo>
                        <a:pt x="348" y="498"/>
                      </a:lnTo>
                      <a:lnTo>
                        <a:pt x="306" y="474"/>
                      </a:lnTo>
                      <a:lnTo>
                        <a:pt x="264" y="468"/>
                      </a:lnTo>
                      <a:lnTo>
                        <a:pt x="246" y="468"/>
                      </a:lnTo>
                      <a:lnTo>
                        <a:pt x="234" y="468"/>
                      </a:lnTo>
                      <a:lnTo>
                        <a:pt x="228" y="462"/>
                      </a:lnTo>
                      <a:lnTo>
                        <a:pt x="216" y="456"/>
                      </a:lnTo>
                      <a:lnTo>
                        <a:pt x="210" y="450"/>
                      </a:lnTo>
                      <a:lnTo>
                        <a:pt x="204" y="444"/>
                      </a:lnTo>
                      <a:lnTo>
                        <a:pt x="192" y="444"/>
                      </a:lnTo>
                      <a:lnTo>
                        <a:pt x="174" y="444"/>
                      </a:lnTo>
                      <a:lnTo>
                        <a:pt x="156" y="444"/>
                      </a:lnTo>
                      <a:lnTo>
                        <a:pt x="138" y="438"/>
                      </a:lnTo>
                      <a:lnTo>
                        <a:pt x="126" y="432"/>
                      </a:lnTo>
                      <a:lnTo>
                        <a:pt x="114" y="426"/>
                      </a:lnTo>
                      <a:lnTo>
                        <a:pt x="114" y="420"/>
                      </a:lnTo>
                      <a:lnTo>
                        <a:pt x="114" y="414"/>
                      </a:lnTo>
                      <a:lnTo>
                        <a:pt x="120" y="408"/>
                      </a:lnTo>
                      <a:lnTo>
                        <a:pt x="138" y="402"/>
                      </a:lnTo>
                      <a:lnTo>
                        <a:pt x="162" y="396"/>
                      </a:lnTo>
                      <a:lnTo>
                        <a:pt x="180" y="384"/>
                      </a:lnTo>
                      <a:lnTo>
                        <a:pt x="192" y="372"/>
                      </a:lnTo>
                      <a:lnTo>
                        <a:pt x="198" y="360"/>
                      </a:lnTo>
                      <a:lnTo>
                        <a:pt x="192" y="348"/>
                      </a:lnTo>
                      <a:lnTo>
                        <a:pt x="186" y="336"/>
                      </a:lnTo>
                      <a:lnTo>
                        <a:pt x="186" y="330"/>
                      </a:lnTo>
                      <a:lnTo>
                        <a:pt x="186" y="318"/>
                      </a:lnTo>
                      <a:lnTo>
                        <a:pt x="180" y="312"/>
                      </a:lnTo>
                      <a:lnTo>
                        <a:pt x="180" y="306"/>
                      </a:lnTo>
                      <a:lnTo>
                        <a:pt x="174" y="300"/>
                      </a:lnTo>
                      <a:lnTo>
                        <a:pt x="162" y="300"/>
                      </a:lnTo>
                      <a:lnTo>
                        <a:pt x="144" y="300"/>
                      </a:lnTo>
                      <a:lnTo>
                        <a:pt x="108" y="306"/>
                      </a:lnTo>
                      <a:lnTo>
                        <a:pt x="78" y="312"/>
                      </a:lnTo>
                      <a:lnTo>
                        <a:pt x="60" y="300"/>
                      </a:lnTo>
                      <a:lnTo>
                        <a:pt x="48" y="282"/>
                      </a:lnTo>
                      <a:lnTo>
                        <a:pt x="48" y="270"/>
                      </a:lnTo>
                      <a:lnTo>
                        <a:pt x="48" y="258"/>
                      </a:lnTo>
                      <a:lnTo>
                        <a:pt x="54" y="252"/>
                      </a:lnTo>
                      <a:lnTo>
                        <a:pt x="66" y="252"/>
                      </a:lnTo>
                      <a:lnTo>
                        <a:pt x="78" y="252"/>
                      </a:lnTo>
                      <a:lnTo>
                        <a:pt x="96" y="252"/>
                      </a:lnTo>
                      <a:lnTo>
                        <a:pt x="120" y="252"/>
                      </a:lnTo>
                      <a:lnTo>
                        <a:pt x="138" y="252"/>
                      </a:lnTo>
                      <a:lnTo>
                        <a:pt x="162" y="252"/>
                      </a:lnTo>
                      <a:lnTo>
                        <a:pt x="174" y="246"/>
                      </a:lnTo>
                      <a:lnTo>
                        <a:pt x="186" y="246"/>
                      </a:lnTo>
                      <a:lnTo>
                        <a:pt x="198" y="240"/>
                      </a:lnTo>
                      <a:lnTo>
                        <a:pt x="198" y="222"/>
                      </a:lnTo>
                      <a:lnTo>
                        <a:pt x="198" y="210"/>
                      </a:lnTo>
                      <a:lnTo>
                        <a:pt x="198" y="198"/>
                      </a:lnTo>
                      <a:lnTo>
                        <a:pt x="192" y="186"/>
                      </a:lnTo>
                      <a:lnTo>
                        <a:pt x="192" y="174"/>
                      </a:lnTo>
                      <a:lnTo>
                        <a:pt x="180" y="168"/>
                      </a:lnTo>
                      <a:lnTo>
                        <a:pt x="168" y="162"/>
                      </a:lnTo>
                      <a:lnTo>
                        <a:pt x="156" y="162"/>
                      </a:lnTo>
                      <a:lnTo>
                        <a:pt x="138" y="168"/>
                      </a:lnTo>
                      <a:lnTo>
                        <a:pt x="126" y="174"/>
                      </a:lnTo>
                      <a:lnTo>
                        <a:pt x="114" y="180"/>
                      </a:lnTo>
                      <a:lnTo>
                        <a:pt x="102" y="186"/>
                      </a:lnTo>
                      <a:lnTo>
                        <a:pt x="90" y="192"/>
                      </a:lnTo>
                      <a:lnTo>
                        <a:pt x="72" y="192"/>
                      </a:lnTo>
                      <a:lnTo>
                        <a:pt x="48" y="192"/>
                      </a:lnTo>
                      <a:lnTo>
                        <a:pt x="36" y="192"/>
                      </a:lnTo>
                      <a:lnTo>
                        <a:pt x="18" y="192"/>
                      </a:lnTo>
                      <a:lnTo>
                        <a:pt x="6" y="186"/>
                      </a:lnTo>
                      <a:lnTo>
                        <a:pt x="0" y="174"/>
                      </a:lnTo>
                      <a:lnTo>
                        <a:pt x="0" y="162"/>
                      </a:lnTo>
                      <a:lnTo>
                        <a:pt x="6" y="150"/>
                      </a:lnTo>
                      <a:lnTo>
                        <a:pt x="12" y="144"/>
                      </a:lnTo>
                      <a:lnTo>
                        <a:pt x="24" y="138"/>
                      </a:lnTo>
                      <a:lnTo>
                        <a:pt x="36" y="138"/>
                      </a:lnTo>
                      <a:lnTo>
                        <a:pt x="48" y="132"/>
                      </a:lnTo>
                      <a:lnTo>
                        <a:pt x="60" y="126"/>
                      </a:lnTo>
                      <a:lnTo>
                        <a:pt x="66" y="126"/>
                      </a:lnTo>
                      <a:lnTo>
                        <a:pt x="72" y="120"/>
                      </a:lnTo>
                      <a:lnTo>
                        <a:pt x="72" y="120"/>
                      </a:lnTo>
                      <a:lnTo>
                        <a:pt x="66" y="114"/>
                      </a:lnTo>
                      <a:lnTo>
                        <a:pt x="48" y="102"/>
                      </a:lnTo>
                      <a:lnTo>
                        <a:pt x="42" y="96"/>
                      </a:lnTo>
                      <a:lnTo>
                        <a:pt x="42" y="84"/>
                      </a:lnTo>
                      <a:lnTo>
                        <a:pt x="48" y="72"/>
                      </a:lnTo>
                      <a:lnTo>
                        <a:pt x="54" y="66"/>
                      </a:lnTo>
                      <a:lnTo>
                        <a:pt x="60" y="54"/>
                      </a:lnTo>
                      <a:lnTo>
                        <a:pt x="66" y="48"/>
                      </a:lnTo>
                      <a:lnTo>
                        <a:pt x="72" y="48"/>
                      </a:lnTo>
                      <a:lnTo>
                        <a:pt x="84" y="48"/>
                      </a:lnTo>
                      <a:lnTo>
                        <a:pt x="96" y="54"/>
                      </a:lnTo>
                      <a:lnTo>
                        <a:pt x="108" y="60"/>
                      </a:lnTo>
                      <a:lnTo>
                        <a:pt x="120" y="72"/>
                      </a:lnTo>
                      <a:lnTo>
                        <a:pt x="132" y="78"/>
                      </a:lnTo>
                      <a:lnTo>
                        <a:pt x="150" y="90"/>
                      </a:lnTo>
                      <a:lnTo>
                        <a:pt x="156" y="90"/>
                      </a:lnTo>
                      <a:lnTo>
                        <a:pt x="168" y="90"/>
                      </a:lnTo>
                      <a:lnTo>
                        <a:pt x="174" y="84"/>
                      </a:lnTo>
                      <a:lnTo>
                        <a:pt x="174" y="72"/>
                      </a:lnTo>
                      <a:lnTo>
                        <a:pt x="168" y="60"/>
                      </a:lnTo>
                      <a:lnTo>
                        <a:pt x="162" y="48"/>
                      </a:lnTo>
                      <a:lnTo>
                        <a:pt x="156" y="30"/>
                      </a:lnTo>
                      <a:lnTo>
                        <a:pt x="156" y="18"/>
                      </a:lnTo>
                      <a:lnTo>
                        <a:pt x="156" y="12"/>
                      </a:lnTo>
                      <a:lnTo>
                        <a:pt x="162" y="6"/>
                      </a:lnTo>
                      <a:lnTo>
                        <a:pt x="18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0" name="Freeform 383">
                  <a:extLst>
                    <a:ext uri="{FF2B5EF4-FFF2-40B4-BE49-F238E27FC236}">
                      <a16:creationId xmlns:a16="http://schemas.microsoft.com/office/drawing/2014/main" id="{2F20BC67-7AD7-4333-8124-02E6CC2618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99" y="4716"/>
                  <a:ext cx="264" cy="126"/>
                </a:xfrm>
                <a:custGeom>
                  <a:avLst/>
                  <a:gdLst>
                    <a:gd name="T0" fmla="*/ 240 w 264"/>
                    <a:gd name="T1" fmla="*/ 0 h 126"/>
                    <a:gd name="T2" fmla="*/ 252 w 264"/>
                    <a:gd name="T3" fmla="*/ 6 h 126"/>
                    <a:gd name="T4" fmla="*/ 258 w 264"/>
                    <a:gd name="T5" fmla="*/ 6 h 126"/>
                    <a:gd name="T6" fmla="*/ 264 w 264"/>
                    <a:gd name="T7" fmla="*/ 12 h 126"/>
                    <a:gd name="T8" fmla="*/ 258 w 264"/>
                    <a:gd name="T9" fmla="*/ 18 h 126"/>
                    <a:gd name="T10" fmla="*/ 252 w 264"/>
                    <a:gd name="T11" fmla="*/ 30 h 126"/>
                    <a:gd name="T12" fmla="*/ 240 w 264"/>
                    <a:gd name="T13" fmla="*/ 42 h 126"/>
                    <a:gd name="T14" fmla="*/ 228 w 264"/>
                    <a:gd name="T15" fmla="*/ 54 h 126"/>
                    <a:gd name="T16" fmla="*/ 192 w 264"/>
                    <a:gd name="T17" fmla="*/ 84 h 126"/>
                    <a:gd name="T18" fmla="*/ 162 w 264"/>
                    <a:gd name="T19" fmla="*/ 96 h 126"/>
                    <a:gd name="T20" fmla="*/ 126 w 264"/>
                    <a:gd name="T21" fmla="*/ 96 h 126"/>
                    <a:gd name="T22" fmla="*/ 108 w 264"/>
                    <a:gd name="T23" fmla="*/ 102 h 126"/>
                    <a:gd name="T24" fmla="*/ 96 w 264"/>
                    <a:gd name="T25" fmla="*/ 108 h 126"/>
                    <a:gd name="T26" fmla="*/ 90 w 264"/>
                    <a:gd name="T27" fmla="*/ 114 h 126"/>
                    <a:gd name="T28" fmla="*/ 84 w 264"/>
                    <a:gd name="T29" fmla="*/ 120 h 126"/>
                    <a:gd name="T30" fmla="*/ 78 w 264"/>
                    <a:gd name="T31" fmla="*/ 126 h 126"/>
                    <a:gd name="T32" fmla="*/ 0 w 264"/>
                    <a:gd name="T33" fmla="*/ 84 h 126"/>
                    <a:gd name="T34" fmla="*/ 6 w 264"/>
                    <a:gd name="T35" fmla="*/ 72 h 126"/>
                    <a:gd name="T36" fmla="*/ 12 w 264"/>
                    <a:gd name="T37" fmla="*/ 66 h 126"/>
                    <a:gd name="T38" fmla="*/ 18 w 264"/>
                    <a:gd name="T39" fmla="*/ 54 h 126"/>
                    <a:gd name="T40" fmla="*/ 36 w 264"/>
                    <a:gd name="T41" fmla="*/ 48 h 126"/>
                    <a:gd name="T42" fmla="*/ 48 w 264"/>
                    <a:gd name="T43" fmla="*/ 48 h 126"/>
                    <a:gd name="T44" fmla="*/ 66 w 264"/>
                    <a:gd name="T45" fmla="*/ 42 h 126"/>
                    <a:gd name="T46" fmla="*/ 78 w 264"/>
                    <a:gd name="T47" fmla="*/ 42 h 126"/>
                    <a:gd name="T48" fmla="*/ 84 w 264"/>
                    <a:gd name="T49" fmla="*/ 36 h 126"/>
                    <a:gd name="T50" fmla="*/ 108 w 264"/>
                    <a:gd name="T51" fmla="*/ 24 h 126"/>
                    <a:gd name="T52" fmla="*/ 156 w 264"/>
                    <a:gd name="T53" fmla="*/ 12 h 126"/>
                    <a:gd name="T54" fmla="*/ 222 w 264"/>
                    <a:gd name="T55" fmla="*/ 6 h 126"/>
                    <a:gd name="T56" fmla="*/ 240 w 264"/>
                    <a:gd name="T57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64" h="126">
                      <a:moveTo>
                        <a:pt x="240" y="0"/>
                      </a:moveTo>
                      <a:lnTo>
                        <a:pt x="252" y="6"/>
                      </a:lnTo>
                      <a:lnTo>
                        <a:pt x="258" y="6"/>
                      </a:lnTo>
                      <a:lnTo>
                        <a:pt x="264" y="12"/>
                      </a:lnTo>
                      <a:lnTo>
                        <a:pt x="258" y="18"/>
                      </a:lnTo>
                      <a:lnTo>
                        <a:pt x="252" y="30"/>
                      </a:lnTo>
                      <a:lnTo>
                        <a:pt x="240" y="42"/>
                      </a:lnTo>
                      <a:lnTo>
                        <a:pt x="228" y="54"/>
                      </a:lnTo>
                      <a:lnTo>
                        <a:pt x="192" y="84"/>
                      </a:lnTo>
                      <a:lnTo>
                        <a:pt x="162" y="96"/>
                      </a:lnTo>
                      <a:lnTo>
                        <a:pt x="126" y="96"/>
                      </a:lnTo>
                      <a:lnTo>
                        <a:pt x="108" y="102"/>
                      </a:lnTo>
                      <a:lnTo>
                        <a:pt x="96" y="108"/>
                      </a:lnTo>
                      <a:lnTo>
                        <a:pt x="90" y="114"/>
                      </a:lnTo>
                      <a:lnTo>
                        <a:pt x="84" y="120"/>
                      </a:lnTo>
                      <a:lnTo>
                        <a:pt x="78" y="126"/>
                      </a:lnTo>
                      <a:lnTo>
                        <a:pt x="0" y="84"/>
                      </a:lnTo>
                      <a:lnTo>
                        <a:pt x="6" y="72"/>
                      </a:lnTo>
                      <a:lnTo>
                        <a:pt x="12" y="66"/>
                      </a:lnTo>
                      <a:lnTo>
                        <a:pt x="18" y="54"/>
                      </a:lnTo>
                      <a:lnTo>
                        <a:pt x="36" y="48"/>
                      </a:lnTo>
                      <a:lnTo>
                        <a:pt x="48" y="48"/>
                      </a:lnTo>
                      <a:lnTo>
                        <a:pt x="66" y="42"/>
                      </a:lnTo>
                      <a:lnTo>
                        <a:pt x="78" y="42"/>
                      </a:lnTo>
                      <a:lnTo>
                        <a:pt x="84" y="36"/>
                      </a:lnTo>
                      <a:lnTo>
                        <a:pt x="108" y="24"/>
                      </a:lnTo>
                      <a:lnTo>
                        <a:pt x="156" y="12"/>
                      </a:lnTo>
                      <a:lnTo>
                        <a:pt x="222" y="6"/>
                      </a:lnTo>
                      <a:lnTo>
                        <a:pt x="24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1" name="Freeform 384">
                  <a:extLst>
                    <a:ext uri="{FF2B5EF4-FFF2-40B4-BE49-F238E27FC236}">
                      <a16:creationId xmlns:a16="http://schemas.microsoft.com/office/drawing/2014/main" id="{6B52A340-19A3-4114-9A36-C7A99B7695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991" y="4788"/>
                  <a:ext cx="192" cy="168"/>
                </a:xfrm>
                <a:custGeom>
                  <a:avLst/>
                  <a:gdLst>
                    <a:gd name="T0" fmla="*/ 192 w 192"/>
                    <a:gd name="T1" fmla="*/ 48 h 168"/>
                    <a:gd name="T2" fmla="*/ 186 w 192"/>
                    <a:gd name="T3" fmla="*/ 54 h 168"/>
                    <a:gd name="T4" fmla="*/ 186 w 192"/>
                    <a:gd name="T5" fmla="*/ 54 h 168"/>
                    <a:gd name="T6" fmla="*/ 192 w 192"/>
                    <a:gd name="T7" fmla="*/ 48 h 168"/>
                    <a:gd name="T8" fmla="*/ 114 w 192"/>
                    <a:gd name="T9" fmla="*/ 0 h 168"/>
                    <a:gd name="T10" fmla="*/ 108 w 192"/>
                    <a:gd name="T11" fmla="*/ 12 h 168"/>
                    <a:gd name="T12" fmla="*/ 186 w 192"/>
                    <a:gd name="T13" fmla="*/ 54 h 168"/>
                    <a:gd name="T14" fmla="*/ 180 w 192"/>
                    <a:gd name="T15" fmla="*/ 54 h 168"/>
                    <a:gd name="T16" fmla="*/ 168 w 192"/>
                    <a:gd name="T17" fmla="*/ 60 h 168"/>
                    <a:gd name="T18" fmla="*/ 144 w 192"/>
                    <a:gd name="T19" fmla="*/ 72 h 168"/>
                    <a:gd name="T20" fmla="*/ 126 w 192"/>
                    <a:gd name="T21" fmla="*/ 84 h 168"/>
                    <a:gd name="T22" fmla="*/ 108 w 192"/>
                    <a:gd name="T23" fmla="*/ 108 h 168"/>
                    <a:gd name="T24" fmla="*/ 90 w 192"/>
                    <a:gd name="T25" fmla="*/ 126 h 168"/>
                    <a:gd name="T26" fmla="*/ 72 w 192"/>
                    <a:gd name="T27" fmla="*/ 150 h 168"/>
                    <a:gd name="T28" fmla="*/ 60 w 192"/>
                    <a:gd name="T29" fmla="*/ 162 h 168"/>
                    <a:gd name="T30" fmla="*/ 42 w 192"/>
                    <a:gd name="T31" fmla="*/ 168 h 168"/>
                    <a:gd name="T32" fmla="*/ 30 w 192"/>
                    <a:gd name="T33" fmla="*/ 168 h 168"/>
                    <a:gd name="T34" fmla="*/ 18 w 192"/>
                    <a:gd name="T35" fmla="*/ 162 h 168"/>
                    <a:gd name="T36" fmla="*/ 6 w 192"/>
                    <a:gd name="T37" fmla="*/ 150 h 168"/>
                    <a:gd name="T38" fmla="*/ 0 w 192"/>
                    <a:gd name="T39" fmla="*/ 138 h 168"/>
                    <a:gd name="T40" fmla="*/ 0 w 192"/>
                    <a:gd name="T41" fmla="*/ 120 h 168"/>
                    <a:gd name="T42" fmla="*/ 6 w 192"/>
                    <a:gd name="T43" fmla="*/ 102 h 168"/>
                    <a:gd name="T44" fmla="*/ 12 w 192"/>
                    <a:gd name="T45" fmla="*/ 84 h 168"/>
                    <a:gd name="T46" fmla="*/ 24 w 192"/>
                    <a:gd name="T47" fmla="*/ 66 h 168"/>
                    <a:gd name="T48" fmla="*/ 36 w 192"/>
                    <a:gd name="T49" fmla="*/ 54 h 168"/>
                    <a:gd name="T50" fmla="*/ 42 w 192"/>
                    <a:gd name="T51" fmla="*/ 42 h 168"/>
                    <a:gd name="T52" fmla="*/ 54 w 192"/>
                    <a:gd name="T53" fmla="*/ 42 h 168"/>
                    <a:gd name="T54" fmla="*/ 66 w 192"/>
                    <a:gd name="T55" fmla="*/ 36 h 168"/>
                    <a:gd name="T56" fmla="*/ 84 w 192"/>
                    <a:gd name="T57" fmla="*/ 30 h 168"/>
                    <a:gd name="T58" fmla="*/ 96 w 192"/>
                    <a:gd name="T59" fmla="*/ 24 h 168"/>
                    <a:gd name="T60" fmla="*/ 102 w 192"/>
                    <a:gd name="T61" fmla="*/ 12 h 168"/>
                    <a:gd name="T62" fmla="*/ 114 w 192"/>
                    <a:gd name="T63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92" h="168">
                      <a:moveTo>
                        <a:pt x="192" y="48"/>
                      </a:moveTo>
                      <a:lnTo>
                        <a:pt x="186" y="54"/>
                      </a:lnTo>
                      <a:lnTo>
                        <a:pt x="186" y="54"/>
                      </a:lnTo>
                      <a:lnTo>
                        <a:pt x="192" y="48"/>
                      </a:lnTo>
                      <a:close/>
                      <a:moveTo>
                        <a:pt x="114" y="0"/>
                      </a:moveTo>
                      <a:lnTo>
                        <a:pt x="108" y="12"/>
                      </a:lnTo>
                      <a:lnTo>
                        <a:pt x="186" y="54"/>
                      </a:lnTo>
                      <a:lnTo>
                        <a:pt x="180" y="54"/>
                      </a:lnTo>
                      <a:lnTo>
                        <a:pt x="168" y="60"/>
                      </a:lnTo>
                      <a:lnTo>
                        <a:pt x="144" y="72"/>
                      </a:lnTo>
                      <a:lnTo>
                        <a:pt x="126" y="84"/>
                      </a:lnTo>
                      <a:lnTo>
                        <a:pt x="108" y="108"/>
                      </a:lnTo>
                      <a:lnTo>
                        <a:pt x="90" y="126"/>
                      </a:lnTo>
                      <a:lnTo>
                        <a:pt x="72" y="150"/>
                      </a:lnTo>
                      <a:lnTo>
                        <a:pt x="60" y="162"/>
                      </a:lnTo>
                      <a:lnTo>
                        <a:pt x="42" y="168"/>
                      </a:lnTo>
                      <a:lnTo>
                        <a:pt x="30" y="168"/>
                      </a:lnTo>
                      <a:lnTo>
                        <a:pt x="18" y="162"/>
                      </a:lnTo>
                      <a:lnTo>
                        <a:pt x="6" y="150"/>
                      </a:lnTo>
                      <a:lnTo>
                        <a:pt x="0" y="138"/>
                      </a:lnTo>
                      <a:lnTo>
                        <a:pt x="0" y="120"/>
                      </a:lnTo>
                      <a:lnTo>
                        <a:pt x="6" y="102"/>
                      </a:lnTo>
                      <a:lnTo>
                        <a:pt x="12" y="84"/>
                      </a:lnTo>
                      <a:lnTo>
                        <a:pt x="24" y="66"/>
                      </a:lnTo>
                      <a:lnTo>
                        <a:pt x="36" y="54"/>
                      </a:lnTo>
                      <a:lnTo>
                        <a:pt x="42" y="42"/>
                      </a:lnTo>
                      <a:lnTo>
                        <a:pt x="54" y="42"/>
                      </a:lnTo>
                      <a:lnTo>
                        <a:pt x="66" y="36"/>
                      </a:lnTo>
                      <a:lnTo>
                        <a:pt x="84" y="30"/>
                      </a:lnTo>
                      <a:lnTo>
                        <a:pt x="96" y="24"/>
                      </a:lnTo>
                      <a:lnTo>
                        <a:pt x="102" y="12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2" name="Freeform 385">
                  <a:extLst>
                    <a:ext uri="{FF2B5EF4-FFF2-40B4-BE49-F238E27FC236}">
                      <a16:creationId xmlns:a16="http://schemas.microsoft.com/office/drawing/2014/main" id="{DB2BC912-6A44-415C-8E22-19A732D062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995" y="3966"/>
                  <a:ext cx="1050" cy="1236"/>
                </a:xfrm>
                <a:custGeom>
                  <a:avLst/>
                  <a:gdLst>
                    <a:gd name="T0" fmla="*/ 192 w 1050"/>
                    <a:gd name="T1" fmla="*/ 90 h 1236"/>
                    <a:gd name="T2" fmla="*/ 354 w 1050"/>
                    <a:gd name="T3" fmla="*/ 162 h 1236"/>
                    <a:gd name="T4" fmla="*/ 396 w 1050"/>
                    <a:gd name="T5" fmla="*/ 186 h 1236"/>
                    <a:gd name="T6" fmla="*/ 540 w 1050"/>
                    <a:gd name="T7" fmla="*/ 312 h 1236"/>
                    <a:gd name="T8" fmla="*/ 552 w 1050"/>
                    <a:gd name="T9" fmla="*/ 408 h 1236"/>
                    <a:gd name="T10" fmla="*/ 588 w 1050"/>
                    <a:gd name="T11" fmla="*/ 402 h 1236"/>
                    <a:gd name="T12" fmla="*/ 654 w 1050"/>
                    <a:gd name="T13" fmla="*/ 426 h 1236"/>
                    <a:gd name="T14" fmla="*/ 714 w 1050"/>
                    <a:gd name="T15" fmla="*/ 462 h 1236"/>
                    <a:gd name="T16" fmla="*/ 744 w 1050"/>
                    <a:gd name="T17" fmla="*/ 486 h 1236"/>
                    <a:gd name="T18" fmla="*/ 768 w 1050"/>
                    <a:gd name="T19" fmla="*/ 552 h 1236"/>
                    <a:gd name="T20" fmla="*/ 744 w 1050"/>
                    <a:gd name="T21" fmla="*/ 576 h 1236"/>
                    <a:gd name="T22" fmla="*/ 690 w 1050"/>
                    <a:gd name="T23" fmla="*/ 570 h 1236"/>
                    <a:gd name="T24" fmla="*/ 666 w 1050"/>
                    <a:gd name="T25" fmla="*/ 594 h 1236"/>
                    <a:gd name="T26" fmla="*/ 690 w 1050"/>
                    <a:gd name="T27" fmla="*/ 636 h 1236"/>
                    <a:gd name="T28" fmla="*/ 702 w 1050"/>
                    <a:gd name="T29" fmla="*/ 702 h 1236"/>
                    <a:gd name="T30" fmla="*/ 738 w 1050"/>
                    <a:gd name="T31" fmla="*/ 762 h 1236"/>
                    <a:gd name="T32" fmla="*/ 780 w 1050"/>
                    <a:gd name="T33" fmla="*/ 852 h 1236"/>
                    <a:gd name="T34" fmla="*/ 834 w 1050"/>
                    <a:gd name="T35" fmla="*/ 936 h 1236"/>
                    <a:gd name="T36" fmla="*/ 876 w 1050"/>
                    <a:gd name="T37" fmla="*/ 924 h 1236"/>
                    <a:gd name="T38" fmla="*/ 894 w 1050"/>
                    <a:gd name="T39" fmla="*/ 954 h 1236"/>
                    <a:gd name="T40" fmla="*/ 888 w 1050"/>
                    <a:gd name="T41" fmla="*/ 1002 h 1236"/>
                    <a:gd name="T42" fmla="*/ 912 w 1050"/>
                    <a:gd name="T43" fmla="*/ 1020 h 1236"/>
                    <a:gd name="T44" fmla="*/ 954 w 1050"/>
                    <a:gd name="T45" fmla="*/ 1050 h 1236"/>
                    <a:gd name="T46" fmla="*/ 948 w 1050"/>
                    <a:gd name="T47" fmla="*/ 1092 h 1236"/>
                    <a:gd name="T48" fmla="*/ 990 w 1050"/>
                    <a:gd name="T49" fmla="*/ 1116 h 1236"/>
                    <a:gd name="T50" fmla="*/ 1044 w 1050"/>
                    <a:gd name="T51" fmla="*/ 1128 h 1236"/>
                    <a:gd name="T52" fmla="*/ 1032 w 1050"/>
                    <a:gd name="T53" fmla="*/ 1152 h 1236"/>
                    <a:gd name="T54" fmla="*/ 1008 w 1050"/>
                    <a:gd name="T55" fmla="*/ 1194 h 1236"/>
                    <a:gd name="T56" fmla="*/ 978 w 1050"/>
                    <a:gd name="T57" fmla="*/ 1230 h 1236"/>
                    <a:gd name="T58" fmla="*/ 954 w 1050"/>
                    <a:gd name="T59" fmla="*/ 1224 h 1236"/>
                    <a:gd name="T60" fmla="*/ 942 w 1050"/>
                    <a:gd name="T61" fmla="*/ 1194 h 1236"/>
                    <a:gd name="T62" fmla="*/ 876 w 1050"/>
                    <a:gd name="T63" fmla="*/ 1200 h 1236"/>
                    <a:gd name="T64" fmla="*/ 780 w 1050"/>
                    <a:gd name="T65" fmla="*/ 1176 h 1236"/>
                    <a:gd name="T66" fmla="*/ 738 w 1050"/>
                    <a:gd name="T67" fmla="*/ 1140 h 1236"/>
                    <a:gd name="T68" fmla="*/ 678 w 1050"/>
                    <a:gd name="T69" fmla="*/ 1116 h 1236"/>
                    <a:gd name="T70" fmla="*/ 594 w 1050"/>
                    <a:gd name="T71" fmla="*/ 960 h 1236"/>
                    <a:gd name="T72" fmla="*/ 576 w 1050"/>
                    <a:gd name="T73" fmla="*/ 894 h 1236"/>
                    <a:gd name="T74" fmla="*/ 552 w 1050"/>
                    <a:gd name="T75" fmla="*/ 804 h 1236"/>
                    <a:gd name="T76" fmla="*/ 432 w 1050"/>
                    <a:gd name="T77" fmla="*/ 708 h 1236"/>
                    <a:gd name="T78" fmla="*/ 348 w 1050"/>
                    <a:gd name="T79" fmla="*/ 696 h 1236"/>
                    <a:gd name="T80" fmla="*/ 330 w 1050"/>
                    <a:gd name="T81" fmla="*/ 726 h 1236"/>
                    <a:gd name="T82" fmla="*/ 288 w 1050"/>
                    <a:gd name="T83" fmla="*/ 750 h 1236"/>
                    <a:gd name="T84" fmla="*/ 258 w 1050"/>
                    <a:gd name="T85" fmla="*/ 774 h 1236"/>
                    <a:gd name="T86" fmla="*/ 210 w 1050"/>
                    <a:gd name="T87" fmla="*/ 798 h 1236"/>
                    <a:gd name="T88" fmla="*/ 150 w 1050"/>
                    <a:gd name="T89" fmla="*/ 780 h 1236"/>
                    <a:gd name="T90" fmla="*/ 126 w 1050"/>
                    <a:gd name="T91" fmla="*/ 798 h 1236"/>
                    <a:gd name="T92" fmla="*/ 162 w 1050"/>
                    <a:gd name="T93" fmla="*/ 840 h 1236"/>
                    <a:gd name="T94" fmla="*/ 222 w 1050"/>
                    <a:gd name="T95" fmla="*/ 864 h 1236"/>
                    <a:gd name="T96" fmla="*/ 228 w 1050"/>
                    <a:gd name="T97" fmla="*/ 912 h 1236"/>
                    <a:gd name="T98" fmla="*/ 174 w 1050"/>
                    <a:gd name="T99" fmla="*/ 966 h 1236"/>
                    <a:gd name="T100" fmla="*/ 36 w 1050"/>
                    <a:gd name="T101" fmla="*/ 972 h 1236"/>
                    <a:gd name="T102" fmla="*/ 0 w 1050"/>
                    <a:gd name="T103" fmla="*/ 534 h 1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050" h="1236">
                      <a:moveTo>
                        <a:pt x="54" y="0"/>
                      </a:moveTo>
                      <a:lnTo>
                        <a:pt x="54" y="0"/>
                      </a:lnTo>
                      <a:lnTo>
                        <a:pt x="120" y="42"/>
                      </a:lnTo>
                      <a:lnTo>
                        <a:pt x="192" y="90"/>
                      </a:lnTo>
                      <a:lnTo>
                        <a:pt x="240" y="120"/>
                      </a:lnTo>
                      <a:lnTo>
                        <a:pt x="282" y="138"/>
                      </a:lnTo>
                      <a:lnTo>
                        <a:pt x="336" y="156"/>
                      </a:lnTo>
                      <a:lnTo>
                        <a:pt x="354" y="162"/>
                      </a:lnTo>
                      <a:lnTo>
                        <a:pt x="372" y="168"/>
                      </a:lnTo>
                      <a:lnTo>
                        <a:pt x="378" y="174"/>
                      </a:lnTo>
                      <a:lnTo>
                        <a:pt x="390" y="180"/>
                      </a:lnTo>
                      <a:lnTo>
                        <a:pt x="396" y="186"/>
                      </a:lnTo>
                      <a:lnTo>
                        <a:pt x="414" y="192"/>
                      </a:lnTo>
                      <a:lnTo>
                        <a:pt x="462" y="216"/>
                      </a:lnTo>
                      <a:lnTo>
                        <a:pt x="510" y="252"/>
                      </a:lnTo>
                      <a:lnTo>
                        <a:pt x="540" y="312"/>
                      </a:lnTo>
                      <a:lnTo>
                        <a:pt x="546" y="378"/>
                      </a:lnTo>
                      <a:lnTo>
                        <a:pt x="546" y="396"/>
                      </a:lnTo>
                      <a:lnTo>
                        <a:pt x="546" y="402"/>
                      </a:lnTo>
                      <a:lnTo>
                        <a:pt x="552" y="408"/>
                      </a:lnTo>
                      <a:lnTo>
                        <a:pt x="558" y="408"/>
                      </a:lnTo>
                      <a:lnTo>
                        <a:pt x="564" y="408"/>
                      </a:lnTo>
                      <a:lnTo>
                        <a:pt x="576" y="402"/>
                      </a:lnTo>
                      <a:lnTo>
                        <a:pt x="588" y="402"/>
                      </a:lnTo>
                      <a:lnTo>
                        <a:pt x="600" y="402"/>
                      </a:lnTo>
                      <a:lnTo>
                        <a:pt x="624" y="408"/>
                      </a:lnTo>
                      <a:lnTo>
                        <a:pt x="642" y="414"/>
                      </a:lnTo>
                      <a:lnTo>
                        <a:pt x="654" y="426"/>
                      </a:lnTo>
                      <a:lnTo>
                        <a:pt x="672" y="438"/>
                      </a:lnTo>
                      <a:lnTo>
                        <a:pt x="690" y="450"/>
                      </a:lnTo>
                      <a:lnTo>
                        <a:pt x="702" y="462"/>
                      </a:lnTo>
                      <a:lnTo>
                        <a:pt x="714" y="462"/>
                      </a:lnTo>
                      <a:lnTo>
                        <a:pt x="720" y="468"/>
                      </a:lnTo>
                      <a:lnTo>
                        <a:pt x="732" y="468"/>
                      </a:lnTo>
                      <a:lnTo>
                        <a:pt x="738" y="474"/>
                      </a:lnTo>
                      <a:lnTo>
                        <a:pt x="744" y="486"/>
                      </a:lnTo>
                      <a:lnTo>
                        <a:pt x="756" y="498"/>
                      </a:lnTo>
                      <a:lnTo>
                        <a:pt x="762" y="522"/>
                      </a:lnTo>
                      <a:lnTo>
                        <a:pt x="768" y="540"/>
                      </a:lnTo>
                      <a:lnTo>
                        <a:pt x="768" y="552"/>
                      </a:lnTo>
                      <a:lnTo>
                        <a:pt x="768" y="564"/>
                      </a:lnTo>
                      <a:lnTo>
                        <a:pt x="762" y="570"/>
                      </a:lnTo>
                      <a:lnTo>
                        <a:pt x="756" y="570"/>
                      </a:lnTo>
                      <a:lnTo>
                        <a:pt x="744" y="576"/>
                      </a:lnTo>
                      <a:lnTo>
                        <a:pt x="732" y="576"/>
                      </a:lnTo>
                      <a:lnTo>
                        <a:pt x="720" y="570"/>
                      </a:lnTo>
                      <a:lnTo>
                        <a:pt x="708" y="570"/>
                      </a:lnTo>
                      <a:lnTo>
                        <a:pt x="690" y="570"/>
                      </a:lnTo>
                      <a:lnTo>
                        <a:pt x="678" y="576"/>
                      </a:lnTo>
                      <a:lnTo>
                        <a:pt x="666" y="582"/>
                      </a:lnTo>
                      <a:lnTo>
                        <a:pt x="666" y="588"/>
                      </a:lnTo>
                      <a:lnTo>
                        <a:pt x="666" y="594"/>
                      </a:lnTo>
                      <a:lnTo>
                        <a:pt x="672" y="606"/>
                      </a:lnTo>
                      <a:lnTo>
                        <a:pt x="678" y="612"/>
                      </a:lnTo>
                      <a:lnTo>
                        <a:pt x="684" y="624"/>
                      </a:lnTo>
                      <a:lnTo>
                        <a:pt x="690" y="636"/>
                      </a:lnTo>
                      <a:lnTo>
                        <a:pt x="696" y="654"/>
                      </a:lnTo>
                      <a:lnTo>
                        <a:pt x="702" y="672"/>
                      </a:lnTo>
                      <a:lnTo>
                        <a:pt x="702" y="684"/>
                      </a:lnTo>
                      <a:lnTo>
                        <a:pt x="702" y="702"/>
                      </a:lnTo>
                      <a:lnTo>
                        <a:pt x="708" y="720"/>
                      </a:lnTo>
                      <a:lnTo>
                        <a:pt x="714" y="738"/>
                      </a:lnTo>
                      <a:lnTo>
                        <a:pt x="726" y="750"/>
                      </a:lnTo>
                      <a:lnTo>
                        <a:pt x="738" y="762"/>
                      </a:lnTo>
                      <a:lnTo>
                        <a:pt x="750" y="780"/>
                      </a:lnTo>
                      <a:lnTo>
                        <a:pt x="756" y="792"/>
                      </a:lnTo>
                      <a:lnTo>
                        <a:pt x="762" y="816"/>
                      </a:lnTo>
                      <a:lnTo>
                        <a:pt x="780" y="852"/>
                      </a:lnTo>
                      <a:lnTo>
                        <a:pt x="810" y="882"/>
                      </a:lnTo>
                      <a:lnTo>
                        <a:pt x="828" y="912"/>
                      </a:lnTo>
                      <a:lnTo>
                        <a:pt x="828" y="924"/>
                      </a:lnTo>
                      <a:lnTo>
                        <a:pt x="834" y="936"/>
                      </a:lnTo>
                      <a:lnTo>
                        <a:pt x="840" y="936"/>
                      </a:lnTo>
                      <a:lnTo>
                        <a:pt x="852" y="936"/>
                      </a:lnTo>
                      <a:lnTo>
                        <a:pt x="864" y="924"/>
                      </a:lnTo>
                      <a:lnTo>
                        <a:pt x="876" y="924"/>
                      </a:lnTo>
                      <a:lnTo>
                        <a:pt x="882" y="924"/>
                      </a:lnTo>
                      <a:lnTo>
                        <a:pt x="888" y="930"/>
                      </a:lnTo>
                      <a:lnTo>
                        <a:pt x="894" y="942"/>
                      </a:lnTo>
                      <a:lnTo>
                        <a:pt x="894" y="954"/>
                      </a:lnTo>
                      <a:lnTo>
                        <a:pt x="894" y="966"/>
                      </a:lnTo>
                      <a:lnTo>
                        <a:pt x="894" y="978"/>
                      </a:lnTo>
                      <a:lnTo>
                        <a:pt x="888" y="996"/>
                      </a:lnTo>
                      <a:lnTo>
                        <a:pt x="888" y="1002"/>
                      </a:lnTo>
                      <a:lnTo>
                        <a:pt x="888" y="1014"/>
                      </a:lnTo>
                      <a:lnTo>
                        <a:pt x="894" y="1014"/>
                      </a:lnTo>
                      <a:lnTo>
                        <a:pt x="906" y="1014"/>
                      </a:lnTo>
                      <a:lnTo>
                        <a:pt x="912" y="1020"/>
                      </a:lnTo>
                      <a:lnTo>
                        <a:pt x="924" y="1026"/>
                      </a:lnTo>
                      <a:lnTo>
                        <a:pt x="936" y="1032"/>
                      </a:lnTo>
                      <a:lnTo>
                        <a:pt x="948" y="1038"/>
                      </a:lnTo>
                      <a:lnTo>
                        <a:pt x="954" y="1050"/>
                      </a:lnTo>
                      <a:lnTo>
                        <a:pt x="960" y="1062"/>
                      </a:lnTo>
                      <a:lnTo>
                        <a:pt x="954" y="1074"/>
                      </a:lnTo>
                      <a:lnTo>
                        <a:pt x="948" y="1086"/>
                      </a:lnTo>
                      <a:lnTo>
                        <a:pt x="948" y="1092"/>
                      </a:lnTo>
                      <a:lnTo>
                        <a:pt x="954" y="1098"/>
                      </a:lnTo>
                      <a:lnTo>
                        <a:pt x="966" y="1104"/>
                      </a:lnTo>
                      <a:lnTo>
                        <a:pt x="978" y="1110"/>
                      </a:lnTo>
                      <a:lnTo>
                        <a:pt x="990" y="1116"/>
                      </a:lnTo>
                      <a:lnTo>
                        <a:pt x="1002" y="1116"/>
                      </a:lnTo>
                      <a:lnTo>
                        <a:pt x="1014" y="1122"/>
                      </a:lnTo>
                      <a:lnTo>
                        <a:pt x="1032" y="1122"/>
                      </a:lnTo>
                      <a:lnTo>
                        <a:pt x="1044" y="1128"/>
                      </a:lnTo>
                      <a:lnTo>
                        <a:pt x="1050" y="1134"/>
                      </a:lnTo>
                      <a:lnTo>
                        <a:pt x="1050" y="1140"/>
                      </a:lnTo>
                      <a:lnTo>
                        <a:pt x="1044" y="1146"/>
                      </a:lnTo>
                      <a:lnTo>
                        <a:pt x="1032" y="1152"/>
                      </a:lnTo>
                      <a:lnTo>
                        <a:pt x="1020" y="1158"/>
                      </a:lnTo>
                      <a:lnTo>
                        <a:pt x="1014" y="1170"/>
                      </a:lnTo>
                      <a:lnTo>
                        <a:pt x="1008" y="1182"/>
                      </a:lnTo>
                      <a:lnTo>
                        <a:pt x="1008" y="1194"/>
                      </a:lnTo>
                      <a:lnTo>
                        <a:pt x="1008" y="1206"/>
                      </a:lnTo>
                      <a:lnTo>
                        <a:pt x="1002" y="1218"/>
                      </a:lnTo>
                      <a:lnTo>
                        <a:pt x="990" y="1224"/>
                      </a:lnTo>
                      <a:lnTo>
                        <a:pt x="978" y="1230"/>
                      </a:lnTo>
                      <a:lnTo>
                        <a:pt x="966" y="1236"/>
                      </a:lnTo>
                      <a:lnTo>
                        <a:pt x="960" y="1236"/>
                      </a:lnTo>
                      <a:lnTo>
                        <a:pt x="954" y="1230"/>
                      </a:lnTo>
                      <a:lnTo>
                        <a:pt x="954" y="1224"/>
                      </a:lnTo>
                      <a:lnTo>
                        <a:pt x="954" y="1218"/>
                      </a:lnTo>
                      <a:lnTo>
                        <a:pt x="954" y="1212"/>
                      </a:lnTo>
                      <a:lnTo>
                        <a:pt x="948" y="1200"/>
                      </a:lnTo>
                      <a:lnTo>
                        <a:pt x="942" y="1194"/>
                      </a:lnTo>
                      <a:lnTo>
                        <a:pt x="936" y="1188"/>
                      </a:lnTo>
                      <a:lnTo>
                        <a:pt x="924" y="1188"/>
                      </a:lnTo>
                      <a:lnTo>
                        <a:pt x="906" y="1194"/>
                      </a:lnTo>
                      <a:lnTo>
                        <a:pt x="876" y="1200"/>
                      </a:lnTo>
                      <a:lnTo>
                        <a:pt x="846" y="1188"/>
                      </a:lnTo>
                      <a:lnTo>
                        <a:pt x="810" y="1182"/>
                      </a:lnTo>
                      <a:lnTo>
                        <a:pt x="792" y="1182"/>
                      </a:lnTo>
                      <a:lnTo>
                        <a:pt x="780" y="1176"/>
                      </a:lnTo>
                      <a:lnTo>
                        <a:pt x="768" y="1170"/>
                      </a:lnTo>
                      <a:lnTo>
                        <a:pt x="762" y="1158"/>
                      </a:lnTo>
                      <a:lnTo>
                        <a:pt x="750" y="1146"/>
                      </a:lnTo>
                      <a:lnTo>
                        <a:pt x="738" y="1140"/>
                      </a:lnTo>
                      <a:lnTo>
                        <a:pt x="726" y="1140"/>
                      </a:lnTo>
                      <a:lnTo>
                        <a:pt x="702" y="1134"/>
                      </a:lnTo>
                      <a:lnTo>
                        <a:pt x="690" y="1128"/>
                      </a:lnTo>
                      <a:lnTo>
                        <a:pt x="678" y="1116"/>
                      </a:lnTo>
                      <a:lnTo>
                        <a:pt x="666" y="1098"/>
                      </a:lnTo>
                      <a:lnTo>
                        <a:pt x="648" y="1074"/>
                      </a:lnTo>
                      <a:lnTo>
                        <a:pt x="618" y="1020"/>
                      </a:lnTo>
                      <a:lnTo>
                        <a:pt x="594" y="960"/>
                      </a:lnTo>
                      <a:lnTo>
                        <a:pt x="582" y="936"/>
                      </a:lnTo>
                      <a:lnTo>
                        <a:pt x="576" y="918"/>
                      </a:lnTo>
                      <a:lnTo>
                        <a:pt x="576" y="906"/>
                      </a:lnTo>
                      <a:lnTo>
                        <a:pt x="576" y="894"/>
                      </a:lnTo>
                      <a:lnTo>
                        <a:pt x="582" y="882"/>
                      </a:lnTo>
                      <a:lnTo>
                        <a:pt x="582" y="864"/>
                      </a:lnTo>
                      <a:lnTo>
                        <a:pt x="570" y="834"/>
                      </a:lnTo>
                      <a:lnTo>
                        <a:pt x="552" y="804"/>
                      </a:lnTo>
                      <a:lnTo>
                        <a:pt x="528" y="780"/>
                      </a:lnTo>
                      <a:lnTo>
                        <a:pt x="504" y="762"/>
                      </a:lnTo>
                      <a:lnTo>
                        <a:pt x="474" y="732"/>
                      </a:lnTo>
                      <a:lnTo>
                        <a:pt x="432" y="708"/>
                      </a:lnTo>
                      <a:lnTo>
                        <a:pt x="402" y="696"/>
                      </a:lnTo>
                      <a:lnTo>
                        <a:pt x="384" y="696"/>
                      </a:lnTo>
                      <a:lnTo>
                        <a:pt x="366" y="696"/>
                      </a:lnTo>
                      <a:lnTo>
                        <a:pt x="348" y="696"/>
                      </a:lnTo>
                      <a:lnTo>
                        <a:pt x="336" y="702"/>
                      </a:lnTo>
                      <a:lnTo>
                        <a:pt x="330" y="708"/>
                      </a:lnTo>
                      <a:lnTo>
                        <a:pt x="330" y="714"/>
                      </a:lnTo>
                      <a:lnTo>
                        <a:pt x="330" y="726"/>
                      </a:lnTo>
                      <a:lnTo>
                        <a:pt x="324" y="738"/>
                      </a:lnTo>
                      <a:lnTo>
                        <a:pt x="318" y="744"/>
                      </a:lnTo>
                      <a:lnTo>
                        <a:pt x="306" y="750"/>
                      </a:lnTo>
                      <a:lnTo>
                        <a:pt x="288" y="750"/>
                      </a:lnTo>
                      <a:lnTo>
                        <a:pt x="276" y="756"/>
                      </a:lnTo>
                      <a:lnTo>
                        <a:pt x="264" y="756"/>
                      </a:lnTo>
                      <a:lnTo>
                        <a:pt x="264" y="768"/>
                      </a:lnTo>
                      <a:lnTo>
                        <a:pt x="258" y="774"/>
                      </a:lnTo>
                      <a:lnTo>
                        <a:pt x="252" y="780"/>
                      </a:lnTo>
                      <a:lnTo>
                        <a:pt x="246" y="792"/>
                      </a:lnTo>
                      <a:lnTo>
                        <a:pt x="234" y="792"/>
                      </a:lnTo>
                      <a:lnTo>
                        <a:pt x="210" y="798"/>
                      </a:lnTo>
                      <a:lnTo>
                        <a:pt x="192" y="792"/>
                      </a:lnTo>
                      <a:lnTo>
                        <a:pt x="174" y="792"/>
                      </a:lnTo>
                      <a:lnTo>
                        <a:pt x="156" y="786"/>
                      </a:lnTo>
                      <a:lnTo>
                        <a:pt x="150" y="780"/>
                      </a:lnTo>
                      <a:lnTo>
                        <a:pt x="138" y="780"/>
                      </a:lnTo>
                      <a:lnTo>
                        <a:pt x="132" y="786"/>
                      </a:lnTo>
                      <a:lnTo>
                        <a:pt x="126" y="792"/>
                      </a:lnTo>
                      <a:lnTo>
                        <a:pt x="126" y="798"/>
                      </a:lnTo>
                      <a:lnTo>
                        <a:pt x="126" y="810"/>
                      </a:lnTo>
                      <a:lnTo>
                        <a:pt x="138" y="822"/>
                      </a:lnTo>
                      <a:lnTo>
                        <a:pt x="150" y="834"/>
                      </a:lnTo>
                      <a:lnTo>
                        <a:pt x="162" y="840"/>
                      </a:lnTo>
                      <a:lnTo>
                        <a:pt x="174" y="840"/>
                      </a:lnTo>
                      <a:lnTo>
                        <a:pt x="192" y="846"/>
                      </a:lnTo>
                      <a:lnTo>
                        <a:pt x="210" y="858"/>
                      </a:lnTo>
                      <a:lnTo>
                        <a:pt x="222" y="864"/>
                      </a:lnTo>
                      <a:lnTo>
                        <a:pt x="228" y="870"/>
                      </a:lnTo>
                      <a:lnTo>
                        <a:pt x="234" y="882"/>
                      </a:lnTo>
                      <a:lnTo>
                        <a:pt x="234" y="894"/>
                      </a:lnTo>
                      <a:lnTo>
                        <a:pt x="228" y="912"/>
                      </a:lnTo>
                      <a:lnTo>
                        <a:pt x="216" y="930"/>
                      </a:lnTo>
                      <a:lnTo>
                        <a:pt x="204" y="942"/>
                      </a:lnTo>
                      <a:lnTo>
                        <a:pt x="192" y="954"/>
                      </a:lnTo>
                      <a:lnTo>
                        <a:pt x="174" y="966"/>
                      </a:lnTo>
                      <a:lnTo>
                        <a:pt x="138" y="978"/>
                      </a:lnTo>
                      <a:lnTo>
                        <a:pt x="96" y="978"/>
                      </a:lnTo>
                      <a:lnTo>
                        <a:pt x="60" y="972"/>
                      </a:lnTo>
                      <a:lnTo>
                        <a:pt x="36" y="972"/>
                      </a:lnTo>
                      <a:lnTo>
                        <a:pt x="18" y="972"/>
                      </a:lnTo>
                      <a:lnTo>
                        <a:pt x="18" y="972"/>
                      </a:lnTo>
                      <a:lnTo>
                        <a:pt x="18" y="642"/>
                      </a:lnTo>
                      <a:lnTo>
                        <a:pt x="0" y="534"/>
                      </a:lnTo>
                      <a:lnTo>
                        <a:pt x="36" y="474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3" name="Freeform 386">
                  <a:extLst>
                    <a:ext uri="{FF2B5EF4-FFF2-40B4-BE49-F238E27FC236}">
                      <a16:creationId xmlns:a16="http://schemas.microsoft.com/office/drawing/2014/main" id="{BDF59392-00E0-4C0E-B718-006096AC7C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921" y="3588"/>
                  <a:ext cx="1128" cy="1350"/>
                </a:xfrm>
                <a:custGeom>
                  <a:avLst/>
                  <a:gdLst>
                    <a:gd name="T0" fmla="*/ 192 w 1128"/>
                    <a:gd name="T1" fmla="*/ 0 h 1350"/>
                    <a:gd name="T2" fmla="*/ 258 w 1128"/>
                    <a:gd name="T3" fmla="*/ 18 h 1350"/>
                    <a:gd name="T4" fmla="*/ 324 w 1128"/>
                    <a:gd name="T5" fmla="*/ 48 h 1350"/>
                    <a:gd name="T6" fmla="*/ 354 w 1128"/>
                    <a:gd name="T7" fmla="*/ 132 h 1350"/>
                    <a:gd name="T8" fmla="*/ 330 w 1128"/>
                    <a:gd name="T9" fmla="*/ 186 h 1350"/>
                    <a:gd name="T10" fmla="*/ 372 w 1128"/>
                    <a:gd name="T11" fmla="*/ 246 h 1350"/>
                    <a:gd name="T12" fmla="*/ 420 w 1128"/>
                    <a:gd name="T13" fmla="*/ 318 h 1350"/>
                    <a:gd name="T14" fmla="*/ 444 w 1128"/>
                    <a:gd name="T15" fmla="*/ 372 h 1350"/>
                    <a:gd name="T16" fmla="*/ 474 w 1128"/>
                    <a:gd name="T17" fmla="*/ 384 h 1350"/>
                    <a:gd name="T18" fmla="*/ 540 w 1128"/>
                    <a:gd name="T19" fmla="*/ 348 h 1350"/>
                    <a:gd name="T20" fmla="*/ 582 w 1128"/>
                    <a:gd name="T21" fmla="*/ 270 h 1350"/>
                    <a:gd name="T22" fmla="*/ 606 w 1128"/>
                    <a:gd name="T23" fmla="*/ 240 h 1350"/>
                    <a:gd name="T24" fmla="*/ 642 w 1128"/>
                    <a:gd name="T25" fmla="*/ 258 h 1350"/>
                    <a:gd name="T26" fmla="*/ 690 w 1128"/>
                    <a:gd name="T27" fmla="*/ 234 h 1350"/>
                    <a:gd name="T28" fmla="*/ 702 w 1128"/>
                    <a:gd name="T29" fmla="*/ 192 h 1350"/>
                    <a:gd name="T30" fmla="*/ 714 w 1128"/>
                    <a:gd name="T31" fmla="*/ 162 h 1350"/>
                    <a:gd name="T32" fmla="*/ 858 w 1128"/>
                    <a:gd name="T33" fmla="*/ 222 h 1350"/>
                    <a:gd name="T34" fmla="*/ 972 w 1128"/>
                    <a:gd name="T35" fmla="*/ 306 h 1350"/>
                    <a:gd name="T36" fmla="*/ 1050 w 1128"/>
                    <a:gd name="T37" fmla="*/ 342 h 1350"/>
                    <a:gd name="T38" fmla="*/ 1128 w 1128"/>
                    <a:gd name="T39" fmla="*/ 378 h 1350"/>
                    <a:gd name="T40" fmla="*/ 1092 w 1128"/>
                    <a:gd name="T41" fmla="*/ 1350 h 1350"/>
                    <a:gd name="T42" fmla="*/ 1026 w 1128"/>
                    <a:gd name="T43" fmla="*/ 1314 h 1350"/>
                    <a:gd name="T44" fmla="*/ 972 w 1128"/>
                    <a:gd name="T45" fmla="*/ 1272 h 1350"/>
                    <a:gd name="T46" fmla="*/ 828 w 1128"/>
                    <a:gd name="T47" fmla="*/ 1170 h 1350"/>
                    <a:gd name="T48" fmla="*/ 816 w 1128"/>
                    <a:gd name="T49" fmla="*/ 1128 h 1350"/>
                    <a:gd name="T50" fmla="*/ 840 w 1128"/>
                    <a:gd name="T51" fmla="*/ 1062 h 1350"/>
                    <a:gd name="T52" fmla="*/ 858 w 1128"/>
                    <a:gd name="T53" fmla="*/ 1020 h 1350"/>
                    <a:gd name="T54" fmla="*/ 828 w 1128"/>
                    <a:gd name="T55" fmla="*/ 984 h 1350"/>
                    <a:gd name="T56" fmla="*/ 804 w 1128"/>
                    <a:gd name="T57" fmla="*/ 948 h 1350"/>
                    <a:gd name="T58" fmla="*/ 816 w 1128"/>
                    <a:gd name="T59" fmla="*/ 882 h 1350"/>
                    <a:gd name="T60" fmla="*/ 786 w 1128"/>
                    <a:gd name="T61" fmla="*/ 780 h 1350"/>
                    <a:gd name="T62" fmla="*/ 744 w 1128"/>
                    <a:gd name="T63" fmla="*/ 756 h 1350"/>
                    <a:gd name="T64" fmla="*/ 594 w 1128"/>
                    <a:gd name="T65" fmla="*/ 672 h 1350"/>
                    <a:gd name="T66" fmla="*/ 474 w 1128"/>
                    <a:gd name="T67" fmla="*/ 600 h 1350"/>
                    <a:gd name="T68" fmla="*/ 444 w 1128"/>
                    <a:gd name="T69" fmla="*/ 570 h 1350"/>
                    <a:gd name="T70" fmla="*/ 408 w 1128"/>
                    <a:gd name="T71" fmla="*/ 558 h 1350"/>
                    <a:gd name="T72" fmla="*/ 372 w 1128"/>
                    <a:gd name="T73" fmla="*/ 534 h 1350"/>
                    <a:gd name="T74" fmla="*/ 336 w 1128"/>
                    <a:gd name="T75" fmla="*/ 486 h 1350"/>
                    <a:gd name="T76" fmla="*/ 342 w 1128"/>
                    <a:gd name="T77" fmla="*/ 420 h 1350"/>
                    <a:gd name="T78" fmla="*/ 378 w 1128"/>
                    <a:gd name="T79" fmla="*/ 372 h 1350"/>
                    <a:gd name="T80" fmla="*/ 366 w 1128"/>
                    <a:gd name="T81" fmla="*/ 318 h 1350"/>
                    <a:gd name="T82" fmla="*/ 318 w 1128"/>
                    <a:gd name="T83" fmla="*/ 336 h 1350"/>
                    <a:gd name="T84" fmla="*/ 276 w 1128"/>
                    <a:gd name="T85" fmla="*/ 456 h 1350"/>
                    <a:gd name="T86" fmla="*/ 246 w 1128"/>
                    <a:gd name="T87" fmla="*/ 552 h 1350"/>
                    <a:gd name="T88" fmla="*/ 186 w 1128"/>
                    <a:gd name="T89" fmla="*/ 528 h 1350"/>
                    <a:gd name="T90" fmla="*/ 192 w 1128"/>
                    <a:gd name="T91" fmla="*/ 450 h 1350"/>
                    <a:gd name="T92" fmla="*/ 72 w 1128"/>
                    <a:gd name="T93" fmla="*/ 342 h 1350"/>
                    <a:gd name="T94" fmla="*/ 90 w 1128"/>
                    <a:gd name="T95" fmla="*/ 300 h 1350"/>
                    <a:gd name="T96" fmla="*/ 144 w 1128"/>
                    <a:gd name="T97" fmla="*/ 312 h 1350"/>
                    <a:gd name="T98" fmla="*/ 168 w 1128"/>
                    <a:gd name="T99" fmla="*/ 288 h 1350"/>
                    <a:gd name="T100" fmla="*/ 216 w 1128"/>
                    <a:gd name="T101" fmla="*/ 270 h 1350"/>
                    <a:gd name="T102" fmla="*/ 276 w 1128"/>
                    <a:gd name="T103" fmla="*/ 270 h 1350"/>
                    <a:gd name="T104" fmla="*/ 234 w 1128"/>
                    <a:gd name="T105" fmla="*/ 222 h 1350"/>
                    <a:gd name="T106" fmla="*/ 126 w 1128"/>
                    <a:gd name="T107" fmla="*/ 216 h 1350"/>
                    <a:gd name="T108" fmla="*/ 84 w 1128"/>
                    <a:gd name="T109" fmla="*/ 210 h 1350"/>
                    <a:gd name="T110" fmla="*/ 90 w 1128"/>
                    <a:gd name="T111" fmla="*/ 168 h 1350"/>
                    <a:gd name="T112" fmla="*/ 6 w 1128"/>
                    <a:gd name="T113" fmla="*/ 132 h 1350"/>
                    <a:gd name="T114" fmla="*/ 12 w 1128"/>
                    <a:gd name="T115" fmla="*/ 102 h 1350"/>
                    <a:gd name="T116" fmla="*/ 42 w 1128"/>
                    <a:gd name="T117" fmla="*/ 60 h 1350"/>
                    <a:gd name="T118" fmla="*/ 78 w 1128"/>
                    <a:gd name="T119" fmla="*/ 24 h 1350"/>
                    <a:gd name="T120" fmla="*/ 138 w 1128"/>
                    <a:gd name="T121" fmla="*/ 24 h 1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128" h="1350">
                      <a:moveTo>
                        <a:pt x="1092" y="1350"/>
                      </a:moveTo>
                      <a:lnTo>
                        <a:pt x="1092" y="1350"/>
                      </a:lnTo>
                      <a:lnTo>
                        <a:pt x="1092" y="1350"/>
                      </a:lnTo>
                      <a:lnTo>
                        <a:pt x="1092" y="1350"/>
                      </a:lnTo>
                      <a:close/>
                      <a:moveTo>
                        <a:pt x="192" y="0"/>
                      </a:moveTo>
                      <a:lnTo>
                        <a:pt x="222" y="0"/>
                      </a:lnTo>
                      <a:lnTo>
                        <a:pt x="228" y="6"/>
                      </a:lnTo>
                      <a:lnTo>
                        <a:pt x="234" y="6"/>
                      </a:lnTo>
                      <a:lnTo>
                        <a:pt x="246" y="12"/>
                      </a:lnTo>
                      <a:lnTo>
                        <a:pt x="258" y="18"/>
                      </a:lnTo>
                      <a:lnTo>
                        <a:pt x="276" y="24"/>
                      </a:lnTo>
                      <a:lnTo>
                        <a:pt x="294" y="30"/>
                      </a:lnTo>
                      <a:lnTo>
                        <a:pt x="306" y="36"/>
                      </a:lnTo>
                      <a:lnTo>
                        <a:pt x="318" y="42"/>
                      </a:lnTo>
                      <a:lnTo>
                        <a:pt x="324" y="48"/>
                      </a:lnTo>
                      <a:lnTo>
                        <a:pt x="336" y="60"/>
                      </a:lnTo>
                      <a:lnTo>
                        <a:pt x="342" y="78"/>
                      </a:lnTo>
                      <a:lnTo>
                        <a:pt x="348" y="90"/>
                      </a:lnTo>
                      <a:lnTo>
                        <a:pt x="348" y="108"/>
                      </a:lnTo>
                      <a:lnTo>
                        <a:pt x="354" y="132"/>
                      </a:lnTo>
                      <a:lnTo>
                        <a:pt x="354" y="150"/>
                      </a:lnTo>
                      <a:lnTo>
                        <a:pt x="348" y="162"/>
                      </a:lnTo>
                      <a:lnTo>
                        <a:pt x="342" y="168"/>
                      </a:lnTo>
                      <a:lnTo>
                        <a:pt x="336" y="180"/>
                      </a:lnTo>
                      <a:lnTo>
                        <a:pt x="330" y="186"/>
                      </a:lnTo>
                      <a:lnTo>
                        <a:pt x="330" y="198"/>
                      </a:lnTo>
                      <a:lnTo>
                        <a:pt x="330" y="210"/>
                      </a:lnTo>
                      <a:lnTo>
                        <a:pt x="342" y="222"/>
                      </a:lnTo>
                      <a:lnTo>
                        <a:pt x="354" y="234"/>
                      </a:lnTo>
                      <a:lnTo>
                        <a:pt x="372" y="246"/>
                      </a:lnTo>
                      <a:lnTo>
                        <a:pt x="384" y="258"/>
                      </a:lnTo>
                      <a:lnTo>
                        <a:pt x="390" y="270"/>
                      </a:lnTo>
                      <a:lnTo>
                        <a:pt x="402" y="288"/>
                      </a:lnTo>
                      <a:lnTo>
                        <a:pt x="408" y="300"/>
                      </a:lnTo>
                      <a:lnTo>
                        <a:pt x="420" y="318"/>
                      </a:lnTo>
                      <a:lnTo>
                        <a:pt x="432" y="330"/>
                      </a:lnTo>
                      <a:lnTo>
                        <a:pt x="438" y="342"/>
                      </a:lnTo>
                      <a:lnTo>
                        <a:pt x="444" y="348"/>
                      </a:lnTo>
                      <a:lnTo>
                        <a:pt x="444" y="360"/>
                      </a:lnTo>
                      <a:lnTo>
                        <a:pt x="444" y="372"/>
                      </a:lnTo>
                      <a:lnTo>
                        <a:pt x="444" y="384"/>
                      </a:lnTo>
                      <a:lnTo>
                        <a:pt x="450" y="390"/>
                      </a:lnTo>
                      <a:lnTo>
                        <a:pt x="456" y="390"/>
                      </a:lnTo>
                      <a:lnTo>
                        <a:pt x="462" y="390"/>
                      </a:lnTo>
                      <a:lnTo>
                        <a:pt x="474" y="384"/>
                      </a:lnTo>
                      <a:lnTo>
                        <a:pt x="486" y="378"/>
                      </a:lnTo>
                      <a:lnTo>
                        <a:pt x="498" y="366"/>
                      </a:lnTo>
                      <a:lnTo>
                        <a:pt x="510" y="360"/>
                      </a:lnTo>
                      <a:lnTo>
                        <a:pt x="528" y="348"/>
                      </a:lnTo>
                      <a:lnTo>
                        <a:pt x="540" y="348"/>
                      </a:lnTo>
                      <a:lnTo>
                        <a:pt x="552" y="342"/>
                      </a:lnTo>
                      <a:lnTo>
                        <a:pt x="564" y="330"/>
                      </a:lnTo>
                      <a:lnTo>
                        <a:pt x="576" y="312"/>
                      </a:lnTo>
                      <a:lnTo>
                        <a:pt x="582" y="294"/>
                      </a:lnTo>
                      <a:lnTo>
                        <a:pt x="582" y="270"/>
                      </a:lnTo>
                      <a:lnTo>
                        <a:pt x="582" y="258"/>
                      </a:lnTo>
                      <a:lnTo>
                        <a:pt x="588" y="246"/>
                      </a:lnTo>
                      <a:lnTo>
                        <a:pt x="594" y="240"/>
                      </a:lnTo>
                      <a:lnTo>
                        <a:pt x="600" y="240"/>
                      </a:lnTo>
                      <a:lnTo>
                        <a:pt x="606" y="240"/>
                      </a:lnTo>
                      <a:lnTo>
                        <a:pt x="612" y="240"/>
                      </a:lnTo>
                      <a:lnTo>
                        <a:pt x="612" y="246"/>
                      </a:lnTo>
                      <a:lnTo>
                        <a:pt x="618" y="252"/>
                      </a:lnTo>
                      <a:lnTo>
                        <a:pt x="630" y="258"/>
                      </a:lnTo>
                      <a:lnTo>
                        <a:pt x="642" y="258"/>
                      </a:lnTo>
                      <a:lnTo>
                        <a:pt x="660" y="258"/>
                      </a:lnTo>
                      <a:lnTo>
                        <a:pt x="672" y="258"/>
                      </a:lnTo>
                      <a:lnTo>
                        <a:pt x="678" y="252"/>
                      </a:lnTo>
                      <a:lnTo>
                        <a:pt x="684" y="246"/>
                      </a:lnTo>
                      <a:lnTo>
                        <a:pt x="690" y="234"/>
                      </a:lnTo>
                      <a:lnTo>
                        <a:pt x="684" y="228"/>
                      </a:lnTo>
                      <a:lnTo>
                        <a:pt x="678" y="216"/>
                      </a:lnTo>
                      <a:lnTo>
                        <a:pt x="678" y="210"/>
                      </a:lnTo>
                      <a:lnTo>
                        <a:pt x="690" y="198"/>
                      </a:lnTo>
                      <a:lnTo>
                        <a:pt x="702" y="192"/>
                      </a:lnTo>
                      <a:lnTo>
                        <a:pt x="714" y="192"/>
                      </a:lnTo>
                      <a:lnTo>
                        <a:pt x="720" y="186"/>
                      </a:lnTo>
                      <a:lnTo>
                        <a:pt x="720" y="180"/>
                      </a:lnTo>
                      <a:lnTo>
                        <a:pt x="714" y="174"/>
                      </a:lnTo>
                      <a:lnTo>
                        <a:pt x="714" y="162"/>
                      </a:lnTo>
                      <a:lnTo>
                        <a:pt x="726" y="156"/>
                      </a:lnTo>
                      <a:lnTo>
                        <a:pt x="750" y="156"/>
                      </a:lnTo>
                      <a:lnTo>
                        <a:pt x="786" y="162"/>
                      </a:lnTo>
                      <a:lnTo>
                        <a:pt x="816" y="186"/>
                      </a:lnTo>
                      <a:lnTo>
                        <a:pt x="858" y="222"/>
                      </a:lnTo>
                      <a:lnTo>
                        <a:pt x="906" y="252"/>
                      </a:lnTo>
                      <a:lnTo>
                        <a:pt x="936" y="276"/>
                      </a:lnTo>
                      <a:lnTo>
                        <a:pt x="942" y="288"/>
                      </a:lnTo>
                      <a:lnTo>
                        <a:pt x="954" y="294"/>
                      </a:lnTo>
                      <a:lnTo>
                        <a:pt x="972" y="306"/>
                      </a:lnTo>
                      <a:lnTo>
                        <a:pt x="990" y="312"/>
                      </a:lnTo>
                      <a:lnTo>
                        <a:pt x="1008" y="324"/>
                      </a:lnTo>
                      <a:lnTo>
                        <a:pt x="1020" y="336"/>
                      </a:lnTo>
                      <a:lnTo>
                        <a:pt x="1032" y="342"/>
                      </a:lnTo>
                      <a:lnTo>
                        <a:pt x="1050" y="342"/>
                      </a:lnTo>
                      <a:lnTo>
                        <a:pt x="1062" y="348"/>
                      </a:lnTo>
                      <a:lnTo>
                        <a:pt x="1080" y="348"/>
                      </a:lnTo>
                      <a:lnTo>
                        <a:pt x="1098" y="360"/>
                      </a:lnTo>
                      <a:lnTo>
                        <a:pt x="1110" y="366"/>
                      </a:lnTo>
                      <a:lnTo>
                        <a:pt x="1128" y="378"/>
                      </a:lnTo>
                      <a:lnTo>
                        <a:pt x="1128" y="378"/>
                      </a:lnTo>
                      <a:lnTo>
                        <a:pt x="1110" y="852"/>
                      </a:lnTo>
                      <a:lnTo>
                        <a:pt x="1074" y="912"/>
                      </a:lnTo>
                      <a:lnTo>
                        <a:pt x="1092" y="1020"/>
                      </a:lnTo>
                      <a:lnTo>
                        <a:pt x="1092" y="1350"/>
                      </a:lnTo>
                      <a:lnTo>
                        <a:pt x="1080" y="1350"/>
                      </a:lnTo>
                      <a:lnTo>
                        <a:pt x="1068" y="1344"/>
                      </a:lnTo>
                      <a:lnTo>
                        <a:pt x="1056" y="1338"/>
                      </a:lnTo>
                      <a:lnTo>
                        <a:pt x="1044" y="1326"/>
                      </a:lnTo>
                      <a:lnTo>
                        <a:pt x="1026" y="1314"/>
                      </a:lnTo>
                      <a:lnTo>
                        <a:pt x="1008" y="1308"/>
                      </a:lnTo>
                      <a:lnTo>
                        <a:pt x="996" y="1302"/>
                      </a:lnTo>
                      <a:lnTo>
                        <a:pt x="984" y="1302"/>
                      </a:lnTo>
                      <a:lnTo>
                        <a:pt x="972" y="1290"/>
                      </a:lnTo>
                      <a:lnTo>
                        <a:pt x="972" y="1272"/>
                      </a:lnTo>
                      <a:lnTo>
                        <a:pt x="966" y="1242"/>
                      </a:lnTo>
                      <a:lnTo>
                        <a:pt x="948" y="1206"/>
                      </a:lnTo>
                      <a:lnTo>
                        <a:pt x="900" y="1176"/>
                      </a:lnTo>
                      <a:lnTo>
                        <a:pt x="846" y="1170"/>
                      </a:lnTo>
                      <a:lnTo>
                        <a:pt x="828" y="1170"/>
                      </a:lnTo>
                      <a:lnTo>
                        <a:pt x="816" y="1164"/>
                      </a:lnTo>
                      <a:lnTo>
                        <a:pt x="810" y="1158"/>
                      </a:lnTo>
                      <a:lnTo>
                        <a:pt x="810" y="1152"/>
                      </a:lnTo>
                      <a:lnTo>
                        <a:pt x="810" y="1140"/>
                      </a:lnTo>
                      <a:lnTo>
                        <a:pt x="816" y="1128"/>
                      </a:lnTo>
                      <a:lnTo>
                        <a:pt x="822" y="1122"/>
                      </a:lnTo>
                      <a:lnTo>
                        <a:pt x="828" y="1110"/>
                      </a:lnTo>
                      <a:lnTo>
                        <a:pt x="834" y="1092"/>
                      </a:lnTo>
                      <a:lnTo>
                        <a:pt x="840" y="1074"/>
                      </a:lnTo>
                      <a:lnTo>
                        <a:pt x="840" y="1062"/>
                      </a:lnTo>
                      <a:lnTo>
                        <a:pt x="840" y="1050"/>
                      </a:lnTo>
                      <a:lnTo>
                        <a:pt x="840" y="1044"/>
                      </a:lnTo>
                      <a:lnTo>
                        <a:pt x="840" y="1032"/>
                      </a:lnTo>
                      <a:lnTo>
                        <a:pt x="846" y="1026"/>
                      </a:lnTo>
                      <a:lnTo>
                        <a:pt x="858" y="1020"/>
                      </a:lnTo>
                      <a:lnTo>
                        <a:pt x="858" y="1020"/>
                      </a:lnTo>
                      <a:lnTo>
                        <a:pt x="852" y="1014"/>
                      </a:lnTo>
                      <a:lnTo>
                        <a:pt x="846" y="1002"/>
                      </a:lnTo>
                      <a:lnTo>
                        <a:pt x="834" y="996"/>
                      </a:lnTo>
                      <a:lnTo>
                        <a:pt x="828" y="984"/>
                      </a:lnTo>
                      <a:lnTo>
                        <a:pt x="822" y="978"/>
                      </a:lnTo>
                      <a:lnTo>
                        <a:pt x="816" y="972"/>
                      </a:lnTo>
                      <a:lnTo>
                        <a:pt x="816" y="972"/>
                      </a:lnTo>
                      <a:lnTo>
                        <a:pt x="810" y="960"/>
                      </a:lnTo>
                      <a:lnTo>
                        <a:pt x="804" y="948"/>
                      </a:lnTo>
                      <a:lnTo>
                        <a:pt x="804" y="936"/>
                      </a:lnTo>
                      <a:lnTo>
                        <a:pt x="798" y="924"/>
                      </a:lnTo>
                      <a:lnTo>
                        <a:pt x="804" y="912"/>
                      </a:lnTo>
                      <a:lnTo>
                        <a:pt x="810" y="900"/>
                      </a:lnTo>
                      <a:lnTo>
                        <a:pt x="816" y="882"/>
                      </a:lnTo>
                      <a:lnTo>
                        <a:pt x="804" y="858"/>
                      </a:lnTo>
                      <a:lnTo>
                        <a:pt x="792" y="828"/>
                      </a:lnTo>
                      <a:lnTo>
                        <a:pt x="792" y="798"/>
                      </a:lnTo>
                      <a:lnTo>
                        <a:pt x="792" y="792"/>
                      </a:lnTo>
                      <a:lnTo>
                        <a:pt x="786" y="780"/>
                      </a:lnTo>
                      <a:lnTo>
                        <a:pt x="786" y="780"/>
                      </a:lnTo>
                      <a:lnTo>
                        <a:pt x="774" y="774"/>
                      </a:lnTo>
                      <a:lnTo>
                        <a:pt x="768" y="768"/>
                      </a:lnTo>
                      <a:lnTo>
                        <a:pt x="756" y="768"/>
                      </a:lnTo>
                      <a:lnTo>
                        <a:pt x="744" y="756"/>
                      </a:lnTo>
                      <a:lnTo>
                        <a:pt x="738" y="744"/>
                      </a:lnTo>
                      <a:lnTo>
                        <a:pt x="708" y="714"/>
                      </a:lnTo>
                      <a:lnTo>
                        <a:pt x="678" y="690"/>
                      </a:lnTo>
                      <a:lnTo>
                        <a:pt x="636" y="684"/>
                      </a:lnTo>
                      <a:lnTo>
                        <a:pt x="594" y="672"/>
                      </a:lnTo>
                      <a:lnTo>
                        <a:pt x="546" y="648"/>
                      </a:lnTo>
                      <a:lnTo>
                        <a:pt x="516" y="624"/>
                      </a:lnTo>
                      <a:lnTo>
                        <a:pt x="504" y="612"/>
                      </a:lnTo>
                      <a:lnTo>
                        <a:pt x="486" y="606"/>
                      </a:lnTo>
                      <a:lnTo>
                        <a:pt x="474" y="600"/>
                      </a:lnTo>
                      <a:lnTo>
                        <a:pt x="462" y="600"/>
                      </a:lnTo>
                      <a:lnTo>
                        <a:pt x="456" y="594"/>
                      </a:lnTo>
                      <a:lnTo>
                        <a:pt x="450" y="588"/>
                      </a:lnTo>
                      <a:lnTo>
                        <a:pt x="450" y="576"/>
                      </a:lnTo>
                      <a:lnTo>
                        <a:pt x="444" y="570"/>
                      </a:lnTo>
                      <a:lnTo>
                        <a:pt x="432" y="570"/>
                      </a:lnTo>
                      <a:lnTo>
                        <a:pt x="420" y="570"/>
                      </a:lnTo>
                      <a:lnTo>
                        <a:pt x="414" y="576"/>
                      </a:lnTo>
                      <a:lnTo>
                        <a:pt x="408" y="570"/>
                      </a:lnTo>
                      <a:lnTo>
                        <a:pt x="408" y="558"/>
                      </a:lnTo>
                      <a:lnTo>
                        <a:pt x="402" y="552"/>
                      </a:lnTo>
                      <a:lnTo>
                        <a:pt x="402" y="540"/>
                      </a:lnTo>
                      <a:lnTo>
                        <a:pt x="396" y="534"/>
                      </a:lnTo>
                      <a:lnTo>
                        <a:pt x="384" y="534"/>
                      </a:lnTo>
                      <a:lnTo>
                        <a:pt x="372" y="534"/>
                      </a:lnTo>
                      <a:lnTo>
                        <a:pt x="366" y="528"/>
                      </a:lnTo>
                      <a:lnTo>
                        <a:pt x="360" y="516"/>
                      </a:lnTo>
                      <a:lnTo>
                        <a:pt x="354" y="504"/>
                      </a:lnTo>
                      <a:lnTo>
                        <a:pt x="348" y="498"/>
                      </a:lnTo>
                      <a:lnTo>
                        <a:pt x="336" y="486"/>
                      </a:lnTo>
                      <a:lnTo>
                        <a:pt x="330" y="474"/>
                      </a:lnTo>
                      <a:lnTo>
                        <a:pt x="330" y="462"/>
                      </a:lnTo>
                      <a:lnTo>
                        <a:pt x="330" y="450"/>
                      </a:lnTo>
                      <a:lnTo>
                        <a:pt x="336" y="438"/>
                      </a:lnTo>
                      <a:lnTo>
                        <a:pt x="342" y="420"/>
                      </a:lnTo>
                      <a:lnTo>
                        <a:pt x="342" y="402"/>
                      </a:lnTo>
                      <a:lnTo>
                        <a:pt x="348" y="390"/>
                      </a:lnTo>
                      <a:lnTo>
                        <a:pt x="360" y="378"/>
                      </a:lnTo>
                      <a:lnTo>
                        <a:pt x="366" y="372"/>
                      </a:lnTo>
                      <a:lnTo>
                        <a:pt x="378" y="372"/>
                      </a:lnTo>
                      <a:lnTo>
                        <a:pt x="384" y="366"/>
                      </a:lnTo>
                      <a:lnTo>
                        <a:pt x="384" y="354"/>
                      </a:lnTo>
                      <a:lnTo>
                        <a:pt x="384" y="342"/>
                      </a:lnTo>
                      <a:lnTo>
                        <a:pt x="378" y="330"/>
                      </a:lnTo>
                      <a:lnTo>
                        <a:pt x="366" y="318"/>
                      </a:lnTo>
                      <a:lnTo>
                        <a:pt x="360" y="318"/>
                      </a:lnTo>
                      <a:lnTo>
                        <a:pt x="348" y="318"/>
                      </a:lnTo>
                      <a:lnTo>
                        <a:pt x="342" y="318"/>
                      </a:lnTo>
                      <a:lnTo>
                        <a:pt x="330" y="330"/>
                      </a:lnTo>
                      <a:lnTo>
                        <a:pt x="318" y="336"/>
                      </a:lnTo>
                      <a:lnTo>
                        <a:pt x="306" y="348"/>
                      </a:lnTo>
                      <a:lnTo>
                        <a:pt x="300" y="354"/>
                      </a:lnTo>
                      <a:lnTo>
                        <a:pt x="288" y="378"/>
                      </a:lnTo>
                      <a:lnTo>
                        <a:pt x="282" y="414"/>
                      </a:lnTo>
                      <a:lnTo>
                        <a:pt x="276" y="456"/>
                      </a:lnTo>
                      <a:lnTo>
                        <a:pt x="282" y="486"/>
                      </a:lnTo>
                      <a:lnTo>
                        <a:pt x="282" y="510"/>
                      </a:lnTo>
                      <a:lnTo>
                        <a:pt x="270" y="528"/>
                      </a:lnTo>
                      <a:lnTo>
                        <a:pt x="264" y="540"/>
                      </a:lnTo>
                      <a:lnTo>
                        <a:pt x="246" y="552"/>
                      </a:lnTo>
                      <a:lnTo>
                        <a:pt x="228" y="558"/>
                      </a:lnTo>
                      <a:lnTo>
                        <a:pt x="216" y="558"/>
                      </a:lnTo>
                      <a:lnTo>
                        <a:pt x="198" y="552"/>
                      </a:lnTo>
                      <a:lnTo>
                        <a:pt x="192" y="540"/>
                      </a:lnTo>
                      <a:lnTo>
                        <a:pt x="186" y="528"/>
                      </a:lnTo>
                      <a:lnTo>
                        <a:pt x="186" y="510"/>
                      </a:lnTo>
                      <a:lnTo>
                        <a:pt x="186" y="498"/>
                      </a:lnTo>
                      <a:lnTo>
                        <a:pt x="186" y="480"/>
                      </a:lnTo>
                      <a:lnTo>
                        <a:pt x="192" y="468"/>
                      </a:lnTo>
                      <a:lnTo>
                        <a:pt x="192" y="450"/>
                      </a:lnTo>
                      <a:lnTo>
                        <a:pt x="192" y="438"/>
                      </a:lnTo>
                      <a:lnTo>
                        <a:pt x="186" y="420"/>
                      </a:lnTo>
                      <a:lnTo>
                        <a:pt x="150" y="378"/>
                      </a:lnTo>
                      <a:lnTo>
                        <a:pt x="84" y="348"/>
                      </a:lnTo>
                      <a:lnTo>
                        <a:pt x="72" y="342"/>
                      </a:lnTo>
                      <a:lnTo>
                        <a:pt x="66" y="330"/>
                      </a:lnTo>
                      <a:lnTo>
                        <a:pt x="66" y="324"/>
                      </a:lnTo>
                      <a:lnTo>
                        <a:pt x="72" y="312"/>
                      </a:lnTo>
                      <a:lnTo>
                        <a:pt x="78" y="306"/>
                      </a:lnTo>
                      <a:lnTo>
                        <a:pt x="90" y="300"/>
                      </a:lnTo>
                      <a:lnTo>
                        <a:pt x="102" y="300"/>
                      </a:lnTo>
                      <a:lnTo>
                        <a:pt x="114" y="300"/>
                      </a:lnTo>
                      <a:lnTo>
                        <a:pt x="126" y="306"/>
                      </a:lnTo>
                      <a:lnTo>
                        <a:pt x="138" y="306"/>
                      </a:lnTo>
                      <a:lnTo>
                        <a:pt x="144" y="312"/>
                      </a:lnTo>
                      <a:lnTo>
                        <a:pt x="150" y="306"/>
                      </a:lnTo>
                      <a:lnTo>
                        <a:pt x="156" y="300"/>
                      </a:lnTo>
                      <a:lnTo>
                        <a:pt x="156" y="294"/>
                      </a:lnTo>
                      <a:lnTo>
                        <a:pt x="162" y="288"/>
                      </a:lnTo>
                      <a:lnTo>
                        <a:pt x="168" y="288"/>
                      </a:lnTo>
                      <a:lnTo>
                        <a:pt x="174" y="288"/>
                      </a:lnTo>
                      <a:lnTo>
                        <a:pt x="180" y="288"/>
                      </a:lnTo>
                      <a:lnTo>
                        <a:pt x="192" y="276"/>
                      </a:lnTo>
                      <a:lnTo>
                        <a:pt x="204" y="270"/>
                      </a:lnTo>
                      <a:lnTo>
                        <a:pt x="216" y="270"/>
                      </a:lnTo>
                      <a:lnTo>
                        <a:pt x="228" y="270"/>
                      </a:lnTo>
                      <a:lnTo>
                        <a:pt x="246" y="276"/>
                      </a:lnTo>
                      <a:lnTo>
                        <a:pt x="258" y="276"/>
                      </a:lnTo>
                      <a:lnTo>
                        <a:pt x="270" y="276"/>
                      </a:lnTo>
                      <a:lnTo>
                        <a:pt x="276" y="270"/>
                      </a:lnTo>
                      <a:lnTo>
                        <a:pt x="282" y="258"/>
                      </a:lnTo>
                      <a:lnTo>
                        <a:pt x="288" y="240"/>
                      </a:lnTo>
                      <a:lnTo>
                        <a:pt x="282" y="228"/>
                      </a:lnTo>
                      <a:lnTo>
                        <a:pt x="264" y="222"/>
                      </a:lnTo>
                      <a:lnTo>
                        <a:pt x="234" y="222"/>
                      </a:lnTo>
                      <a:lnTo>
                        <a:pt x="198" y="228"/>
                      </a:lnTo>
                      <a:lnTo>
                        <a:pt x="162" y="228"/>
                      </a:lnTo>
                      <a:lnTo>
                        <a:pt x="144" y="222"/>
                      </a:lnTo>
                      <a:lnTo>
                        <a:pt x="138" y="216"/>
                      </a:lnTo>
                      <a:lnTo>
                        <a:pt x="126" y="216"/>
                      </a:lnTo>
                      <a:lnTo>
                        <a:pt x="120" y="222"/>
                      </a:lnTo>
                      <a:lnTo>
                        <a:pt x="108" y="222"/>
                      </a:lnTo>
                      <a:lnTo>
                        <a:pt x="96" y="222"/>
                      </a:lnTo>
                      <a:lnTo>
                        <a:pt x="90" y="216"/>
                      </a:lnTo>
                      <a:lnTo>
                        <a:pt x="84" y="210"/>
                      </a:lnTo>
                      <a:lnTo>
                        <a:pt x="84" y="204"/>
                      </a:lnTo>
                      <a:lnTo>
                        <a:pt x="90" y="198"/>
                      </a:lnTo>
                      <a:lnTo>
                        <a:pt x="90" y="186"/>
                      </a:lnTo>
                      <a:lnTo>
                        <a:pt x="90" y="180"/>
                      </a:lnTo>
                      <a:lnTo>
                        <a:pt x="90" y="168"/>
                      </a:lnTo>
                      <a:lnTo>
                        <a:pt x="78" y="156"/>
                      </a:lnTo>
                      <a:lnTo>
                        <a:pt x="66" y="150"/>
                      </a:lnTo>
                      <a:lnTo>
                        <a:pt x="48" y="144"/>
                      </a:lnTo>
                      <a:lnTo>
                        <a:pt x="24" y="132"/>
                      </a:lnTo>
                      <a:lnTo>
                        <a:pt x="6" y="132"/>
                      </a:lnTo>
                      <a:lnTo>
                        <a:pt x="0" y="126"/>
                      </a:lnTo>
                      <a:lnTo>
                        <a:pt x="0" y="120"/>
                      </a:lnTo>
                      <a:lnTo>
                        <a:pt x="0" y="114"/>
                      </a:lnTo>
                      <a:lnTo>
                        <a:pt x="6" y="108"/>
                      </a:lnTo>
                      <a:lnTo>
                        <a:pt x="12" y="102"/>
                      </a:lnTo>
                      <a:lnTo>
                        <a:pt x="24" y="96"/>
                      </a:lnTo>
                      <a:lnTo>
                        <a:pt x="30" y="90"/>
                      </a:lnTo>
                      <a:lnTo>
                        <a:pt x="36" y="84"/>
                      </a:lnTo>
                      <a:lnTo>
                        <a:pt x="42" y="72"/>
                      </a:lnTo>
                      <a:lnTo>
                        <a:pt x="42" y="60"/>
                      </a:lnTo>
                      <a:lnTo>
                        <a:pt x="42" y="48"/>
                      </a:lnTo>
                      <a:lnTo>
                        <a:pt x="48" y="36"/>
                      </a:lnTo>
                      <a:lnTo>
                        <a:pt x="60" y="24"/>
                      </a:lnTo>
                      <a:lnTo>
                        <a:pt x="66" y="24"/>
                      </a:lnTo>
                      <a:lnTo>
                        <a:pt x="78" y="24"/>
                      </a:lnTo>
                      <a:lnTo>
                        <a:pt x="90" y="24"/>
                      </a:lnTo>
                      <a:lnTo>
                        <a:pt x="108" y="36"/>
                      </a:lnTo>
                      <a:lnTo>
                        <a:pt x="120" y="42"/>
                      </a:lnTo>
                      <a:lnTo>
                        <a:pt x="132" y="36"/>
                      </a:lnTo>
                      <a:lnTo>
                        <a:pt x="138" y="24"/>
                      </a:lnTo>
                      <a:lnTo>
                        <a:pt x="150" y="18"/>
                      </a:lnTo>
                      <a:lnTo>
                        <a:pt x="156" y="6"/>
                      </a:lnTo>
                      <a:lnTo>
                        <a:pt x="174" y="0"/>
                      </a:lnTo>
                      <a:lnTo>
                        <a:pt x="19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4" name="Freeform 387">
                  <a:extLst>
                    <a:ext uri="{FF2B5EF4-FFF2-40B4-BE49-F238E27FC236}">
                      <a16:creationId xmlns:a16="http://schemas.microsoft.com/office/drawing/2014/main" id="{2798555C-7895-49EB-981C-B99BB781B8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73" y="2532"/>
                  <a:ext cx="1080" cy="912"/>
                </a:xfrm>
                <a:custGeom>
                  <a:avLst/>
                  <a:gdLst>
                    <a:gd name="T0" fmla="*/ 834 w 1080"/>
                    <a:gd name="T1" fmla="*/ 18 h 912"/>
                    <a:gd name="T2" fmla="*/ 834 w 1080"/>
                    <a:gd name="T3" fmla="*/ 48 h 912"/>
                    <a:gd name="T4" fmla="*/ 846 w 1080"/>
                    <a:gd name="T5" fmla="*/ 66 h 912"/>
                    <a:gd name="T6" fmla="*/ 876 w 1080"/>
                    <a:gd name="T7" fmla="*/ 96 h 912"/>
                    <a:gd name="T8" fmla="*/ 918 w 1080"/>
                    <a:gd name="T9" fmla="*/ 126 h 912"/>
                    <a:gd name="T10" fmla="*/ 930 w 1080"/>
                    <a:gd name="T11" fmla="*/ 150 h 912"/>
                    <a:gd name="T12" fmla="*/ 954 w 1080"/>
                    <a:gd name="T13" fmla="*/ 168 h 912"/>
                    <a:gd name="T14" fmla="*/ 978 w 1080"/>
                    <a:gd name="T15" fmla="*/ 192 h 912"/>
                    <a:gd name="T16" fmla="*/ 990 w 1080"/>
                    <a:gd name="T17" fmla="*/ 210 h 912"/>
                    <a:gd name="T18" fmla="*/ 1020 w 1080"/>
                    <a:gd name="T19" fmla="*/ 210 h 912"/>
                    <a:gd name="T20" fmla="*/ 1050 w 1080"/>
                    <a:gd name="T21" fmla="*/ 246 h 912"/>
                    <a:gd name="T22" fmla="*/ 1068 w 1080"/>
                    <a:gd name="T23" fmla="*/ 270 h 912"/>
                    <a:gd name="T24" fmla="*/ 1080 w 1080"/>
                    <a:gd name="T25" fmla="*/ 288 h 912"/>
                    <a:gd name="T26" fmla="*/ 1056 w 1080"/>
                    <a:gd name="T27" fmla="*/ 312 h 912"/>
                    <a:gd name="T28" fmla="*/ 1050 w 1080"/>
                    <a:gd name="T29" fmla="*/ 324 h 912"/>
                    <a:gd name="T30" fmla="*/ 1020 w 1080"/>
                    <a:gd name="T31" fmla="*/ 312 h 912"/>
                    <a:gd name="T32" fmla="*/ 984 w 1080"/>
                    <a:gd name="T33" fmla="*/ 330 h 912"/>
                    <a:gd name="T34" fmla="*/ 996 w 1080"/>
                    <a:gd name="T35" fmla="*/ 360 h 912"/>
                    <a:gd name="T36" fmla="*/ 1020 w 1080"/>
                    <a:gd name="T37" fmla="*/ 384 h 912"/>
                    <a:gd name="T38" fmla="*/ 990 w 1080"/>
                    <a:gd name="T39" fmla="*/ 402 h 912"/>
                    <a:gd name="T40" fmla="*/ 936 w 1080"/>
                    <a:gd name="T41" fmla="*/ 384 h 912"/>
                    <a:gd name="T42" fmla="*/ 918 w 1080"/>
                    <a:gd name="T43" fmla="*/ 378 h 912"/>
                    <a:gd name="T44" fmla="*/ 870 w 1080"/>
                    <a:gd name="T45" fmla="*/ 402 h 912"/>
                    <a:gd name="T46" fmla="*/ 708 w 1080"/>
                    <a:gd name="T47" fmla="*/ 474 h 912"/>
                    <a:gd name="T48" fmla="*/ 576 w 1080"/>
                    <a:gd name="T49" fmla="*/ 702 h 912"/>
                    <a:gd name="T50" fmla="*/ 444 w 1080"/>
                    <a:gd name="T51" fmla="*/ 858 h 912"/>
                    <a:gd name="T52" fmla="*/ 264 w 1080"/>
                    <a:gd name="T53" fmla="*/ 870 h 912"/>
                    <a:gd name="T54" fmla="*/ 42 w 1080"/>
                    <a:gd name="T55" fmla="*/ 876 h 912"/>
                    <a:gd name="T56" fmla="*/ 18 w 1080"/>
                    <a:gd name="T57" fmla="*/ 792 h 912"/>
                    <a:gd name="T58" fmla="*/ 54 w 1080"/>
                    <a:gd name="T59" fmla="*/ 798 h 912"/>
                    <a:gd name="T60" fmla="*/ 72 w 1080"/>
                    <a:gd name="T61" fmla="*/ 786 h 912"/>
                    <a:gd name="T62" fmla="*/ 108 w 1080"/>
                    <a:gd name="T63" fmla="*/ 780 h 912"/>
                    <a:gd name="T64" fmla="*/ 144 w 1080"/>
                    <a:gd name="T65" fmla="*/ 792 h 912"/>
                    <a:gd name="T66" fmla="*/ 192 w 1080"/>
                    <a:gd name="T67" fmla="*/ 786 h 912"/>
                    <a:gd name="T68" fmla="*/ 198 w 1080"/>
                    <a:gd name="T69" fmla="*/ 756 h 912"/>
                    <a:gd name="T70" fmla="*/ 180 w 1080"/>
                    <a:gd name="T71" fmla="*/ 720 h 912"/>
                    <a:gd name="T72" fmla="*/ 180 w 1080"/>
                    <a:gd name="T73" fmla="*/ 684 h 912"/>
                    <a:gd name="T74" fmla="*/ 210 w 1080"/>
                    <a:gd name="T75" fmla="*/ 630 h 912"/>
                    <a:gd name="T76" fmla="*/ 264 w 1080"/>
                    <a:gd name="T77" fmla="*/ 606 h 912"/>
                    <a:gd name="T78" fmla="*/ 408 w 1080"/>
                    <a:gd name="T79" fmla="*/ 540 h 912"/>
                    <a:gd name="T80" fmla="*/ 480 w 1080"/>
                    <a:gd name="T81" fmla="*/ 426 h 912"/>
                    <a:gd name="T82" fmla="*/ 516 w 1080"/>
                    <a:gd name="T83" fmla="*/ 366 h 912"/>
                    <a:gd name="T84" fmla="*/ 642 w 1080"/>
                    <a:gd name="T85" fmla="*/ 378 h 912"/>
                    <a:gd name="T86" fmla="*/ 672 w 1080"/>
                    <a:gd name="T87" fmla="*/ 276 h 912"/>
                    <a:gd name="T88" fmla="*/ 672 w 1080"/>
                    <a:gd name="T89" fmla="*/ 264 h 912"/>
                    <a:gd name="T90" fmla="*/ 672 w 1080"/>
                    <a:gd name="T91" fmla="*/ 222 h 912"/>
                    <a:gd name="T92" fmla="*/ 702 w 1080"/>
                    <a:gd name="T93" fmla="*/ 168 h 912"/>
                    <a:gd name="T94" fmla="*/ 732 w 1080"/>
                    <a:gd name="T95" fmla="*/ 120 h 912"/>
                    <a:gd name="T96" fmla="*/ 768 w 1080"/>
                    <a:gd name="T97" fmla="*/ 78 h 912"/>
                    <a:gd name="T98" fmla="*/ 780 w 1080"/>
                    <a:gd name="T99" fmla="*/ 24 h 912"/>
                    <a:gd name="T100" fmla="*/ 810 w 1080"/>
                    <a:gd name="T101" fmla="*/ 0 h 9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080" h="912">
                      <a:moveTo>
                        <a:pt x="810" y="0"/>
                      </a:moveTo>
                      <a:lnTo>
                        <a:pt x="822" y="6"/>
                      </a:lnTo>
                      <a:lnTo>
                        <a:pt x="834" y="18"/>
                      </a:lnTo>
                      <a:lnTo>
                        <a:pt x="834" y="24"/>
                      </a:lnTo>
                      <a:lnTo>
                        <a:pt x="834" y="36"/>
                      </a:lnTo>
                      <a:lnTo>
                        <a:pt x="834" y="48"/>
                      </a:lnTo>
                      <a:lnTo>
                        <a:pt x="840" y="54"/>
                      </a:lnTo>
                      <a:lnTo>
                        <a:pt x="846" y="66"/>
                      </a:lnTo>
                      <a:lnTo>
                        <a:pt x="846" y="66"/>
                      </a:lnTo>
                      <a:lnTo>
                        <a:pt x="852" y="72"/>
                      </a:lnTo>
                      <a:lnTo>
                        <a:pt x="864" y="84"/>
                      </a:lnTo>
                      <a:lnTo>
                        <a:pt x="876" y="96"/>
                      </a:lnTo>
                      <a:lnTo>
                        <a:pt x="888" y="108"/>
                      </a:lnTo>
                      <a:lnTo>
                        <a:pt x="906" y="114"/>
                      </a:lnTo>
                      <a:lnTo>
                        <a:pt x="918" y="126"/>
                      </a:lnTo>
                      <a:lnTo>
                        <a:pt x="924" y="132"/>
                      </a:lnTo>
                      <a:lnTo>
                        <a:pt x="930" y="144"/>
                      </a:lnTo>
                      <a:lnTo>
                        <a:pt x="930" y="150"/>
                      </a:lnTo>
                      <a:lnTo>
                        <a:pt x="936" y="156"/>
                      </a:lnTo>
                      <a:lnTo>
                        <a:pt x="942" y="162"/>
                      </a:lnTo>
                      <a:lnTo>
                        <a:pt x="954" y="168"/>
                      </a:lnTo>
                      <a:lnTo>
                        <a:pt x="966" y="174"/>
                      </a:lnTo>
                      <a:lnTo>
                        <a:pt x="972" y="180"/>
                      </a:lnTo>
                      <a:lnTo>
                        <a:pt x="978" y="192"/>
                      </a:lnTo>
                      <a:lnTo>
                        <a:pt x="984" y="198"/>
                      </a:lnTo>
                      <a:lnTo>
                        <a:pt x="984" y="204"/>
                      </a:lnTo>
                      <a:lnTo>
                        <a:pt x="990" y="210"/>
                      </a:lnTo>
                      <a:lnTo>
                        <a:pt x="996" y="210"/>
                      </a:lnTo>
                      <a:lnTo>
                        <a:pt x="1008" y="204"/>
                      </a:lnTo>
                      <a:lnTo>
                        <a:pt x="1020" y="210"/>
                      </a:lnTo>
                      <a:lnTo>
                        <a:pt x="1038" y="216"/>
                      </a:lnTo>
                      <a:lnTo>
                        <a:pt x="1044" y="228"/>
                      </a:lnTo>
                      <a:lnTo>
                        <a:pt x="1050" y="246"/>
                      </a:lnTo>
                      <a:lnTo>
                        <a:pt x="1056" y="258"/>
                      </a:lnTo>
                      <a:lnTo>
                        <a:pt x="1062" y="264"/>
                      </a:lnTo>
                      <a:lnTo>
                        <a:pt x="1068" y="270"/>
                      </a:lnTo>
                      <a:lnTo>
                        <a:pt x="1074" y="276"/>
                      </a:lnTo>
                      <a:lnTo>
                        <a:pt x="1080" y="282"/>
                      </a:lnTo>
                      <a:lnTo>
                        <a:pt x="1080" y="288"/>
                      </a:lnTo>
                      <a:lnTo>
                        <a:pt x="1074" y="294"/>
                      </a:lnTo>
                      <a:lnTo>
                        <a:pt x="1062" y="306"/>
                      </a:lnTo>
                      <a:lnTo>
                        <a:pt x="1056" y="312"/>
                      </a:lnTo>
                      <a:lnTo>
                        <a:pt x="1056" y="318"/>
                      </a:lnTo>
                      <a:lnTo>
                        <a:pt x="1056" y="324"/>
                      </a:lnTo>
                      <a:lnTo>
                        <a:pt x="1050" y="324"/>
                      </a:lnTo>
                      <a:lnTo>
                        <a:pt x="1044" y="318"/>
                      </a:lnTo>
                      <a:lnTo>
                        <a:pt x="1032" y="312"/>
                      </a:lnTo>
                      <a:lnTo>
                        <a:pt x="1020" y="312"/>
                      </a:lnTo>
                      <a:lnTo>
                        <a:pt x="1008" y="312"/>
                      </a:lnTo>
                      <a:lnTo>
                        <a:pt x="996" y="318"/>
                      </a:lnTo>
                      <a:lnTo>
                        <a:pt x="984" y="330"/>
                      </a:lnTo>
                      <a:lnTo>
                        <a:pt x="984" y="342"/>
                      </a:lnTo>
                      <a:lnTo>
                        <a:pt x="990" y="348"/>
                      </a:lnTo>
                      <a:lnTo>
                        <a:pt x="996" y="360"/>
                      </a:lnTo>
                      <a:lnTo>
                        <a:pt x="1008" y="366"/>
                      </a:lnTo>
                      <a:lnTo>
                        <a:pt x="1014" y="378"/>
                      </a:lnTo>
                      <a:lnTo>
                        <a:pt x="1020" y="384"/>
                      </a:lnTo>
                      <a:lnTo>
                        <a:pt x="1020" y="390"/>
                      </a:lnTo>
                      <a:lnTo>
                        <a:pt x="1008" y="402"/>
                      </a:lnTo>
                      <a:lnTo>
                        <a:pt x="990" y="402"/>
                      </a:lnTo>
                      <a:lnTo>
                        <a:pt x="972" y="402"/>
                      </a:lnTo>
                      <a:lnTo>
                        <a:pt x="954" y="396"/>
                      </a:lnTo>
                      <a:lnTo>
                        <a:pt x="936" y="384"/>
                      </a:lnTo>
                      <a:lnTo>
                        <a:pt x="924" y="378"/>
                      </a:lnTo>
                      <a:lnTo>
                        <a:pt x="918" y="372"/>
                      </a:lnTo>
                      <a:lnTo>
                        <a:pt x="918" y="378"/>
                      </a:lnTo>
                      <a:lnTo>
                        <a:pt x="912" y="390"/>
                      </a:lnTo>
                      <a:lnTo>
                        <a:pt x="912" y="402"/>
                      </a:lnTo>
                      <a:lnTo>
                        <a:pt x="870" y="402"/>
                      </a:lnTo>
                      <a:lnTo>
                        <a:pt x="810" y="402"/>
                      </a:lnTo>
                      <a:lnTo>
                        <a:pt x="738" y="408"/>
                      </a:lnTo>
                      <a:lnTo>
                        <a:pt x="708" y="474"/>
                      </a:lnTo>
                      <a:lnTo>
                        <a:pt x="672" y="588"/>
                      </a:lnTo>
                      <a:lnTo>
                        <a:pt x="618" y="612"/>
                      </a:lnTo>
                      <a:lnTo>
                        <a:pt x="576" y="702"/>
                      </a:lnTo>
                      <a:lnTo>
                        <a:pt x="564" y="816"/>
                      </a:lnTo>
                      <a:lnTo>
                        <a:pt x="510" y="822"/>
                      </a:lnTo>
                      <a:lnTo>
                        <a:pt x="444" y="858"/>
                      </a:lnTo>
                      <a:lnTo>
                        <a:pt x="384" y="822"/>
                      </a:lnTo>
                      <a:lnTo>
                        <a:pt x="306" y="822"/>
                      </a:lnTo>
                      <a:lnTo>
                        <a:pt x="264" y="870"/>
                      </a:lnTo>
                      <a:lnTo>
                        <a:pt x="210" y="870"/>
                      </a:lnTo>
                      <a:lnTo>
                        <a:pt x="114" y="912"/>
                      </a:lnTo>
                      <a:lnTo>
                        <a:pt x="42" y="876"/>
                      </a:lnTo>
                      <a:lnTo>
                        <a:pt x="0" y="798"/>
                      </a:lnTo>
                      <a:lnTo>
                        <a:pt x="6" y="798"/>
                      </a:lnTo>
                      <a:lnTo>
                        <a:pt x="18" y="792"/>
                      </a:lnTo>
                      <a:lnTo>
                        <a:pt x="30" y="792"/>
                      </a:lnTo>
                      <a:lnTo>
                        <a:pt x="42" y="792"/>
                      </a:lnTo>
                      <a:lnTo>
                        <a:pt x="54" y="798"/>
                      </a:lnTo>
                      <a:lnTo>
                        <a:pt x="60" y="798"/>
                      </a:lnTo>
                      <a:lnTo>
                        <a:pt x="66" y="792"/>
                      </a:lnTo>
                      <a:lnTo>
                        <a:pt x="72" y="786"/>
                      </a:lnTo>
                      <a:lnTo>
                        <a:pt x="84" y="780"/>
                      </a:lnTo>
                      <a:lnTo>
                        <a:pt x="96" y="780"/>
                      </a:lnTo>
                      <a:lnTo>
                        <a:pt x="108" y="780"/>
                      </a:lnTo>
                      <a:lnTo>
                        <a:pt x="114" y="786"/>
                      </a:lnTo>
                      <a:lnTo>
                        <a:pt x="132" y="792"/>
                      </a:lnTo>
                      <a:lnTo>
                        <a:pt x="144" y="792"/>
                      </a:lnTo>
                      <a:lnTo>
                        <a:pt x="162" y="798"/>
                      </a:lnTo>
                      <a:lnTo>
                        <a:pt x="180" y="792"/>
                      </a:lnTo>
                      <a:lnTo>
                        <a:pt x="192" y="786"/>
                      </a:lnTo>
                      <a:lnTo>
                        <a:pt x="198" y="780"/>
                      </a:lnTo>
                      <a:lnTo>
                        <a:pt x="198" y="768"/>
                      </a:lnTo>
                      <a:lnTo>
                        <a:pt x="198" y="756"/>
                      </a:lnTo>
                      <a:lnTo>
                        <a:pt x="192" y="744"/>
                      </a:lnTo>
                      <a:lnTo>
                        <a:pt x="186" y="732"/>
                      </a:lnTo>
                      <a:lnTo>
                        <a:pt x="180" y="720"/>
                      </a:lnTo>
                      <a:lnTo>
                        <a:pt x="180" y="714"/>
                      </a:lnTo>
                      <a:lnTo>
                        <a:pt x="180" y="702"/>
                      </a:lnTo>
                      <a:lnTo>
                        <a:pt x="180" y="684"/>
                      </a:lnTo>
                      <a:lnTo>
                        <a:pt x="186" y="666"/>
                      </a:lnTo>
                      <a:lnTo>
                        <a:pt x="198" y="642"/>
                      </a:lnTo>
                      <a:lnTo>
                        <a:pt x="210" y="630"/>
                      </a:lnTo>
                      <a:lnTo>
                        <a:pt x="222" y="618"/>
                      </a:lnTo>
                      <a:lnTo>
                        <a:pt x="240" y="612"/>
                      </a:lnTo>
                      <a:lnTo>
                        <a:pt x="264" y="606"/>
                      </a:lnTo>
                      <a:lnTo>
                        <a:pt x="306" y="588"/>
                      </a:lnTo>
                      <a:lnTo>
                        <a:pt x="366" y="570"/>
                      </a:lnTo>
                      <a:lnTo>
                        <a:pt x="408" y="540"/>
                      </a:lnTo>
                      <a:lnTo>
                        <a:pt x="438" y="510"/>
                      </a:lnTo>
                      <a:lnTo>
                        <a:pt x="462" y="474"/>
                      </a:lnTo>
                      <a:lnTo>
                        <a:pt x="480" y="426"/>
                      </a:lnTo>
                      <a:lnTo>
                        <a:pt x="486" y="408"/>
                      </a:lnTo>
                      <a:lnTo>
                        <a:pt x="498" y="390"/>
                      </a:lnTo>
                      <a:lnTo>
                        <a:pt x="516" y="366"/>
                      </a:lnTo>
                      <a:lnTo>
                        <a:pt x="516" y="372"/>
                      </a:lnTo>
                      <a:lnTo>
                        <a:pt x="576" y="372"/>
                      </a:lnTo>
                      <a:lnTo>
                        <a:pt x="642" y="378"/>
                      </a:lnTo>
                      <a:lnTo>
                        <a:pt x="666" y="360"/>
                      </a:lnTo>
                      <a:lnTo>
                        <a:pt x="666" y="276"/>
                      </a:lnTo>
                      <a:lnTo>
                        <a:pt x="672" y="276"/>
                      </a:lnTo>
                      <a:lnTo>
                        <a:pt x="678" y="276"/>
                      </a:lnTo>
                      <a:lnTo>
                        <a:pt x="678" y="270"/>
                      </a:lnTo>
                      <a:lnTo>
                        <a:pt x="672" y="264"/>
                      </a:lnTo>
                      <a:lnTo>
                        <a:pt x="672" y="252"/>
                      </a:lnTo>
                      <a:lnTo>
                        <a:pt x="666" y="240"/>
                      </a:lnTo>
                      <a:lnTo>
                        <a:pt x="672" y="222"/>
                      </a:lnTo>
                      <a:lnTo>
                        <a:pt x="678" y="204"/>
                      </a:lnTo>
                      <a:lnTo>
                        <a:pt x="690" y="186"/>
                      </a:lnTo>
                      <a:lnTo>
                        <a:pt x="702" y="168"/>
                      </a:lnTo>
                      <a:lnTo>
                        <a:pt x="714" y="150"/>
                      </a:lnTo>
                      <a:lnTo>
                        <a:pt x="726" y="132"/>
                      </a:lnTo>
                      <a:lnTo>
                        <a:pt x="732" y="120"/>
                      </a:lnTo>
                      <a:lnTo>
                        <a:pt x="744" y="108"/>
                      </a:lnTo>
                      <a:lnTo>
                        <a:pt x="756" y="96"/>
                      </a:lnTo>
                      <a:lnTo>
                        <a:pt x="768" y="78"/>
                      </a:lnTo>
                      <a:lnTo>
                        <a:pt x="774" y="54"/>
                      </a:lnTo>
                      <a:lnTo>
                        <a:pt x="780" y="36"/>
                      </a:lnTo>
                      <a:lnTo>
                        <a:pt x="780" y="24"/>
                      </a:lnTo>
                      <a:lnTo>
                        <a:pt x="792" y="12"/>
                      </a:lnTo>
                      <a:lnTo>
                        <a:pt x="798" y="6"/>
                      </a:lnTo>
                      <a:lnTo>
                        <a:pt x="81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5" name="Freeform 388">
                  <a:extLst>
                    <a:ext uri="{FF2B5EF4-FFF2-40B4-BE49-F238E27FC236}">
                      <a16:creationId xmlns:a16="http://schemas.microsoft.com/office/drawing/2014/main" id="{DBCF9AA3-7577-45FB-A21B-AA2FCD6373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89" y="2802"/>
                  <a:ext cx="150" cy="108"/>
                </a:xfrm>
                <a:custGeom>
                  <a:avLst/>
                  <a:gdLst>
                    <a:gd name="T0" fmla="*/ 102 w 150"/>
                    <a:gd name="T1" fmla="*/ 0 h 108"/>
                    <a:gd name="T2" fmla="*/ 120 w 150"/>
                    <a:gd name="T3" fmla="*/ 0 h 108"/>
                    <a:gd name="T4" fmla="*/ 138 w 150"/>
                    <a:gd name="T5" fmla="*/ 6 h 108"/>
                    <a:gd name="T6" fmla="*/ 150 w 150"/>
                    <a:gd name="T7" fmla="*/ 6 h 108"/>
                    <a:gd name="T8" fmla="*/ 150 w 150"/>
                    <a:gd name="T9" fmla="*/ 90 h 108"/>
                    <a:gd name="T10" fmla="*/ 126 w 150"/>
                    <a:gd name="T11" fmla="*/ 108 h 108"/>
                    <a:gd name="T12" fmla="*/ 60 w 150"/>
                    <a:gd name="T13" fmla="*/ 102 h 108"/>
                    <a:gd name="T14" fmla="*/ 0 w 150"/>
                    <a:gd name="T15" fmla="*/ 102 h 108"/>
                    <a:gd name="T16" fmla="*/ 0 w 150"/>
                    <a:gd name="T17" fmla="*/ 96 h 108"/>
                    <a:gd name="T18" fmla="*/ 12 w 150"/>
                    <a:gd name="T19" fmla="*/ 78 h 108"/>
                    <a:gd name="T20" fmla="*/ 30 w 150"/>
                    <a:gd name="T21" fmla="*/ 60 h 108"/>
                    <a:gd name="T22" fmla="*/ 48 w 150"/>
                    <a:gd name="T23" fmla="*/ 42 h 108"/>
                    <a:gd name="T24" fmla="*/ 60 w 150"/>
                    <a:gd name="T25" fmla="*/ 30 h 108"/>
                    <a:gd name="T26" fmla="*/ 66 w 150"/>
                    <a:gd name="T27" fmla="*/ 18 h 108"/>
                    <a:gd name="T28" fmla="*/ 78 w 150"/>
                    <a:gd name="T29" fmla="*/ 6 h 108"/>
                    <a:gd name="T30" fmla="*/ 90 w 150"/>
                    <a:gd name="T31" fmla="*/ 0 h 108"/>
                    <a:gd name="T32" fmla="*/ 102 w 150"/>
                    <a:gd name="T33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0" h="108">
                      <a:moveTo>
                        <a:pt x="102" y="0"/>
                      </a:moveTo>
                      <a:lnTo>
                        <a:pt x="120" y="0"/>
                      </a:lnTo>
                      <a:lnTo>
                        <a:pt x="138" y="6"/>
                      </a:lnTo>
                      <a:lnTo>
                        <a:pt x="150" y="6"/>
                      </a:lnTo>
                      <a:lnTo>
                        <a:pt x="150" y="90"/>
                      </a:lnTo>
                      <a:lnTo>
                        <a:pt x="126" y="108"/>
                      </a:lnTo>
                      <a:lnTo>
                        <a:pt x="60" y="102"/>
                      </a:lnTo>
                      <a:lnTo>
                        <a:pt x="0" y="102"/>
                      </a:lnTo>
                      <a:lnTo>
                        <a:pt x="0" y="96"/>
                      </a:lnTo>
                      <a:lnTo>
                        <a:pt x="12" y="78"/>
                      </a:lnTo>
                      <a:lnTo>
                        <a:pt x="30" y="60"/>
                      </a:lnTo>
                      <a:lnTo>
                        <a:pt x="48" y="42"/>
                      </a:lnTo>
                      <a:lnTo>
                        <a:pt x="60" y="30"/>
                      </a:lnTo>
                      <a:lnTo>
                        <a:pt x="66" y="18"/>
                      </a:lnTo>
                      <a:lnTo>
                        <a:pt x="78" y="6"/>
                      </a:lnTo>
                      <a:lnTo>
                        <a:pt x="90" y="0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6" name="Freeform 389">
                  <a:extLst>
                    <a:ext uri="{FF2B5EF4-FFF2-40B4-BE49-F238E27FC236}">
                      <a16:creationId xmlns:a16="http://schemas.microsoft.com/office/drawing/2014/main" id="{8C2461C7-E3CF-439B-81E7-3F88810420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53" y="2754"/>
                  <a:ext cx="1188" cy="1530"/>
                </a:xfrm>
                <a:custGeom>
                  <a:avLst/>
                  <a:gdLst>
                    <a:gd name="T0" fmla="*/ 54 w 1188"/>
                    <a:gd name="T1" fmla="*/ 30 h 1530"/>
                    <a:gd name="T2" fmla="*/ 90 w 1188"/>
                    <a:gd name="T3" fmla="*/ 54 h 1530"/>
                    <a:gd name="T4" fmla="*/ 144 w 1188"/>
                    <a:gd name="T5" fmla="*/ 36 h 1530"/>
                    <a:gd name="T6" fmla="*/ 252 w 1188"/>
                    <a:gd name="T7" fmla="*/ 78 h 1530"/>
                    <a:gd name="T8" fmla="*/ 330 w 1188"/>
                    <a:gd name="T9" fmla="*/ 180 h 1530"/>
                    <a:gd name="T10" fmla="*/ 456 w 1188"/>
                    <a:gd name="T11" fmla="*/ 294 h 1530"/>
                    <a:gd name="T12" fmla="*/ 582 w 1188"/>
                    <a:gd name="T13" fmla="*/ 462 h 1530"/>
                    <a:gd name="T14" fmla="*/ 618 w 1188"/>
                    <a:gd name="T15" fmla="*/ 462 h 1530"/>
                    <a:gd name="T16" fmla="*/ 666 w 1188"/>
                    <a:gd name="T17" fmla="*/ 456 h 1530"/>
                    <a:gd name="T18" fmla="*/ 678 w 1188"/>
                    <a:gd name="T19" fmla="*/ 492 h 1530"/>
                    <a:gd name="T20" fmla="*/ 684 w 1188"/>
                    <a:gd name="T21" fmla="*/ 540 h 1530"/>
                    <a:gd name="T22" fmla="*/ 732 w 1188"/>
                    <a:gd name="T23" fmla="*/ 558 h 1530"/>
                    <a:gd name="T24" fmla="*/ 756 w 1188"/>
                    <a:gd name="T25" fmla="*/ 600 h 1530"/>
                    <a:gd name="T26" fmla="*/ 780 w 1188"/>
                    <a:gd name="T27" fmla="*/ 624 h 1530"/>
                    <a:gd name="T28" fmla="*/ 834 w 1188"/>
                    <a:gd name="T29" fmla="*/ 648 h 1530"/>
                    <a:gd name="T30" fmla="*/ 858 w 1188"/>
                    <a:gd name="T31" fmla="*/ 702 h 1530"/>
                    <a:gd name="T32" fmla="*/ 906 w 1188"/>
                    <a:gd name="T33" fmla="*/ 720 h 1530"/>
                    <a:gd name="T34" fmla="*/ 936 w 1188"/>
                    <a:gd name="T35" fmla="*/ 768 h 1530"/>
                    <a:gd name="T36" fmla="*/ 924 w 1188"/>
                    <a:gd name="T37" fmla="*/ 810 h 1530"/>
                    <a:gd name="T38" fmla="*/ 966 w 1188"/>
                    <a:gd name="T39" fmla="*/ 840 h 1530"/>
                    <a:gd name="T40" fmla="*/ 1020 w 1188"/>
                    <a:gd name="T41" fmla="*/ 894 h 1530"/>
                    <a:gd name="T42" fmla="*/ 1074 w 1188"/>
                    <a:gd name="T43" fmla="*/ 990 h 1530"/>
                    <a:gd name="T44" fmla="*/ 1074 w 1188"/>
                    <a:gd name="T45" fmla="*/ 1032 h 1530"/>
                    <a:gd name="T46" fmla="*/ 1104 w 1188"/>
                    <a:gd name="T47" fmla="*/ 1032 h 1530"/>
                    <a:gd name="T48" fmla="*/ 1140 w 1188"/>
                    <a:gd name="T49" fmla="*/ 1050 h 1530"/>
                    <a:gd name="T50" fmla="*/ 1188 w 1188"/>
                    <a:gd name="T51" fmla="*/ 1104 h 1530"/>
                    <a:gd name="T52" fmla="*/ 1170 w 1188"/>
                    <a:gd name="T53" fmla="*/ 1176 h 1530"/>
                    <a:gd name="T54" fmla="*/ 1164 w 1188"/>
                    <a:gd name="T55" fmla="*/ 1314 h 1530"/>
                    <a:gd name="T56" fmla="*/ 1170 w 1188"/>
                    <a:gd name="T57" fmla="*/ 1500 h 1530"/>
                    <a:gd name="T58" fmla="*/ 1158 w 1188"/>
                    <a:gd name="T59" fmla="*/ 1530 h 1530"/>
                    <a:gd name="T60" fmla="*/ 1116 w 1188"/>
                    <a:gd name="T61" fmla="*/ 1518 h 1530"/>
                    <a:gd name="T62" fmla="*/ 1080 w 1188"/>
                    <a:gd name="T63" fmla="*/ 1482 h 1530"/>
                    <a:gd name="T64" fmla="*/ 1032 w 1188"/>
                    <a:gd name="T65" fmla="*/ 1500 h 1530"/>
                    <a:gd name="T66" fmla="*/ 972 w 1188"/>
                    <a:gd name="T67" fmla="*/ 1458 h 1530"/>
                    <a:gd name="T68" fmla="*/ 924 w 1188"/>
                    <a:gd name="T69" fmla="*/ 1374 h 1530"/>
                    <a:gd name="T70" fmla="*/ 780 w 1188"/>
                    <a:gd name="T71" fmla="*/ 1260 h 1530"/>
                    <a:gd name="T72" fmla="*/ 756 w 1188"/>
                    <a:gd name="T73" fmla="*/ 1164 h 1530"/>
                    <a:gd name="T74" fmla="*/ 726 w 1188"/>
                    <a:gd name="T75" fmla="*/ 1134 h 1530"/>
                    <a:gd name="T76" fmla="*/ 690 w 1188"/>
                    <a:gd name="T77" fmla="*/ 1080 h 1530"/>
                    <a:gd name="T78" fmla="*/ 648 w 1188"/>
                    <a:gd name="T79" fmla="*/ 1008 h 1530"/>
                    <a:gd name="T80" fmla="*/ 606 w 1188"/>
                    <a:gd name="T81" fmla="*/ 966 h 1530"/>
                    <a:gd name="T82" fmla="*/ 594 w 1188"/>
                    <a:gd name="T83" fmla="*/ 918 h 1530"/>
                    <a:gd name="T84" fmla="*/ 576 w 1188"/>
                    <a:gd name="T85" fmla="*/ 882 h 1530"/>
                    <a:gd name="T86" fmla="*/ 534 w 1188"/>
                    <a:gd name="T87" fmla="*/ 780 h 1530"/>
                    <a:gd name="T88" fmla="*/ 450 w 1188"/>
                    <a:gd name="T89" fmla="*/ 696 h 1530"/>
                    <a:gd name="T90" fmla="*/ 444 w 1188"/>
                    <a:gd name="T91" fmla="*/ 630 h 1530"/>
                    <a:gd name="T92" fmla="*/ 354 w 1188"/>
                    <a:gd name="T93" fmla="*/ 486 h 1530"/>
                    <a:gd name="T94" fmla="*/ 276 w 1188"/>
                    <a:gd name="T95" fmla="*/ 426 h 1530"/>
                    <a:gd name="T96" fmla="*/ 216 w 1188"/>
                    <a:gd name="T97" fmla="*/ 342 h 1530"/>
                    <a:gd name="T98" fmla="*/ 174 w 1188"/>
                    <a:gd name="T99" fmla="*/ 294 h 1530"/>
                    <a:gd name="T100" fmla="*/ 150 w 1188"/>
                    <a:gd name="T101" fmla="*/ 234 h 1530"/>
                    <a:gd name="T102" fmla="*/ 108 w 1188"/>
                    <a:gd name="T103" fmla="*/ 210 h 1530"/>
                    <a:gd name="T104" fmla="*/ 90 w 1188"/>
                    <a:gd name="T105" fmla="*/ 168 h 1530"/>
                    <a:gd name="T106" fmla="*/ 42 w 1188"/>
                    <a:gd name="T107" fmla="*/ 138 h 1530"/>
                    <a:gd name="T108" fmla="*/ 0 w 1188"/>
                    <a:gd name="T109" fmla="*/ 66 h 1530"/>
                    <a:gd name="T110" fmla="*/ 18 w 1188"/>
                    <a:gd name="T111" fmla="*/ 6 h 15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188" h="1530">
                      <a:moveTo>
                        <a:pt x="36" y="0"/>
                      </a:moveTo>
                      <a:lnTo>
                        <a:pt x="42" y="6"/>
                      </a:lnTo>
                      <a:lnTo>
                        <a:pt x="48" y="12"/>
                      </a:lnTo>
                      <a:lnTo>
                        <a:pt x="54" y="30"/>
                      </a:lnTo>
                      <a:lnTo>
                        <a:pt x="60" y="42"/>
                      </a:lnTo>
                      <a:lnTo>
                        <a:pt x="66" y="48"/>
                      </a:lnTo>
                      <a:lnTo>
                        <a:pt x="78" y="54"/>
                      </a:lnTo>
                      <a:lnTo>
                        <a:pt x="90" y="54"/>
                      </a:lnTo>
                      <a:lnTo>
                        <a:pt x="102" y="48"/>
                      </a:lnTo>
                      <a:lnTo>
                        <a:pt x="114" y="42"/>
                      </a:lnTo>
                      <a:lnTo>
                        <a:pt x="132" y="42"/>
                      </a:lnTo>
                      <a:lnTo>
                        <a:pt x="144" y="36"/>
                      </a:lnTo>
                      <a:lnTo>
                        <a:pt x="156" y="36"/>
                      </a:lnTo>
                      <a:lnTo>
                        <a:pt x="192" y="42"/>
                      </a:lnTo>
                      <a:lnTo>
                        <a:pt x="228" y="60"/>
                      </a:lnTo>
                      <a:lnTo>
                        <a:pt x="252" y="78"/>
                      </a:lnTo>
                      <a:lnTo>
                        <a:pt x="264" y="102"/>
                      </a:lnTo>
                      <a:lnTo>
                        <a:pt x="270" y="120"/>
                      </a:lnTo>
                      <a:lnTo>
                        <a:pt x="294" y="150"/>
                      </a:lnTo>
                      <a:lnTo>
                        <a:pt x="330" y="180"/>
                      </a:lnTo>
                      <a:lnTo>
                        <a:pt x="354" y="210"/>
                      </a:lnTo>
                      <a:lnTo>
                        <a:pt x="378" y="240"/>
                      </a:lnTo>
                      <a:lnTo>
                        <a:pt x="414" y="264"/>
                      </a:lnTo>
                      <a:lnTo>
                        <a:pt x="456" y="294"/>
                      </a:lnTo>
                      <a:lnTo>
                        <a:pt x="510" y="360"/>
                      </a:lnTo>
                      <a:lnTo>
                        <a:pt x="558" y="432"/>
                      </a:lnTo>
                      <a:lnTo>
                        <a:pt x="570" y="450"/>
                      </a:lnTo>
                      <a:lnTo>
                        <a:pt x="582" y="462"/>
                      </a:lnTo>
                      <a:lnTo>
                        <a:pt x="588" y="468"/>
                      </a:lnTo>
                      <a:lnTo>
                        <a:pt x="600" y="468"/>
                      </a:lnTo>
                      <a:lnTo>
                        <a:pt x="606" y="462"/>
                      </a:lnTo>
                      <a:lnTo>
                        <a:pt x="618" y="462"/>
                      </a:lnTo>
                      <a:lnTo>
                        <a:pt x="630" y="456"/>
                      </a:lnTo>
                      <a:lnTo>
                        <a:pt x="648" y="450"/>
                      </a:lnTo>
                      <a:lnTo>
                        <a:pt x="660" y="450"/>
                      </a:lnTo>
                      <a:lnTo>
                        <a:pt x="666" y="456"/>
                      </a:lnTo>
                      <a:lnTo>
                        <a:pt x="672" y="462"/>
                      </a:lnTo>
                      <a:lnTo>
                        <a:pt x="678" y="468"/>
                      </a:lnTo>
                      <a:lnTo>
                        <a:pt x="678" y="480"/>
                      </a:lnTo>
                      <a:lnTo>
                        <a:pt x="678" y="492"/>
                      </a:lnTo>
                      <a:lnTo>
                        <a:pt x="678" y="504"/>
                      </a:lnTo>
                      <a:lnTo>
                        <a:pt x="678" y="516"/>
                      </a:lnTo>
                      <a:lnTo>
                        <a:pt x="678" y="528"/>
                      </a:lnTo>
                      <a:lnTo>
                        <a:pt x="684" y="540"/>
                      </a:lnTo>
                      <a:lnTo>
                        <a:pt x="696" y="546"/>
                      </a:lnTo>
                      <a:lnTo>
                        <a:pt x="708" y="552"/>
                      </a:lnTo>
                      <a:lnTo>
                        <a:pt x="720" y="558"/>
                      </a:lnTo>
                      <a:lnTo>
                        <a:pt x="732" y="558"/>
                      </a:lnTo>
                      <a:lnTo>
                        <a:pt x="750" y="564"/>
                      </a:lnTo>
                      <a:lnTo>
                        <a:pt x="756" y="570"/>
                      </a:lnTo>
                      <a:lnTo>
                        <a:pt x="756" y="582"/>
                      </a:lnTo>
                      <a:lnTo>
                        <a:pt x="756" y="600"/>
                      </a:lnTo>
                      <a:lnTo>
                        <a:pt x="762" y="612"/>
                      </a:lnTo>
                      <a:lnTo>
                        <a:pt x="762" y="618"/>
                      </a:lnTo>
                      <a:lnTo>
                        <a:pt x="768" y="624"/>
                      </a:lnTo>
                      <a:lnTo>
                        <a:pt x="780" y="624"/>
                      </a:lnTo>
                      <a:lnTo>
                        <a:pt x="792" y="630"/>
                      </a:lnTo>
                      <a:lnTo>
                        <a:pt x="804" y="630"/>
                      </a:lnTo>
                      <a:lnTo>
                        <a:pt x="822" y="636"/>
                      </a:lnTo>
                      <a:lnTo>
                        <a:pt x="834" y="648"/>
                      </a:lnTo>
                      <a:lnTo>
                        <a:pt x="840" y="660"/>
                      </a:lnTo>
                      <a:lnTo>
                        <a:pt x="846" y="678"/>
                      </a:lnTo>
                      <a:lnTo>
                        <a:pt x="846" y="690"/>
                      </a:lnTo>
                      <a:lnTo>
                        <a:pt x="858" y="702"/>
                      </a:lnTo>
                      <a:lnTo>
                        <a:pt x="870" y="708"/>
                      </a:lnTo>
                      <a:lnTo>
                        <a:pt x="882" y="714"/>
                      </a:lnTo>
                      <a:lnTo>
                        <a:pt x="894" y="714"/>
                      </a:lnTo>
                      <a:lnTo>
                        <a:pt x="906" y="720"/>
                      </a:lnTo>
                      <a:lnTo>
                        <a:pt x="918" y="726"/>
                      </a:lnTo>
                      <a:lnTo>
                        <a:pt x="930" y="738"/>
                      </a:lnTo>
                      <a:lnTo>
                        <a:pt x="936" y="756"/>
                      </a:lnTo>
                      <a:lnTo>
                        <a:pt x="936" y="768"/>
                      </a:lnTo>
                      <a:lnTo>
                        <a:pt x="930" y="780"/>
                      </a:lnTo>
                      <a:lnTo>
                        <a:pt x="924" y="786"/>
                      </a:lnTo>
                      <a:lnTo>
                        <a:pt x="924" y="798"/>
                      </a:lnTo>
                      <a:lnTo>
                        <a:pt x="924" y="810"/>
                      </a:lnTo>
                      <a:lnTo>
                        <a:pt x="924" y="822"/>
                      </a:lnTo>
                      <a:lnTo>
                        <a:pt x="930" y="828"/>
                      </a:lnTo>
                      <a:lnTo>
                        <a:pt x="948" y="834"/>
                      </a:lnTo>
                      <a:lnTo>
                        <a:pt x="966" y="840"/>
                      </a:lnTo>
                      <a:lnTo>
                        <a:pt x="984" y="852"/>
                      </a:lnTo>
                      <a:lnTo>
                        <a:pt x="1002" y="864"/>
                      </a:lnTo>
                      <a:lnTo>
                        <a:pt x="1014" y="876"/>
                      </a:lnTo>
                      <a:lnTo>
                        <a:pt x="1020" y="894"/>
                      </a:lnTo>
                      <a:lnTo>
                        <a:pt x="1032" y="924"/>
                      </a:lnTo>
                      <a:lnTo>
                        <a:pt x="1050" y="948"/>
                      </a:lnTo>
                      <a:lnTo>
                        <a:pt x="1068" y="972"/>
                      </a:lnTo>
                      <a:lnTo>
                        <a:pt x="1074" y="990"/>
                      </a:lnTo>
                      <a:lnTo>
                        <a:pt x="1074" y="1002"/>
                      </a:lnTo>
                      <a:lnTo>
                        <a:pt x="1068" y="1014"/>
                      </a:lnTo>
                      <a:lnTo>
                        <a:pt x="1068" y="1020"/>
                      </a:lnTo>
                      <a:lnTo>
                        <a:pt x="1074" y="1032"/>
                      </a:lnTo>
                      <a:lnTo>
                        <a:pt x="1074" y="1038"/>
                      </a:lnTo>
                      <a:lnTo>
                        <a:pt x="1086" y="1038"/>
                      </a:lnTo>
                      <a:lnTo>
                        <a:pt x="1092" y="1032"/>
                      </a:lnTo>
                      <a:lnTo>
                        <a:pt x="1104" y="1032"/>
                      </a:lnTo>
                      <a:lnTo>
                        <a:pt x="1116" y="1032"/>
                      </a:lnTo>
                      <a:lnTo>
                        <a:pt x="1122" y="1032"/>
                      </a:lnTo>
                      <a:lnTo>
                        <a:pt x="1128" y="1038"/>
                      </a:lnTo>
                      <a:lnTo>
                        <a:pt x="1140" y="1050"/>
                      </a:lnTo>
                      <a:lnTo>
                        <a:pt x="1158" y="1062"/>
                      </a:lnTo>
                      <a:lnTo>
                        <a:pt x="1176" y="1074"/>
                      </a:lnTo>
                      <a:lnTo>
                        <a:pt x="1182" y="1092"/>
                      </a:lnTo>
                      <a:lnTo>
                        <a:pt x="1188" y="1104"/>
                      </a:lnTo>
                      <a:lnTo>
                        <a:pt x="1182" y="1122"/>
                      </a:lnTo>
                      <a:lnTo>
                        <a:pt x="1176" y="1128"/>
                      </a:lnTo>
                      <a:lnTo>
                        <a:pt x="1170" y="1152"/>
                      </a:lnTo>
                      <a:lnTo>
                        <a:pt x="1170" y="1176"/>
                      </a:lnTo>
                      <a:lnTo>
                        <a:pt x="1170" y="1206"/>
                      </a:lnTo>
                      <a:lnTo>
                        <a:pt x="1158" y="1236"/>
                      </a:lnTo>
                      <a:lnTo>
                        <a:pt x="1152" y="1272"/>
                      </a:lnTo>
                      <a:lnTo>
                        <a:pt x="1164" y="1314"/>
                      </a:lnTo>
                      <a:lnTo>
                        <a:pt x="1176" y="1356"/>
                      </a:lnTo>
                      <a:lnTo>
                        <a:pt x="1170" y="1404"/>
                      </a:lnTo>
                      <a:lnTo>
                        <a:pt x="1164" y="1446"/>
                      </a:lnTo>
                      <a:lnTo>
                        <a:pt x="1170" y="1500"/>
                      </a:lnTo>
                      <a:lnTo>
                        <a:pt x="1176" y="1512"/>
                      </a:lnTo>
                      <a:lnTo>
                        <a:pt x="1170" y="1524"/>
                      </a:lnTo>
                      <a:lnTo>
                        <a:pt x="1164" y="1530"/>
                      </a:lnTo>
                      <a:lnTo>
                        <a:pt x="1158" y="1530"/>
                      </a:lnTo>
                      <a:lnTo>
                        <a:pt x="1146" y="1530"/>
                      </a:lnTo>
                      <a:lnTo>
                        <a:pt x="1134" y="1530"/>
                      </a:lnTo>
                      <a:lnTo>
                        <a:pt x="1122" y="1524"/>
                      </a:lnTo>
                      <a:lnTo>
                        <a:pt x="1116" y="1518"/>
                      </a:lnTo>
                      <a:lnTo>
                        <a:pt x="1104" y="1512"/>
                      </a:lnTo>
                      <a:lnTo>
                        <a:pt x="1098" y="1500"/>
                      </a:lnTo>
                      <a:lnTo>
                        <a:pt x="1086" y="1488"/>
                      </a:lnTo>
                      <a:lnTo>
                        <a:pt x="1080" y="1482"/>
                      </a:lnTo>
                      <a:lnTo>
                        <a:pt x="1074" y="1482"/>
                      </a:lnTo>
                      <a:lnTo>
                        <a:pt x="1062" y="1488"/>
                      </a:lnTo>
                      <a:lnTo>
                        <a:pt x="1050" y="1494"/>
                      </a:lnTo>
                      <a:lnTo>
                        <a:pt x="1032" y="1500"/>
                      </a:lnTo>
                      <a:lnTo>
                        <a:pt x="1014" y="1494"/>
                      </a:lnTo>
                      <a:lnTo>
                        <a:pt x="996" y="1482"/>
                      </a:lnTo>
                      <a:lnTo>
                        <a:pt x="984" y="1470"/>
                      </a:lnTo>
                      <a:lnTo>
                        <a:pt x="972" y="1458"/>
                      </a:lnTo>
                      <a:lnTo>
                        <a:pt x="960" y="1446"/>
                      </a:lnTo>
                      <a:lnTo>
                        <a:pt x="954" y="1428"/>
                      </a:lnTo>
                      <a:lnTo>
                        <a:pt x="948" y="1404"/>
                      </a:lnTo>
                      <a:lnTo>
                        <a:pt x="924" y="1374"/>
                      </a:lnTo>
                      <a:lnTo>
                        <a:pt x="882" y="1344"/>
                      </a:lnTo>
                      <a:lnTo>
                        <a:pt x="834" y="1314"/>
                      </a:lnTo>
                      <a:lnTo>
                        <a:pt x="798" y="1284"/>
                      </a:lnTo>
                      <a:lnTo>
                        <a:pt x="780" y="1260"/>
                      </a:lnTo>
                      <a:lnTo>
                        <a:pt x="768" y="1242"/>
                      </a:lnTo>
                      <a:lnTo>
                        <a:pt x="762" y="1224"/>
                      </a:lnTo>
                      <a:lnTo>
                        <a:pt x="762" y="1188"/>
                      </a:lnTo>
                      <a:lnTo>
                        <a:pt x="756" y="1164"/>
                      </a:lnTo>
                      <a:lnTo>
                        <a:pt x="750" y="1152"/>
                      </a:lnTo>
                      <a:lnTo>
                        <a:pt x="744" y="1146"/>
                      </a:lnTo>
                      <a:lnTo>
                        <a:pt x="732" y="1140"/>
                      </a:lnTo>
                      <a:lnTo>
                        <a:pt x="726" y="1134"/>
                      </a:lnTo>
                      <a:lnTo>
                        <a:pt x="714" y="1128"/>
                      </a:lnTo>
                      <a:lnTo>
                        <a:pt x="708" y="1122"/>
                      </a:lnTo>
                      <a:lnTo>
                        <a:pt x="702" y="1110"/>
                      </a:lnTo>
                      <a:lnTo>
                        <a:pt x="690" y="1080"/>
                      </a:lnTo>
                      <a:lnTo>
                        <a:pt x="678" y="1056"/>
                      </a:lnTo>
                      <a:lnTo>
                        <a:pt x="666" y="1038"/>
                      </a:lnTo>
                      <a:lnTo>
                        <a:pt x="654" y="1014"/>
                      </a:lnTo>
                      <a:lnTo>
                        <a:pt x="648" y="1008"/>
                      </a:lnTo>
                      <a:lnTo>
                        <a:pt x="636" y="996"/>
                      </a:lnTo>
                      <a:lnTo>
                        <a:pt x="624" y="990"/>
                      </a:lnTo>
                      <a:lnTo>
                        <a:pt x="618" y="978"/>
                      </a:lnTo>
                      <a:lnTo>
                        <a:pt x="606" y="966"/>
                      </a:lnTo>
                      <a:lnTo>
                        <a:pt x="606" y="948"/>
                      </a:lnTo>
                      <a:lnTo>
                        <a:pt x="600" y="936"/>
                      </a:lnTo>
                      <a:lnTo>
                        <a:pt x="594" y="924"/>
                      </a:lnTo>
                      <a:lnTo>
                        <a:pt x="594" y="918"/>
                      </a:lnTo>
                      <a:lnTo>
                        <a:pt x="588" y="912"/>
                      </a:lnTo>
                      <a:lnTo>
                        <a:pt x="582" y="906"/>
                      </a:lnTo>
                      <a:lnTo>
                        <a:pt x="576" y="900"/>
                      </a:lnTo>
                      <a:lnTo>
                        <a:pt x="576" y="882"/>
                      </a:lnTo>
                      <a:lnTo>
                        <a:pt x="570" y="864"/>
                      </a:lnTo>
                      <a:lnTo>
                        <a:pt x="564" y="840"/>
                      </a:lnTo>
                      <a:lnTo>
                        <a:pt x="552" y="816"/>
                      </a:lnTo>
                      <a:lnTo>
                        <a:pt x="534" y="780"/>
                      </a:lnTo>
                      <a:lnTo>
                        <a:pt x="504" y="744"/>
                      </a:lnTo>
                      <a:lnTo>
                        <a:pt x="474" y="714"/>
                      </a:lnTo>
                      <a:lnTo>
                        <a:pt x="462" y="702"/>
                      </a:lnTo>
                      <a:lnTo>
                        <a:pt x="450" y="696"/>
                      </a:lnTo>
                      <a:lnTo>
                        <a:pt x="450" y="684"/>
                      </a:lnTo>
                      <a:lnTo>
                        <a:pt x="444" y="672"/>
                      </a:lnTo>
                      <a:lnTo>
                        <a:pt x="444" y="654"/>
                      </a:lnTo>
                      <a:lnTo>
                        <a:pt x="444" y="630"/>
                      </a:lnTo>
                      <a:lnTo>
                        <a:pt x="438" y="582"/>
                      </a:lnTo>
                      <a:lnTo>
                        <a:pt x="408" y="540"/>
                      </a:lnTo>
                      <a:lnTo>
                        <a:pt x="378" y="504"/>
                      </a:lnTo>
                      <a:lnTo>
                        <a:pt x="354" y="486"/>
                      </a:lnTo>
                      <a:lnTo>
                        <a:pt x="330" y="480"/>
                      </a:lnTo>
                      <a:lnTo>
                        <a:pt x="312" y="468"/>
                      </a:lnTo>
                      <a:lnTo>
                        <a:pt x="294" y="450"/>
                      </a:lnTo>
                      <a:lnTo>
                        <a:pt x="276" y="426"/>
                      </a:lnTo>
                      <a:lnTo>
                        <a:pt x="264" y="402"/>
                      </a:lnTo>
                      <a:lnTo>
                        <a:pt x="246" y="384"/>
                      </a:lnTo>
                      <a:lnTo>
                        <a:pt x="234" y="366"/>
                      </a:lnTo>
                      <a:lnTo>
                        <a:pt x="216" y="342"/>
                      </a:lnTo>
                      <a:lnTo>
                        <a:pt x="204" y="324"/>
                      </a:lnTo>
                      <a:lnTo>
                        <a:pt x="192" y="312"/>
                      </a:lnTo>
                      <a:lnTo>
                        <a:pt x="180" y="300"/>
                      </a:lnTo>
                      <a:lnTo>
                        <a:pt x="174" y="294"/>
                      </a:lnTo>
                      <a:lnTo>
                        <a:pt x="174" y="276"/>
                      </a:lnTo>
                      <a:lnTo>
                        <a:pt x="174" y="264"/>
                      </a:lnTo>
                      <a:lnTo>
                        <a:pt x="162" y="246"/>
                      </a:lnTo>
                      <a:lnTo>
                        <a:pt x="150" y="234"/>
                      </a:lnTo>
                      <a:lnTo>
                        <a:pt x="138" y="228"/>
                      </a:lnTo>
                      <a:lnTo>
                        <a:pt x="120" y="222"/>
                      </a:lnTo>
                      <a:lnTo>
                        <a:pt x="114" y="216"/>
                      </a:lnTo>
                      <a:lnTo>
                        <a:pt x="108" y="210"/>
                      </a:lnTo>
                      <a:lnTo>
                        <a:pt x="108" y="192"/>
                      </a:lnTo>
                      <a:lnTo>
                        <a:pt x="102" y="180"/>
                      </a:lnTo>
                      <a:lnTo>
                        <a:pt x="96" y="174"/>
                      </a:lnTo>
                      <a:lnTo>
                        <a:pt x="90" y="168"/>
                      </a:lnTo>
                      <a:lnTo>
                        <a:pt x="84" y="168"/>
                      </a:lnTo>
                      <a:lnTo>
                        <a:pt x="72" y="162"/>
                      </a:lnTo>
                      <a:lnTo>
                        <a:pt x="54" y="156"/>
                      </a:lnTo>
                      <a:lnTo>
                        <a:pt x="42" y="138"/>
                      </a:lnTo>
                      <a:lnTo>
                        <a:pt x="24" y="120"/>
                      </a:lnTo>
                      <a:lnTo>
                        <a:pt x="12" y="102"/>
                      </a:lnTo>
                      <a:lnTo>
                        <a:pt x="6" y="84"/>
                      </a:lnTo>
                      <a:lnTo>
                        <a:pt x="0" y="66"/>
                      </a:lnTo>
                      <a:lnTo>
                        <a:pt x="0" y="54"/>
                      </a:lnTo>
                      <a:lnTo>
                        <a:pt x="0" y="36"/>
                      </a:lnTo>
                      <a:lnTo>
                        <a:pt x="6" y="24"/>
                      </a:lnTo>
                      <a:lnTo>
                        <a:pt x="18" y="6"/>
                      </a:lnTo>
                      <a:lnTo>
                        <a:pt x="24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7" name="Freeform 390">
                  <a:extLst>
                    <a:ext uri="{FF2B5EF4-FFF2-40B4-BE49-F238E27FC236}">
                      <a16:creationId xmlns:a16="http://schemas.microsoft.com/office/drawing/2014/main" id="{7B251A9E-E9D3-44A5-8A6C-EA3DD48327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75" y="3654"/>
                  <a:ext cx="162" cy="198"/>
                </a:xfrm>
                <a:custGeom>
                  <a:avLst/>
                  <a:gdLst>
                    <a:gd name="T0" fmla="*/ 30 w 162"/>
                    <a:gd name="T1" fmla="*/ 0 h 198"/>
                    <a:gd name="T2" fmla="*/ 42 w 162"/>
                    <a:gd name="T3" fmla="*/ 0 h 198"/>
                    <a:gd name="T4" fmla="*/ 54 w 162"/>
                    <a:gd name="T5" fmla="*/ 6 h 198"/>
                    <a:gd name="T6" fmla="*/ 72 w 162"/>
                    <a:gd name="T7" fmla="*/ 12 h 198"/>
                    <a:gd name="T8" fmla="*/ 90 w 162"/>
                    <a:gd name="T9" fmla="*/ 24 h 198"/>
                    <a:gd name="T10" fmla="*/ 108 w 162"/>
                    <a:gd name="T11" fmla="*/ 36 h 198"/>
                    <a:gd name="T12" fmla="*/ 120 w 162"/>
                    <a:gd name="T13" fmla="*/ 54 h 198"/>
                    <a:gd name="T14" fmla="*/ 132 w 162"/>
                    <a:gd name="T15" fmla="*/ 66 h 198"/>
                    <a:gd name="T16" fmla="*/ 132 w 162"/>
                    <a:gd name="T17" fmla="*/ 84 h 198"/>
                    <a:gd name="T18" fmla="*/ 138 w 162"/>
                    <a:gd name="T19" fmla="*/ 96 h 198"/>
                    <a:gd name="T20" fmla="*/ 138 w 162"/>
                    <a:gd name="T21" fmla="*/ 108 h 198"/>
                    <a:gd name="T22" fmla="*/ 144 w 162"/>
                    <a:gd name="T23" fmla="*/ 114 h 198"/>
                    <a:gd name="T24" fmla="*/ 156 w 162"/>
                    <a:gd name="T25" fmla="*/ 126 h 198"/>
                    <a:gd name="T26" fmla="*/ 162 w 162"/>
                    <a:gd name="T27" fmla="*/ 144 h 198"/>
                    <a:gd name="T28" fmla="*/ 162 w 162"/>
                    <a:gd name="T29" fmla="*/ 156 h 198"/>
                    <a:gd name="T30" fmla="*/ 162 w 162"/>
                    <a:gd name="T31" fmla="*/ 174 h 198"/>
                    <a:gd name="T32" fmla="*/ 156 w 162"/>
                    <a:gd name="T33" fmla="*/ 186 h 198"/>
                    <a:gd name="T34" fmla="*/ 144 w 162"/>
                    <a:gd name="T35" fmla="*/ 192 h 198"/>
                    <a:gd name="T36" fmla="*/ 132 w 162"/>
                    <a:gd name="T37" fmla="*/ 198 h 198"/>
                    <a:gd name="T38" fmla="*/ 126 w 162"/>
                    <a:gd name="T39" fmla="*/ 198 h 198"/>
                    <a:gd name="T40" fmla="*/ 120 w 162"/>
                    <a:gd name="T41" fmla="*/ 186 h 198"/>
                    <a:gd name="T42" fmla="*/ 114 w 162"/>
                    <a:gd name="T43" fmla="*/ 174 h 198"/>
                    <a:gd name="T44" fmla="*/ 108 w 162"/>
                    <a:gd name="T45" fmla="*/ 162 h 198"/>
                    <a:gd name="T46" fmla="*/ 102 w 162"/>
                    <a:gd name="T47" fmla="*/ 150 h 198"/>
                    <a:gd name="T48" fmla="*/ 96 w 162"/>
                    <a:gd name="T49" fmla="*/ 138 h 198"/>
                    <a:gd name="T50" fmla="*/ 90 w 162"/>
                    <a:gd name="T51" fmla="*/ 132 h 198"/>
                    <a:gd name="T52" fmla="*/ 84 w 162"/>
                    <a:gd name="T53" fmla="*/ 126 h 198"/>
                    <a:gd name="T54" fmla="*/ 78 w 162"/>
                    <a:gd name="T55" fmla="*/ 120 h 198"/>
                    <a:gd name="T56" fmla="*/ 72 w 162"/>
                    <a:gd name="T57" fmla="*/ 108 h 198"/>
                    <a:gd name="T58" fmla="*/ 72 w 162"/>
                    <a:gd name="T59" fmla="*/ 102 h 198"/>
                    <a:gd name="T60" fmla="*/ 60 w 162"/>
                    <a:gd name="T61" fmla="*/ 90 h 198"/>
                    <a:gd name="T62" fmla="*/ 54 w 162"/>
                    <a:gd name="T63" fmla="*/ 84 h 198"/>
                    <a:gd name="T64" fmla="*/ 42 w 162"/>
                    <a:gd name="T65" fmla="*/ 84 h 198"/>
                    <a:gd name="T66" fmla="*/ 24 w 162"/>
                    <a:gd name="T67" fmla="*/ 90 h 198"/>
                    <a:gd name="T68" fmla="*/ 18 w 162"/>
                    <a:gd name="T69" fmla="*/ 90 h 198"/>
                    <a:gd name="T70" fmla="*/ 6 w 162"/>
                    <a:gd name="T71" fmla="*/ 84 h 198"/>
                    <a:gd name="T72" fmla="*/ 0 w 162"/>
                    <a:gd name="T73" fmla="*/ 72 h 198"/>
                    <a:gd name="T74" fmla="*/ 0 w 162"/>
                    <a:gd name="T75" fmla="*/ 66 h 198"/>
                    <a:gd name="T76" fmla="*/ 0 w 162"/>
                    <a:gd name="T77" fmla="*/ 54 h 198"/>
                    <a:gd name="T78" fmla="*/ 0 w 162"/>
                    <a:gd name="T79" fmla="*/ 48 h 198"/>
                    <a:gd name="T80" fmla="*/ 12 w 162"/>
                    <a:gd name="T81" fmla="*/ 42 h 198"/>
                    <a:gd name="T82" fmla="*/ 12 w 162"/>
                    <a:gd name="T83" fmla="*/ 42 h 198"/>
                    <a:gd name="T84" fmla="*/ 18 w 162"/>
                    <a:gd name="T85" fmla="*/ 36 h 198"/>
                    <a:gd name="T86" fmla="*/ 18 w 162"/>
                    <a:gd name="T87" fmla="*/ 30 h 198"/>
                    <a:gd name="T88" fmla="*/ 18 w 162"/>
                    <a:gd name="T89" fmla="*/ 18 h 198"/>
                    <a:gd name="T90" fmla="*/ 18 w 162"/>
                    <a:gd name="T91" fmla="*/ 12 h 198"/>
                    <a:gd name="T92" fmla="*/ 18 w 162"/>
                    <a:gd name="T93" fmla="*/ 6 h 198"/>
                    <a:gd name="T94" fmla="*/ 24 w 162"/>
                    <a:gd name="T95" fmla="*/ 0 h 198"/>
                    <a:gd name="T96" fmla="*/ 30 w 162"/>
                    <a:gd name="T97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62" h="198">
                      <a:moveTo>
                        <a:pt x="30" y="0"/>
                      </a:moveTo>
                      <a:lnTo>
                        <a:pt x="42" y="0"/>
                      </a:lnTo>
                      <a:lnTo>
                        <a:pt x="54" y="6"/>
                      </a:lnTo>
                      <a:lnTo>
                        <a:pt x="72" y="12"/>
                      </a:lnTo>
                      <a:lnTo>
                        <a:pt x="90" y="24"/>
                      </a:lnTo>
                      <a:lnTo>
                        <a:pt x="108" y="36"/>
                      </a:lnTo>
                      <a:lnTo>
                        <a:pt x="120" y="54"/>
                      </a:lnTo>
                      <a:lnTo>
                        <a:pt x="132" y="66"/>
                      </a:lnTo>
                      <a:lnTo>
                        <a:pt x="132" y="84"/>
                      </a:lnTo>
                      <a:lnTo>
                        <a:pt x="138" y="96"/>
                      </a:lnTo>
                      <a:lnTo>
                        <a:pt x="138" y="108"/>
                      </a:lnTo>
                      <a:lnTo>
                        <a:pt x="144" y="114"/>
                      </a:lnTo>
                      <a:lnTo>
                        <a:pt x="156" y="126"/>
                      </a:lnTo>
                      <a:lnTo>
                        <a:pt x="162" y="144"/>
                      </a:lnTo>
                      <a:lnTo>
                        <a:pt x="162" y="156"/>
                      </a:lnTo>
                      <a:lnTo>
                        <a:pt x="162" y="174"/>
                      </a:lnTo>
                      <a:lnTo>
                        <a:pt x="156" y="186"/>
                      </a:lnTo>
                      <a:lnTo>
                        <a:pt x="144" y="192"/>
                      </a:lnTo>
                      <a:lnTo>
                        <a:pt x="132" y="198"/>
                      </a:lnTo>
                      <a:lnTo>
                        <a:pt x="126" y="198"/>
                      </a:lnTo>
                      <a:lnTo>
                        <a:pt x="120" y="186"/>
                      </a:lnTo>
                      <a:lnTo>
                        <a:pt x="114" y="174"/>
                      </a:lnTo>
                      <a:lnTo>
                        <a:pt x="108" y="162"/>
                      </a:lnTo>
                      <a:lnTo>
                        <a:pt x="102" y="150"/>
                      </a:lnTo>
                      <a:lnTo>
                        <a:pt x="96" y="138"/>
                      </a:lnTo>
                      <a:lnTo>
                        <a:pt x="90" y="132"/>
                      </a:lnTo>
                      <a:lnTo>
                        <a:pt x="84" y="126"/>
                      </a:lnTo>
                      <a:lnTo>
                        <a:pt x="78" y="120"/>
                      </a:lnTo>
                      <a:lnTo>
                        <a:pt x="72" y="108"/>
                      </a:lnTo>
                      <a:lnTo>
                        <a:pt x="72" y="102"/>
                      </a:lnTo>
                      <a:lnTo>
                        <a:pt x="60" y="90"/>
                      </a:lnTo>
                      <a:lnTo>
                        <a:pt x="54" y="84"/>
                      </a:lnTo>
                      <a:lnTo>
                        <a:pt x="42" y="84"/>
                      </a:lnTo>
                      <a:lnTo>
                        <a:pt x="24" y="90"/>
                      </a:lnTo>
                      <a:lnTo>
                        <a:pt x="18" y="90"/>
                      </a:lnTo>
                      <a:lnTo>
                        <a:pt x="6" y="84"/>
                      </a:lnTo>
                      <a:lnTo>
                        <a:pt x="0" y="72"/>
                      </a:lnTo>
                      <a:lnTo>
                        <a:pt x="0" y="66"/>
                      </a:lnTo>
                      <a:lnTo>
                        <a:pt x="0" y="54"/>
                      </a:lnTo>
                      <a:lnTo>
                        <a:pt x="0" y="48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8" y="36"/>
                      </a:lnTo>
                      <a:lnTo>
                        <a:pt x="18" y="30"/>
                      </a:lnTo>
                      <a:lnTo>
                        <a:pt x="18" y="18"/>
                      </a:lnTo>
                      <a:lnTo>
                        <a:pt x="18" y="12"/>
                      </a:lnTo>
                      <a:lnTo>
                        <a:pt x="18" y="6"/>
                      </a:lnTo>
                      <a:lnTo>
                        <a:pt x="24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8" name="Freeform 391">
                  <a:extLst>
                    <a:ext uri="{FF2B5EF4-FFF2-40B4-BE49-F238E27FC236}">
                      <a16:creationId xmlns:a16="http://schemas.microsoft.com/office/drawing/2014/main" id="{25F9035B-1CCF-4644-9DB4-E6C82FD934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03" y="3804"/>
                  <a:ext cx="90" cy="90"/>
                </a:xfrm>
                <a:custGeom>
                  <a:avLst/>
                  <a:gdLst>
                    <a:gd name="T0" fmla="*/ 36 w 90"/>
                    <a:gd name="T1" fmla="*/ 0 h 90"/>
                    <a:gd name="T2" fmla="*/ 48 w 90"/>
                    <a:gd name="T3" fmla="*/ 0 h 90"/>
                    <a:gd name="T4" fmla="*/ 66 w 90"/>
                    <a:gd name="T5" fmla="*/ 12 h 90"/>
                    <a:gd name="T6" fmla="*/ 78 w 90"/>
                    <a:gd name="T7" fmla="*/ 24 h 90"/>
                    <a:gd name="T8" fmla="*/ 90 w 90"/>
                    <a:gd name="T9" fmla="*/ 42 h 90"/>
                    <a:gd name="T10" fmla="*/ 90 w 90"/>
                    <a:gd name="T11" fmla="*/ 60 h 90"/>
                    <a:gd name="T12" fmla="*/ 90 w 90"/>
                    <a:gd name="T13" fmla="*/ 72 h 90"/>
                    <a:gd name="T14" fmla="*/ 90 w 90"/>
                    <a:gd name="T15" fmla="*/ 78 h 90"/>
                    <a:gd name="T16" fmla="*/ 84 w 90"/>
                    <a:gd name="T17" fmla="*/ 84 h 90"/>
                    <a:gd name="T18" fmla="*/ 78 w 90"/>
                    <a:gd name="T19" fmla="*/ 84 h 90"/>
                    <a:gd name="T20" fmla="*/ 66 w 90"/>
                    <a:gd name="T21" fmla="*/ 78 h 90"/>
                    <a:gd name="T22" fmla="*/ 54 w 90"/>
                    <a:gd name="T23" fmla="*/ 72 h 90"/>
                    <a:gd name="T24" fmla="*/ 48 w 90"/>
                    <a:gd name="T25" fmla="*/ 72 h 90"/>
                    <a:gd name="T26" fmla="*/ 36 w 90"/>
                    <a:gd name="T27" fmla="*/ 78 h 90"/>
                    <a:gd name="T28" fmla="*/ 30 w 90"/>
                    <a:gd name="T29" fmla="*/ 84 h 90"/>
                    <a:gd name="T30" fmla="*/ 24 w 90"/>
                    <a:gd name="T31" fmla="*/ 90 h 90"/>
                    <a:gd name="T32" fmla="*/ 18 w 90"/>
                    <a:gd name="T33" fmla="*/ 84 h 90"/>
                    <a:gd name="T34" fmla="*/ 6 w 90"/>
                    <a:gd name="T35" fmla="*/ 78 h 90"/>
                    <a:gd name="T36" fmla="*/ 6 w 90"/>
                    <a:gd name="T37" fmla="*/ 66 h 90"/>
                    <a:gd name="T38" fmla="*/ 0 w 90"/>
                    <a:gd name="T39" fmla="*/ 54 h 90"/>
                    <a:gd name="T40" fmla="*/ 0 w 90"/>
                    <a:gd name="T41" fmla="*/ 36 h 90"/>
                    <a:gd name="T42" fmla="*/ 6 w 90"/>
                    <a:gd name="T43" fmla="*/ 24 h 90"/>
                    <a:gd name="T44" fmla="*/ 18 w 90"/>
                    <a:gd name="T45" fmla="*/ 12 h 90"/>
                    <a:gd name="T46" fmla="*/ 36 w 90"/>
                    <a:gd name="T47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90" h="90">
                      <a:moveTo>
                        <a:pt x="36" y="0"/>
                      </a:moveTo>
                      <a:lnTo>
                        <a:pt x="48" y="0"/>
                      </a:lnTo>
                      <a:lnTo>
                        <a:pt x="66" y="12"/>
                      </a:lnTo>
                      <a:lnTo>
                        <a:pt x="78" y="24"/>
                      </a:lnTo>
                      <a:lnTo>
                        <a:pt x="90" y="42"/>
                      </a:lnTo>
                      <a:lnTo>
                        <a:pt x="90" y="60"/>
                      </a:lnTo>
                      <a:lnTo>
                        <a:pt x="90" y="72"/>
                      </a:lnTo>
                      <a:lnTo>
                        <a:pt x="90" y="78"/>
                      </a:lnTo>
                      <a:lnTo>
                        <a:pt x="84" y="84"/>
                      </a:lnTo>
                      <a:lnTo>
                        <a:pt x="78" y="84"/>
                      </a:lnTo>
                      <a:lnTo>
                        <a:pt x="66" y="78"/>
                      </a:lnTo>
                      <a:lnTo>
                        <a:pt x="54" y="72"/>
                      </a:lnTo>
                      <a:lnTo>
                        <a:pt x="48" y="72"/>
                      </a:lnTo>
                      <a:lnTo>
                        <a:pt x="36" y="78"/>
                      </a:lnTo>
                      <a:lnTo>
                        <a:pt x="30" y="84"/>
                      </a:lnTo>
                      <a:lnTo>
                        <a:pt x="24" y="90"/>
                      </a:lnTo>
                      <a:lnTo>
                        <a:pt x="18" y="84"/>
                      </a:lnTo>
                      <a:lnTo>
                        <a:pt x="6" y="78"/>
                      </a:lnTo>
                      <a:lnTo>
                        <a:pt x="6" y="66"/>
                      </a:lnTo>
                      <a:lnTo>
                        <a:pt x="0" y="54"/>
                      </a:lnTo>
                      <a:lnTo>
                        <a:pt x="0" y="36"/>
                      </a:lnTo>
                      <a:lnTo>
                        <a:pt x="6" y="24"/>
                      </a:lnTo>
                      <a:lnTo>
                        <a:pt x="18" y="12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29" name="Freeform 392">
                  <a:extLst>
                    <a:ext uri="{FF2B5EF4-FFF2-40B4-BE49-F238E27FC236}">
                      <a16:creationId xmlns:a16="http://schemas.microsoft.com/office/drawing/2014/main" id="{C3D72627-EF7A-47B3-854A-0E4CD05951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69" y="4326"/>
                  <a:ext cx="1026" cy="408"/>
                </a:xfrm>
                <a:custGeom>
                  <a:avLst/>
                  <a:gdLst>
                    <a:gd name="T0" fmla="*/ 138 w 1026"/>
                    <a:gd name="T1" fmla="*/ 12 h 408"/>
                    <a:gd name="T2" fmla="*/ 192 w 1026"/>
                    <a:gd name="T3" fmla="*/ 6 h 408"/>
                    <a:gd name="T4" fmla="*/ 216 w 1026"/>
                    <a:gd name="T5" fmla="*/ 6 h 408"/>
                    <a:gd name="T6" fmla="*/ 240 w 1026"/>
                    <a:gd name="T7" fmla="*/ 18 h 408"/>
                    <a:gd name="T8" fmla="*/ 276 w 1026"/>
                    <a:gd name="T9" fmla="*/ 36 h 408"/>
                    <a:gd name="T10" fmla="*/ 318 w 1026"/>
                    <a:gd name="T11" fmla="*/ 36 h 408"/>
                    <a:gd name="T12" fmla="*/ 366 w 1026"/>
                    <a:gd name="T13" fmla="*/ 54 h 408"/>
                    <a:gd name="T14" fmla="*/ 384 w 1026"/>
                    <a:gd name="T15" fmla="*/ 78 h 408"/>
                    <a:gd name="T16" fmla="*/ 408 w 1026"/>
                    <a:gd name="T17" fmla="*/ 96 h 408"/>
                    <a:gd name="T18" fmla="*/ 510 w 1026"/>
                    <a:gd name="T19" fmla="*/ 108 h 408"/>
                    <a:gd name="T20" fmla="*/ 594 w 1026"/>
                    <a:gd name="T21" fmla="*/ 132 h 408"/>
                    <a:gd name="T22" fmla="*/ 618 w 1026"/>
                    <a:gd name="T23" fmla="*/ 114 h 408"/>
                    <a:gd name="T24" fmla="*/ 624 w 1026"/>
                    <a:gd name="T25" fmla="*/ 84 h 408"/>
                    <a:gd name="T26" fmla="*/ 648 w 1026"/>
                    <a:gd name="T27" fmla="*/ 72 h 408"/>
                    <a:gd name="T28" fmla="*/ 678 w 1026"/>
                    <a:gd name="T29" fmla="*/ 84 h 408"/>
                    <a:gd name="T30" fmla="*/ 714 w 1026"/>
                    <a:gd name="T31" fmla="*/ 114 h 408"/>
                    <a:gd name="T32" fmla="*/ 756 w 1026"/>
                    <a:gd name="T33" fmla="*/ 126 h 408"/>
                    <a:gd name="T34" fmla="*/ 810 w 1026"/>
                    <a:gd name="T35" fmla="*/ 132 h 408"/>
                    <a:gd name="T36" fmla="*/ 840 w 1026"/>
                    <a:gd name="T37" fmla="*/ 168 h 408"/>
                    <a:gd name="T38" fmla="*/ 828 w 1026"/>
                    <a:gd name="T39" fmla="*/ 210 h 408"/>
                    <a:gd name="T40" fmla="*/ 804 w 1026"/>
                    <a:gd name="T41" fmla="*/ 240 h 408"/>
                    <a:gd name="T42" fmla="*/ 828 w 1026"/>
                    <a:gd name="T43" fmla="*/ 252 h 408"/>
                    <a:gd name="T44" fmla="*/ 864 w 1026"/>
                    <a:gd name="T45" fmla="*/ 264 h 408"/>
                    <a:gd name="T46" fmla="*/ 894 w 1026"/>
                    <a:gd name="T47" fmla="*/ 288 h 408"/>
                    <a:gd name="T48" fmla="*/ 906 w 1026"/>
                    <a:gd name="T49" fmla="*/ 270 h 408"/>
                    <a:gd name="T50" fmla="*/ 924 w 1026"/>
                    <a:gd name="T51" fmla="*/ 252 h 408"/>
                    <a:gd name="T52" fmla="*/ 960 w 1026"/>
                    <a:gd name="T53" fmla="*/ 246 h 408"/>
                    <a:gd name="T54" fmla="*/ 996 w 1026"/>
                    <a:gd name="T55" fmla="*/ 270 h 408"/>
                    <a:gd name="T56" fmla="*/ 1020 w 1026"/>
                    <a:gd name="T57" fmla="*/ 294 h 408"/>
                    <a:gd name="T58" fmla="*/ 1002 w 1026"/>
                    <a:gd name="T59" fmla="*/ 318 h 408"/>
                    <a:gd name="T60" fmla="*/ 996 w 1026"/>
                    <a:gd name="T61" fmla="*/ 336 h 408"/>
                    <a:gd name="T62" fmla="*/ 1020 w 1026"/>
                    <a:gd name="T63" fmla="*/ 372 h 408"/>
                    <a:gd name="T64" fmla="*/ 1026 w 1026"/>
                    <a:gd name="T65" fmla="*/ 402 h 408"/>
                    <a:gd name="T66" fmla="*/ 1008 w 1026"/>
                    <a:gd name="T67" fmla="*/ 402 h 408"/>
                    <a:gd name="T68" fmla="*/ 954 w 1026"/>
                    <a:gd name="T69" fmla="*/ 390 h 408"/>
                    <a:gd name="T70" fmla="*/ 876 w 1026"/>
                    <a:gd name="T71" fmla="*/ 354 h 408"/>
                    <a:gd name="T72" fmla="*/ 762 w 1026"/>
                    <a:gd name="T73" fmla="*/ 330 h 408"/>
                    <a:gd name="T74" fmla="*/ 630 w 1026"/>
                    <a:gd name="T75" fmla="*/ 312 h 408"/>
                    <a:gd name="T76" fmla="*/ 546 w 1026"/>
                    <a:gd name="T77" fmla="*/ 240 h 408"/>
                    <a:gd name="T78" fmla="*/ 522 w 1026"/>
                    <a:gd name="T79" fmla="*/ 234 h 408"/>
                    <a:gd name="T80" fmla="*/ 480 w 1026"/>
                    <a:gd name="T81" fmla="*/ 234 h 408"/>
                    <a:gd name="T82" fmla="*/ 300 w 1026"/>
                    <a:gd name="T83" fmla="*/ 216 h 408"/>
                    <a:gd name="T84" fmla="*/ 210 w 1026"/>
                    <a:gd name="T85" fmla="*/ 162 h 408"/>
                    <a:gd name="T86" fmla="*/ 162 w 1026"/>
                    <a:gd name="T87" fmla="*/ 174 h 408"/>
                    <a:gd name="T88" fmla="*/ 126 w 1026"/>
                    <a:gd name="T89" fmla="*/ 180 h 408"/>
                    <a:gd name="T90" fmla="*/ 96 w 1026"/>
                    <a:gd name="T91" fmla="*/ 156 h 408"/>
                    <a:gd name="T92" fmla="*/ 120 w 1026"/>
                    <a:gd name="T93" fmla="*/ 132 h 408"/>
                    <a:gd name="T94" fmla="*/ 114 w 1026"/>
                    <a:gd name="T95" fmla="*/ 120 h 408"/>
                    <a:gd name="T96" fmla="*/ 66 w 1026"/>
                    <a:gd name="T97" fmla="*/ 120 h 408"/>
                    <a:gd name="T98" fmla="*/ 12 w 1026"/>
                    <a:gd name="T99" fmla="*/ 126 h 408"/>
                    <a:gd name="T100" fmla="*/ 0 w 1026"/>
                    <a:gd name="T101" fmla="*/ 102 h 408"/>
                    <a:gd name="T102" fmla="*/ 18 w 1026"/>
                    <a:gd name="T103" fmla="*/ 78 h 408"/>
                    <a:gd name="T104" fmla="*/ 54 w 1026"/>
                    <a:gd name="T105" fmla="*/ 60 h 408"/>
                    <a:gd name="T106" fmla="*/ 78 w 1026"/>
                    <a:gd name="T107" fmla="*/ 36 h 408"/>
                    <a:gd name="T108" fmla="*/ 96 w 1026"/>
                    <a:gd name="T109" fmla="*/ 6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26" h="408">
                      <a:moveTo>
                        <a:pt x="114" y="0"/>
                      </a:moveTo>
                      <a:lnTo>
                        <a:pt x="126" y="6"/>
                      </a:lnTo>
                      <a:lnTo>
                        <a:pt x="138" y="12"/>
                      </a:lnTo>
                      <a:lnTo>
                        <a:pt x="150" y="12"/>
                      </a:lnTo>
                      <a:lnTo>
                        <a:pt x="168" y="12"/>
                      </a:lnTo>
                      <a:lnTo>
                        <a:pt x="192" y="6"/>
                      </a:lnTo>
                      <a:lnTo>
                        <a:pt x="204" y="6"/>
                      </a:lnTo>
                      <a:lnTo>
                        <a:pt x="210" y="6"/>
                      </a:lnTo>
                      <a:lnTo>
                        <a:pt x="216" y="6"/>
                      </a:lnTo>
                      <a:lnTo>
                        <a:pt x="222" y="6"/>
                      </a:lnTo>
                      <a:lnTo>
                        <a:pt x="228" y="12"/>
                      </a:lnTo>
                      <a:lnTo>
                        <a:pt x="240" y="18"/>
                      </a:lnTo>
                      <a:lnTo>
                        <a:pt x="246" y="30"/>
                      </a:lnTo>
                      <a:lnTo>
                        <a:pt x="264" y="36"/>
                      </a:lnTo>
                      <a:lnTo>
                        <a:pt x="276" y="36"/>
                      </a:lnTo>
                      <a:lnTo>
                        <a:pt x="294" y="36"/>
                      </a:lnTo>
                      <a:lnTo>
                        <a:pt x="306" y="30"/>
                      </a:lnTo>
                      <a:lnTo>
                        <a:pt x="318" y="36"/>
                      </a:lnTo>
                      <a:lnTo>
                        <a:pt x="336" y="42"/>
                      </a:lnTo>
                      <a:lnTo>
                        <a:pt x="354" y="48"/>
                      </a:lnTo>
                      <a:lnTo>
                        <a:pt x="366" y="54"/>
                      </a:lnTo>
                      <a:lnTo>
                        <a:pt x="372" y="60"/>
                      </a:lnTo>
                      <a:lnTo>
                        <a:pt x="378" y="66"/>
                      </a:lnTo>
                      <a:lnTo>
                        <a:pt x="384" y="78"/>
                      </a:lnTo>
                      <a:lnTo>
                        <a:pt x="390" y="84"/>
                      </a:lnTo>
                      <a:lnTo>
                        <a:pt x="396" y="96"/>
                      </a:lnTo>
                      <a:lnTo>
                        <a:pt x="408" y="96"/>
                      </a:lnTo>
                      <a:lnTo>
                        <a:pt x="426" y="96"/>
                      </a:lnTo>
                      <a:lnTo>
                        <a:pt x="468" y="96"/>
                      </a:lnTo>
                      <a:lnTo>
                        <a:pt x="510" y="108"/>
                      </a:lnTo>
                      <a:lnTo>
                        <a:pt x="564" y="126"/>
                      </a:lnTo>
                      <a:lnTo>
                        <a:pt x="582" y="132"/>
                      </a:lnTo>
                      <a:lnTo>
                        <a:pt x="594" y="132"/>
                      </a:lnTo>
                      <a:lnTo>
                        <a:pt x="606" y="126"/>
                      </a:lnTo>
                      <a:lnTo>
                        <a:pt x="612" y="120"/>
                      </a:lnTo>
                      <a:lnTo>
                        <a:pt x="618" y="114"/>
                      </a:lnTo>
                      <a:lnTo>
                        <a:pt x="618" y="102"/>
                      </a:lnTo>
                      <a:lnTo>
                        <a:pt x="624" y="96"/>
                      </a:lnTo>
                      <a:lnTo>
                        <a:pt x="624" y="84"/>
                      </a:lnTo>
                      <a:lnTo>
                        <a:pt x="630" y="78"/>
                      </a:lnTo>
                      <a:lnTo>
                        <a:pt x="636" y="72"/>
                      </a:lnTo>
                      <a:lnTo>
                        <a:pt x="648" y="72"/>
                      </a:lnTo>
                      <a:lnTo>
                        <a:pt x="654" y="72"/>
                      </a:lnTo>
                      <a:lnTo>
                        <a:pt x="666" y="78"/>
                      </a:lnTo>
                      <a:lnTo>
                        <a:pt x="678" y="84"/>
                      </a:lnTo>
                      <a:lnTo>
                        <a:pt x="690" y="96"/>
                      </a:lnTo>
                      <a:lnTo>
                        <a:pt x="702" y="102"/>
                      </a:lnTo>
                      <a:lnTo>
                        <a:pt x="714" y="114"/>
                      </a:lnTo>
                      <a:lnTo>
                        <a:pt x="726" y="120"/>
                      </a:lnTo>
                      <a:lnTo>
                        <a:pt x="738" y="126"/>
                      </a:lnTo>
                      <a:lnTo>
                        <a:pt x="756" y="126"/>
                      </a:lnTo>
                      <a:lnTo>
                        <a:pt x="774" y="120"/>
                      </a:lnTo>
                      <a:lnTo>
                        <a:pt x="792" y="126"/>
                      </a:lnTo>
                      <a:lnTo>
                        <a:pt x="810" y="132"/>
                      </a:lnTo>
                      <a:lnTo>
                        <a:pt x="822" y="144"/>
                      </a:lnTo>
                      <a:lnTo>
                        <a:pt x="834" y="156"/>
                      </a:lnTo>
                      <a:lnTo>
                        <a:pt x="840" y="168"/>
                      </a:lnTo>
                      <a:lnTo>
                        <a:pt x="840" y="180"/>
                      </a:lnTo>
                      <a:lnTo>
                        <a:pt x="840" y="198"/>
                      </a:lnTo>
                      <a:lnTo>
                        <a:pt x="828" y="210"/>
                      </a:lnTo>
                      <a:lnTo>
                        <a:pt x="810" y="222"/>
                      </a:lnTo>
                      <a:lnTo>
                        <a:pt x="804" y="234"/>
                      </a:lnTo>
                      <a:lnTo>
                        <a:pt x="804" y="240"/>
                      </a:lnTo>
                      <a:lnTo>
                        <a:pt x="810" y="240"/>
                      </a:lnTo>
                      <a:lnTo>
                        <a:pt x="816" y="246"/>
                      </a:lnTo>
                      <a:lnTo>
                        <a:pt x="828" y="252"/>
                      </a:lnTo>
                      <a:lnTo>
                        <a:pt x="840" y="252"/>
                      </a:lnTo>
                      <a:lnTo>
                        <a:pt x="852" y="258"/>
                      </a:lnTo>
                      <a:lnTo>
                        <a:pt x="864" y="264"/>
                      </a:lnTo>
                      <a:lnTo>
                        <a:pt x="876" y="270"/>
                      </a:lnTo>
                      <a:lnTo>
                        <a:pt x="888" y="288"/>
                      </a:lnTo>
                      <a:lnTo>
                        <a:pt x="894" y="288"/>
                      </a:lnTo>
                      <a:lnTo>
                        <a:pt x="900" y="288"/>
                      </a:lnTo>
                      <a:lnTo>
                        <a:pt x="906" y="282"/>
                      </a:lnTo>
                      <a:lnTo>
                        <a:pt x="906" y="270"/>
                      </a:lnTo>
                      <a:lnTo>
                        <a:pt x="912" y="264"/>
                      </a:lnTo>
                      <a:lnTo>
                        <a:pt x="918" y="252"/>
                      </a:lnTo>
                      <a:lnTo>
                        <a:pt x="924" y="252"/>
                      </a:lnTo>
                      <a:lnTo>
                        <a:pt x="936" y="246"/>
                      </a:lnTo>
                      <a:lnTo>
                        <a:pt x="948" y="246"/>
                      </a:lnTo>
                      <a:lnTo>
                        <a:pt x="960" y="246"/>
                      </a:lnTo>
                      <a:lnTo>
                        <a:pt x="972" y="252"/>
                      </a:lnTo>
                      <a:lnTo>
                        <a:pt x="984" y="258"/>
                      </a:lnTo>
                      <a:lnTo>
                        <a:pt x="996" y="270"/>
                      </a:lnTo>
                      <a:lnTo>
                        <a:pt x="1008" y="276"/>
                      </a:lnTo>
                      <a:lnTo>
                        <a:pt x="1020" y="288"/>
                      </a:lnTo>
                      <a:lnTo>
                        <a:pt x="1020" y="294"/>
                      </a:lnTo>
                      <a:lnTo>
                        <a:pt x="1020" y="306"/>
                      </a:lnTo>
                      <a:lnTo>
                        <a:pt x="1008" y="312"/>
                      </a:lnTo>
                      <a:lnTo>
                        <a:pt x="1002" y="318"/>
                      </a:lnTo>
                      <a:lnTo>
                        <a:pt x="996" y="324"/>
                      </a:lnTo>
                      <a:lnTo>
                        <a:pt x="996" y="330"/>
                      </a:lnTo>
                      <a:lnTo>
                        <a:pt x="996" y="336"/>
                      </a:lnTo>
                      <a:lnTo>
                        <a:pt x="1002" y="342"/>
                      </a:lnTo>
                      <a:lnTo>
                        <a:pt x="1008" y="354"/>
                      </a:lnTo>
                      <a:lnTo>
                        <a:pt x="1020" y="372"/>
                      </a:lnTo>
                      <a:lnTo>
                        <a:pt x="1026" y="390"/>
                      </a:lnTo>
                      <a:lnTo>
                        <a:pt x="1026" y="396"/>
                      </a:lnTo>
                      <a:lnTo>
                        <a:pt x="1026" y="402"/>
                      </a:lnTo>
                      <a:lnTo>
                        <a:pt x="1020" y="408"/>
                      </a:lnTo>
                      <a:lnTo>
                        <a:pt x="1014" y="408"/>
                      </a:lnTo>
                      <a:lnTo>
                        <a:pt x="1008" y="402"/>
                      </a:lnTo>
                      <a:lnTo>
                        <a:pt x="1002" y="396"/>
                      </a:lnTo>
                      <a:lnTo>
                        <a:pt x="984" y="390"/>
                      </a:lnTo>
                      <a:lnTo>
                        <a:pt x="954" y="390"/>
                      </a:lnTo>
                      <a:lnTo>
                        <a:pt x="924" y="390"/>
                      </a:lnTo>
                      <a:lnTo>
                        <a:pt x="900" y="372"/>
                      </a:lnTo>
                      <a:lnTo>
                        <a:pt x="876" y="354"/>
                      </a:lnTo>
                      <a:lnTo>
                        <a:pt x="840" y="342"/>
                      </a:lnTo>
                      <a:lnTo>
                        <a:pt x="804" y="336"/>
                      </a:lnTo>
                      <a:lnTo>
                        <a:pt x="762" y="330"/>
                      </a:lnTo>
                      <a:lnTo>
                        <a:pt x="726" y="336"/>
                      </a:lnTo>
                      <a:lnTo>
                        <a:pt x="678" y="330"/>
                      </a:lnTo>
                      <a:lnTo>
                        <a:pt x="630" y="312"/>
                      </a:lnTo>
                      <a:lnTo>
                        <a:pt x="594" y="288"/>
                      </a:lnTo>
                      <a:lnTo>
                        <a:pt x="558" y="252"/>
                      </a:lnTo>
                      <a:lnTo>
                        <a:pt x="546" y="240"/>
                      </a:lnTo>
                      <a:lnTo>
                        <a:pt x="540" y="234"/>
                      </a:lnTo>
                      <a:lnTo>
                        <a:pt x="528" y="234"/>
                      </a:lnTo>
                      <a:lnTo>
                        <a:pt x="522" y="234"/>
                      </a:lnTo>
                      <a:lnTo>
                        <a:pt x="510" y="234"/>
                      </a:lnTo>
                      <a:lnTo>
                        <a:pt x="498" y="234"/>
                      </a:lnTo>
                      <a:lnTo>
                        <a:pt x="480" y="234"/>
                      </a:lnTo>
                      <a:lnTo>
                        <a:pt x="408" y="228"/>
                      </a:lnTo>
                      <a:lnTo>
                        <a:pt x="348" y="222"/>
                      </a:lnTo>
                      <a:lnTo>
                        <a:pt x="300" y="216"/>
                      </a:lnTo>
                      <a:lnTo>
                        <a:pt x="258" y="186"/>
                      </a:lnTo>
                      <a:lnTo>
                        <a:pt x="228" y="168"/>
                      </a:lnTo>
                      <a:lnTo>
                        <a:pt x="210" y="162"/>
                      </a:lnTo>
                      <a:lnTo>
                        <a:pt x="192" y="162"/>
                      </a:lnTo>
                      <a:lnTo>
                        <a:pt x="174" y="168"/>
                      </a:lnTo>
                      <a:lnTo>
                        <a:pt x="162" y="174"/>
                      </a:lnTo>
                      <a:lnTo>
                        <a:pt x="156" y="180"/>
                      </a:lnTo>
                      <a:lnTo>
                        <a:pt x="138" y="180"/>
                      </a:lnTo>
                      <a:lnTo>
                        <a:pt x="126" y="180"/>
                      </a:lnTo>
                      <a:lnTo>
                        <a:pt x="114" y="174"/>
                      </a:lnTo>
                      <a:lnTo>
                        <a:pt x="102" y="168"/>
                      </a:lnTo>
                      <a:lnTo>
                        <a:pt x="96" y="156"/>
                      </a:lnTo>
                      <a:lnTo>
                        <a:pt x="102" y="150"/>
                      </a:lnTo>
                      <a:lnTo>
                        <a:pt x="114" y="138"/>
                      </a:lnTo>
                      <a:lnTo>
                        <a:pt x="120" y="132"/>
                      </a:lnTo>
                      <a:lnTo>
                        <a:pt x="126" y="126"/>
                      </a:lnTo>
                      <a:lnTo>
                        <a:pt x="120" y="120"/>
                      </a:lnTo>
                      <a:lnTo>
                        <a:pt x="114" y="120"/>
                      </a:lnTo>
                      <a:lnTo>
                        <a:pt x="96" y="120"/>
                      </a:lnTo>
                      <a:lnTo>
                        <a:pt x="84" y="120"/>
                      </a:lnTo>
                      <a:lnTo>
                        <a:pt x="66" y="120"/>
                      </a:lnTo>
                      <a:lnTo>
                        <a:pt x="48" y="120"/>
                      </a:lnTo>
                      <a:lnTo>
                        <a:pt x="30" y="120"/>
                      </a:lnTo>
                      <a:lnTo>
                        <a:pt x="12" y="126"/>
                      </a:lnTo>
                      <a:lnTo>
                        <a:pt x="6" y="120"/>
                      </a:lnTo>
                      <a:lnTo>
                        <a:pt x="0" y="114"/>
                      </a:lnTo>
                      <a:lnTo>
                        <a:pt x="0" y="102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8"/>
                      </a:lnTo>
                      <a:lnTo>
                        <a:pt x="30" y="72"/>
                      </a:lnTo>
                      <a:lnTo>
                        <a:pt x="42" y="66"/>
                      </a:lnTo>
                      <a:lnTo>
                        <a:pt x="54" y="60"/>
                      </a:lnTo>
                      <a:lnTo>
                        <a:pt x="66" y="54"/>
                      </a:lnTo>
                      <a:lnTo>
                        <a:pt x="78" y="42"/>
                      </a:lnTo>
                      <a:lnTo>
                        <a:pt x="78" y="36"/>
                      </a:lnTo>
                      <a:lnTo>
                        <a:pt x="84" y="24"/>
                      </a:lnTo>
                      <a:lnTo>
                        <a:pt x="90" y="18"/>
                      </a:lnTo>
                      <a:lnTo>
                        <a:pt x="96" y="6"/>
                      </a:lnTo>
                      <a:lnTo>
                        <a:pt x="102" y="0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0" name="Freeform 393">
                  <a:extLst>
                    <a:ext uri="{FF2B5EF4-FFF2-40B4-BE49-F238E27FC236}">
                      <a16:creationId xmlns:a16="http://schemas.microsoft.com/office/drawing/2014/main" id="{7A4D56AF-A45F-4756-AF7F-36763E11EE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23" y="3312"/>
                  <a:ext cx="768" cy="978"/>
                </a:xfrm>
                <a:custGeom>
                  <a:avLst/>
                  <a:gdLst>
                    <a:gd name="T0" fmla="*/ 756 w 768"/>
                    <a:gd name="T1" fmla="*/ 48 h 978"/>
                    <a:gd name="T2" fmla="*/ 702 w 768"/>
                    <a:gd name="T3" fmla="*/ 96 h 978"/>
                    <a:gd name="T4" fmla="*/ 648 w 768"/>
                    <a:gd name="T5" fmla="*/ 144 h 978"/>
                    <a:gd name="T6" fmla="*/ 576 w 768"/>
                    <a:gd name="T7" fmla="*/ 174 h 978"/>
                    <a:gd name="T8" fmla="*/ 486 w 768"/>
                    <a:gd name="T9" fmla="*/ 150 h 978"/>
                    <a:gd name="T10" fmla="*/ 402 w 768"/>
                    <a:gd name="T11" fmla="*/ 126 h 978"/>
                    <a:gd name="T12" fmla="*/ 366 w 768"/>
                    <a:gd name="T13" fmla="*/ 168 h 978"/>
                    <a:gd name="T14" fmla="*/ 186 w 768"/>
                    <a:gd name="T15" fmla="*/ 198 h 978"/>
                    <a:gd name="T16" fmla="*/ 180 w 768"/>
                    <a:gd name="T17" fmla="*/ 300 h 978"/>
                    <a:gd name="T18" fmla="*/ 246 w 768"/>
                    <a:gd name="T19" fmla="*/ 372 h 978"/>
                    <a:gd name="T20" fmla="*/ 300 w 768"/>
                    <a:gd name="T21" fmla="*/ 372 h 978"/>
                    <a:gd name="T22" fmla="*/ 390 w 768"/>
                    <a:gd name="T23" fmla="*/ 294 h 978"/>
                    <a:gd name="T24" fmla="*/ 468 w 768"/>
                    <a:gd name="T25" fmla="*/ 264 h 978"/>
                    <a:gd name="T26" fmla="*/ 522 w 768"/>
                    <a:gd name="T27" fmla="*/ 282 h 978"/>
                    <a:gd name="T28" fmla="*/ 510 w 768"/>
                    <a:gd name="T29" fmla="*/ 318 h 978"/>
                    <a:gd name="T30" fmla="*/ 444 w 768"/>
                    <a:gd name="T31" fmla="*/ 336 h 978"/>
                    <a:gd name="T32" fmla="*/ 414 w 768"/>
                    <a:gd name="T33" fmla="*/ 378 h 978"/>
                    <a:gd name="T34" fmla="*/ 342 w 768"/>
                    <a:gd name="T35" fmla="*/ 414 h 978"/>
                    <a:gd name="T36" fmla="*/ 342 w 768"/>
                    <a:gd name="T37" fmla="*/ 450 h 978"/>
                    <a:gd name="T38" fmla="*/ 390 w 768"/>
                    <a:gd name="T39" fmla="*/ 504 h 978"/>
                    <a:gd name="T40" fmla="*/ 414 w 768"/>
                    <a:gd name="T41" fmla="*/ 576 h 978"/>
                    <a:gd name="T42" fmla="*/ 426 w 768"/>
                    <a:gd name="T43" fmla="*/ 660 h 978"/>
                    <a:gd name="T44" fmla="*/ 480 w 768"/>
                    <a:gd name="T45" fmla="*/ 768 h 978"/>
                    <a:gd name="T46" fmla="*/ 450 w 768"/>
                    <a:gd name="T47" fmla="*/ 840 h 978"/>
                    <a:gd name="T48" fmla="*/ 408 w 768"/>
                    <a:gd name="T49" fmla="*/ 858 h 978"/>
                    <a:gd name="T50" fmla="*/ 396 w 768"/>
                    <a:gd name="T51" fmla="*/ 918 h 978"/>
                    <a:gd name="T52" fmla="*/ 324 w 768"/>
                    <a:gd name="T53" fmla="*/ 930 h 978"/>
                    <a:gd name="T54" fmla="*/ 324 w 768"/>
                    <a:gd name="T55" fmla="*/ 870 h 978"/>
                    <a:gd name="T56" fmla="*/ 324 w 768"/>
                    <a:gd name="T57" fmla="*/ 786 h 978"/>
                    <a:gd name="T58" fmla="*/ 282 w 768"/>
                    <a:gd name="T59" fmla="*/ 714 h 978"/>
                    <a:gd name="T60" fmla="*/ 258 w 768"/>
                    <a:gd name="T61" fmla="*/ 636 h 978"/>
                    <a:gd name="T62" fmla="*/ 264 w 768"/>
                    <a:gd name="T63" fmla="*/ 552 h 978"/>
                    <a:gd name="T64" fmla="*/ 204 w 768"/>
                    <a:gd name="T65" fmla="*/ 510 h 978"/>
                    <a:gd name="T66" fmla="*/ 192 w 768"/>
                    <a:gd name="T67" fmla="*/ 540 h 978"/>
                    <a:gd name="T68" fmla="*/ 198 w 768"/>
                    <a:gd name="T69" fmla="*/ 642 h 978"/>
                    <a:gd name="T70" fmla="*/ 192 w 768"/>
                    <a:gd name="T71" fmla="*/ 708 h 978"/>
                    <a:gd name="T72" fmla="*/ 162 w 768"/>
                    <a:gd name="T73" fmla="*/ 822 h 978"/>
                    <a:gd name="T74" fmla="*/ 156 w 768"/>
                    <a:gd name="T75" fmla="*/ 894 h 978"/>
                    <a:gd name="T76" fmla="*/ 126 w 768"/>
                    <a:gd name="T77" fmla="*/ 978 h 978"/>
                    <a:gd name="T78" fmla="*/ 24 w 768"/>
                    <a:gd name="T79" fmla="*/ 954 h 978"/>
                    <a:gd name="T80" fmla="*/ 72 w 768"/>
                    <a:gd name="T81" fmla="*/ 864 h 978"/>
                    <a:gd name="T82" fmla="*/ 90 w 768"/>
                    <a:gd name="T83" fmla="*/ 768 h 978"/>
                    <a:gd name="T84" fmla="*/ 54 w 768"/>
                    <a:gd name="T85" fmla="*/ 696 h 978"/>
                    <a:gd name="T86" fmla="*/ 12 w 768"/>
                    <a:gd name="T87" fmla="*/ 672 h 978"/>
                    <a:gd name="T88" fmla="*/ 18 w 768"/>
                    <a:gd name="T89" fmla="*/ 636 h 978"/>
                    <a:gd name="T90" fmla="*/ 60 w 768"/>
                    <a:gd name="T91" fmla="*/ 510 h 978"/>
                    <a:gd name="T92" fmla="*/ 48 w 768"/>
                    <a:gd name="T93" fmla="*/ 402 h 978"/>
                    <a:gd name="T94" fmla="*/ 96 w 768"/>
                    <a:gd name="T95" fmla="*/ 330 h 978"/>
                    <a:gd name="T96" fmla="*/ 114 w 768"/>
                    <a:gd name="T97" fmla="*/ 270 h 978"/>
                    <a:gd name="T98" fmla="*/ 132 w 768"/>
                    <a:gd name="T99" fmla="*/ 180 h 978"/>
                    <a:gd name="T100" fmla="*/ 186 w 768"/>
                    <a:gd name="T101" fmla="*/ 114 h 978"/>
                    <a:gd name="T102" fmla="*/ 246 w 768"/>
                    <a:gd name="T103" fmla="*/ 48 h 978"/>
                    <a:gd name="T104" fmla="*/ 324 w 768"/>
                    <a:gd name="T105" fmla="*/ 24 h 978"/>
                    <a:gd name="T106" fmla="*/ 336 w 768"/>
                    <a:gd name="T107" fmla="*/ 54 h 978"/>
                    <a:gd name="T108" fmla="*/ 438 w 768"/>
                    <a:gd name="T109" fmla="*/ 66 h 978"/>
                    <a:gd name="T110" fmla="*/ 528 w 768"/>
                    <a:gd name="T111" fmla="*/ 84 h 978"/>
                    <a:gd name="T112" fmla="*/ 618 w 768"/>
                    <a:gd name="T113" fmla="*/ 90 h 978"/>
                    <a:gd name="T114" fmla="*/ 666 w 768"/>
                    <a:gd name="T115" fmla="*/ 36 h 978"/>
                    <a:gd name="T116" fmla="*/ 732 w 768"/>
                    <a:gd name="T117" fmla="*/ 6 h 9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68" h="978">
                      <a:moveTo>
                        <a:pt x="738" y="0"/>
                      </a:moveTo>
                      <a:lnTo>
                        <a:pt x="750" y="6"/>
                      </a:lnTo>
                      <a:lnTo>
                        <a:pt x="762" y="18"/>
                      </a:lnTo>
                      <a:lnTo>
                        <a:pt x="768" y="24"/>
                      </a:lnTo>
                      <a:lnTo>
                        <a:pt x="762" y="36"/>
                      </a:lnTo>
                      <a:lnTo>
                        <a:pt x="756" y="48"/>
                      </a:lnTo>
                      <a:lnTo>
                        <a:pt x="750" y="60"/>
                      </a:lnTo>
                      <a:lnTo>
                        <a:pt x="738" y="66"/>
                      </a:lnTo>
                      <a:lnTo>
                        <a:pt x="726" y="78"/>
                      </a:lnTo>
                      <a:lnTo>
                        <a:pt x="714" y="84"/>
                      </a:lnTo>
                      <a:lnTo>
                        <a:pt x="708" y="90"/>
                      </a:lnTo>
                      <a:lnTo>
                        <a:pt x="702" y="96"/>
                      </a:lnTo>
                      <a:lnTo>
                        <a:pt x="696" y="108"/>
                      </a:lnTo>
                      <a:lnTo>
                        <a:pt x="690" y="126"/>
                      </a:lnTo>
                      <a:lnTo>
                        <a:pt x="684" y="138"/>
                      </a:lnTo>
                      <a:lnTo>
                        <a:pt x="672" y="144"/>
                      </a:lnTo>
                      <a:lnTo>
                        <a:pt x="666" y="144"/>
                      </a:lnTo>
                      <a:lnTo>
                        <a:pt x="648" y="144"/>
                      </a:lnTo>
                      <a:lnTo>
                        <a:pt x="630" y="150"/>
                      </a:lnTo>
                      <a:lnTo>
                        <a:pt x="618" y="156"/>
                      </a:lnTo>
                      <a:lnTo>
                        <a:pt x="600" y="162"/>
                      </a:lnTo>
                      <a:lnTo>
                        <a:pt x="594" y="168"/>
                      </a:lnTo>
                      <a:lnTo>
                        <a:pt x="588" y="174"/>
                      </a:lnTo>
                      <a:lnTo>
                        <a:pt x="576" y="174"/>
                      </a:lnTo>
                      <a:lnTo>
                        <a:pt x="558" y="174"/>
                      </a:lnTo>
                      <a:lnTo>
                        <a:pt x="546" y="168"/>
                      </a:lnTo>
                      <a:lnTo>
                        <a:pt x="534" y="156"/>
                      </a:lnTo>
                      <a:lnTo>
                        <a:pt x="522" y="150"/>
                      </a:lnTo>
                      <a:lnTo>
                        <a:pt x="504" y="150"/>
                      </a:lnTo>
                      <a:lnTo>
                        <a:pt x="486" y="150"/>
                      </a:lnTo>
                      <a:lnTo>
                        <a:pt x="468" y="144"/>
                      </a:lnTo>
                      <a:lnTo>
                        <a:pt x="450" y="144"/>
                      </a:lnTo>
                      <a:lnTo>
                        <a:pt x="444" y="138"/>
                      </a:lnTo>
                      <a:lnTo>
                        <a:pt x="432" y="132"/>
                      </a:lnTo>
                      <a:lnTo>
                        <a:pt x="420" y="126"/>
                      </a:lnTo>
                      <a:lnTo>
                        <a:pt x="402" y="126"/>
                      </a:lnTo>
                      <a:lnTo>
                        <a:pt x="396" y="126"/>
                      </a:lnTo>
                      <a:lnTo>
                        <a:pt x="384" y="132"/>
                      </a:lnTo>
                      <a:lnTo>
                        <a:pt x="384" y="138"/>
                      </a:lnTo>
                      <a:lnTo>
                        <a:pt x="378" y="150"/>
                      </a:lnTo>
                      <a:lnTo>
                        <a:pt x="372" y="156"/>
                      </a:lnTo>
                      <a:lnTo>
                        <a:pt x="366" y="168"/>
                      </a:lnTo>
                      <a:lnTo>
                        <a:pt x="354" y="174"/>
                      </a:lnTo>
                      <a:lnTo>
                        <a:pt x="324" y="168"/>
                      </a:lnTo>
                      <a:lnTo>
                        <a:pt x="288" y="150"/>
                      </a:lnTo>
                      <a:lnTo>
                        <a:pt x="240" y="144"/>
                      </a:lnTo>
                      <a:lnTo>
                        <a:pt x="204" y="162"/>
                      </a:lnTo>
                      <a:lnTo>
                        <a:pt x="186" y="198"/>
                      </a:lnTo>
                      <a:lnTo>
                        <a:pt x="174" y="228"/>
                      </a:lnTo>
                      <a:lnTo>
                        <a:pt x="168" y="252"/>
                      </a:lnTo>
                      <a:lnTo>
                        <a:pt x="162" y="264"/>
                      </a:lnTo>
                      <a:lnTo>
                        <a:pt x="162" y="276"/>
                      </a:lnTo>
                      <a:lnTo>
                        <a:pt x="168" y="288"/>
                      </a:lnTo>
                      <a:lnTo>
                        <a:pt x="180" y="300"/>
                      </a:lnTo>
                      <a:lnTo>
                        <a:pt x="198" y="306"/>
                      </a:lnTo>
                      <a:lnTo>
                        <a:pt x="216" y="312"/>
                      </a:lnTo>
                      <a:lnTo>
                        <a:pt x="234" y="324"/>
                      </a:lnTo>
                      <a:lnTo>
                        <a:pt x="246" y="342"/>
                      </a:lnTo>
                      <a:lnTo>
                        <a:pt x="246" y="366"/>
                      </a:lnTo>
                      <a:lnTo>
                        <a:pt x="246" y="372"/>
                      </a:lnTo>
                      <a:lnTo>
                        <a:pt x="252" y="378"/>
                      </a:lnTo>
                      <a:lnTo>
                        <a:pt x="264" y="384"/>
                      </a:lnTo>
                      <a:lnTo>
                        <a:pt x="270" y="384"/>
                      </a:lnTo>
                      <a:lnTo>
                        <a:pt x="282" y="378"/>
                      </a:lnTo>
                      <a:lnTo>
                        <a:pt x="294" y="378"/>
                      </a:lnTo>
                      <a:lnTo>
                        <a:pt x="300" y="372"/>
                      </a:lnTo>
                      <a:lnTo>
                        <a:pt x="306" y="360"/>
                      </a:lnTo>
                      <a:lnTo>
                        <a:pt x="324" y="336"/>
                      </a:lnTo>
                      <a:lnTo>
                        <a:pt x="342" y="318"/>
                      </a:lnTo>
                      <a:lnTo>
                        <a:pt x="354" y="306"/>
                      </a:lnTo>
                      <a:lnTo>
                        <a:pt x="372" y="300"/>
                      </a:lnTo>
                      <a:lnTo>
                        <a:pt x="390" y="294"/>
                      </a:lnTo>
                      <a:lnTo>
                        <a:pt x="414" y="294"/>
                      </a:lnTo>
                      <a:lnTo>
                        <a:pt x="426" y="294"/>
                      </a:lnTo>
                      <a:lnTo>
                        <a:pt x="438" y="294"/>
                      </a:lnTo>
                      <a:lnTo>
                        <a:pt x="450" y="288"/>
                      </a:lnTo>
                      <a:lnTo>
                        <a:pt x="456" y="276"/>
                      </a:lnTo>
                      <a:lnTo>
                        <a:pt x="468" y="264"/>
                      </a:lnTo>
                      <a:lnTo>
                        <a:pt x="474" y="252"/>
                      </a:lnTo>
                      <a:lnTo>
                        <a:pt x="480" y="252"/>
                      </a:lnTo>
                      <a:lnTo>
                        <a:pt x="486" y="258"/>
                      </a:lnTo>
                      <a:lnTo>
                        <a:pt x="498" y="264"/>
                      </a:lnTo>
                      <a:lnTo>
                        <a:pt x="510" y="276"/>
                      </a:lnTo>
                      <a:lnTo>
                        <a:pt x="522" y="282"/>
                      </a:lnTo>
                      <a:lnTo>
                        <a:pt x="534" y="288"/>
                      </a:lnTo>
                      <a:lnTo>
                        <a:pt x="534" y="294"/>
                      </a:lnTo>
                      <a:lnTo>
                        <a:pt x="534" y="300"/>
                      </a:lnTo>
                      <a:lnTo>
                        <a:pt x="528" y="306"/>
                      </a:lnTo>
                      <a:lnTo>
                        <a:pt x="516" y="312"/>
                      </a:lnTo>
                      <a:lnTo>
                        <a:pt x="510" y="318"/>
                      </a:lnTo>
                      <a:lnTo>
                        <a:pt x="504" y="318"/>
                      </a:lnTo>
                      <a:lnTo>
                        <a:pt x="492" y="324"/>
                      </a:lnTo>
                      <a:lnTo>
                        <a:pt x="480" y="330"/>
                      </a:lnTo>
                      <a:lnTo>
                        <a:pt x="468" y="336"/>
                      </a:lnTo>
                      <a:lnTo>
                        <a:pt x="456" y="342"/>
                      </a:lnTo>
                      <a:lnTo>
                        <a:pt x="444" y="336"/>
                      </a:lnTo>
                      <a:lnTo>
                        <a:pt x="432" y="336"/>
                      </a:lnTo>
                      <a:lnTo>
                        <a:pt x="426" y="342"/>
                      </a:lnTo>
                      <a:lnTo>
                        <a:pt x="420" y="354"/>
                      </a:lnTo>
                      <a:lnTo>
                        <a:pt x="420" y="360"/>
                      </a:lnTo>
                      <a:lnTo>
                        <a:pt x="414" y="372"/>
                      </a:lnTo>
                      <a:lnTo>
                        <a:pt x="414" y="378"/>
                      </a:lnTo>
                      <a:lnTo>
                        <a:pt x="408" y="390"/>
                      </a:lnTo>
                      <a:lnTo>
                        <a:pt x="402" y="396"/>
                      </a:lnTo>
                      <a:lnTo>
                        <a:pt x="390" y="402"/>
                      </a:lnTo>
                      <a:lnTo>
                        <a:pt x="378" y="408"/>
                      </a:lnTo>
                      <a:lnTo>
                        <a:pt x="366" y="414"/>
                      </a:lnTo>
                      <a:lnTo>
                        <a:pt x="342" y="414"/>
                      </a:lnTo>
                      <a:lnTo>
                        <a:pt x="330" y="414"/>
                      </a:lnTo>
                      <a:lnTo>
                        <a:pt x="330" y="420"/>
                      </a:lnTo>
                      <a:lnTo>
                        <a:pt x="324" y="426"/>
                      </a:lnTo>
                      <a:lnTo>
                        <a:pt x="330" y="432"/>
                      </a:lnTo>
                      <a:lnTo>
                        <a:pt x="336" y="438"/>
                      </a:lnTo>
                      <a:lnTo>
                        <a:pt x="342" y="450"/>
                      </a:lnTo>
                      <a:lnTo>
                        <a:pt x="348" y="456"/>
                      </a:lnTo>
                      <a:lnTo>
                        <a:pt x="360" y="456"/>
                      </a:lnTo>
                      <a:lnTo>
                        <a:pt x="372" y="462"/>
                      </a:lnTo>
                      <a:lnTo>
                        <a:pt x="378" y="474"/>
                      </a:lnTo>
                      <a:lnTo>
                        <a:pt x="384" y="492"/>
                      </a:lnTo>
                      <a:lnTo>
                        <a:pt x="390" y="504"/>
                      </a:lnTo>
                      <a:lnTo>
                        <a:pt x="396" y="522"/>
                      </a:lnTo>
                      <a:lnTo>
                        <a:pt x="396" y="534"/>
                      </a:lnTo>
                      <a:lnTo>
                        <a:pt x="396" y="546"/>
                      </a:lnTo>
                      <a:lnTo>
                        <a:pt x="402" y="564"/>
                      </a:lnTo>
                      <a:lnTo>
                        <a:pt x="408" y="570"/>
                      </a:lnTo>
                      <a:lnTo>
                        <a:pt x="414" y="576"/>
                      </a:lnTo>
                      <a:lnTo>
                        <a:pt x="426" y="588"/>
                      </a:lnTo>
                      <a:lnTo>
                        <a:pt x="426" y="600"/>
                      </a:lnTo>
                      <a:lnTo>
                        <a:pt x="432" y="618"/>
                      </a:lnTo>
                      <a:lnTo>
                        <a:pt x="432" y="630"/>
                      </a:lnTo>
                      <a:lnTo>
                        <a:pt x="426" y="648"/>
                      </a:lnTo>
                      <a:lnTo>
                        <a:pt x="426" y="660"/>
                      </a:lnTo>
                      <a:lnTo>
                        <a:pt x="420" y="678"/>
                      </a:lnTo>
                      <a:lnTo>
                        <a:pt x="432" y="708"/>
                      </a:lnTo>
                      <a:lnTo>
                        <a:pt x="456" y="738"/>
                      </a:lnTo>
                      <a:lnTo>
                        <a:pt x="474" y="756"/>
                      </a:lnTo>
                      <a:lnTo>
                        <a:pt x="480" y="762"/>
                      </a:lnTo>
                      <a:lnTo>
                        <a:pt x="480" y="768"/>
                      </a:lnTo>
                      <a:lnTo>
                        <a:pt x="480" y="786"/>
                      </a:lnTo>
                      <a:lnTo>
                        <a:pt x="474" y="804"/>
                      </a:lnTo>
                      <a:lnTo>
                        <a:pt x="468" y="816"/>
                      </a:lnTo>
                      <a:lnTo>
                        <a:pt x="462" y="828"/>
                      </a:lnTo>
                      <a:lnTo>
                        <a:pt x="456" y="840"/>
                      </a:lnTo>
                      <a:lnTo>
                        <a:pt x="450" y="840"/>
                      </a:lnTo>
                      <a:lnTo>
                        <a:pt x="444" y="840"/>
                      </a:lnTo>
                      <a:lnTo>
                        <a:pt x="432" y="834"/>
                      </a:lnTo>
                      <a:lnTo>
                        <a:pt x="420" y="834"/>
                      </a:lnTo>
                      <a:lnTo>
                        <a:pt x="414" y="840"/>
                      </a:lnTo>
                      <a:lnTo>
                        <a:pt x="414" y="846"/>
                      </a:lnTo>
                      <a:lnTo>
                        <a:pt x="408" y="858"/>
                      </a:lnTo>
                      <a:lnTo>
                        <a:pt x="414" y="870"/>
                      </a:lnTo>
                      <a:lnTo>
                        <a:pt x="414" y="888"/>
                      </a:lnTo>
                      <a:lnTo>
                        <a:pt x="414" y="900"/>
                      </a:lnTo>
                      <a:lnTo>
                        <a:pt x="414" y="912"/>
                      </a:lnTo>
                      <a:lnTo>
                        <a:pt x="408" y="918"/>
                      </a:lnTo>
                      <a:lnTo>
                        <a:pt x="396" y="918"/>
                      </a:lnTo>
                      <a:lnTo>
                        <a:pt x="384" y="924"/>
                      </a:lnTo>
                      <a:lnTo>
                        <a:pt x="372" y="924"/>
                      </a:lnTo>
                      <a:lnTo>
                        <a:pt x="354" y="924"/>
                      </a:lnTo>
                      <a:lnTo>
                        <a:pt x="342" y="930"/>
                      </a:lnTo>
                      <a:lnTo>
                        <a:pt x="330" y="936"/>
                      </a:lnTo>
                      <a:lnTo>
                        <a:pt x="324" y="930"/>
                      </a:lnTo>
                      <a:lnTo>
                        <a:pt x="324" y="924"/>
                      </a:lnTo>
                      <a:lnTo>
                        <a:pt x="324" y="912"/>
                      </a:lnTo>
                      <a:lnTo>
                        <a:pt x="324" y="900"/>
                      </a:lnTo>
                      <a:lnTo>
                        <a:pt x="324" y="888"/>
                      </a:lnTo>
                      <a:lnTo>
                        <a:pt x="324" y="882"/>
                      </a:lnTo>
                      <a:lnTo>
                        <a:pt x="324" y="870"/>
                      </a:lnTo>
                      <a:lnTo>
                        <a:pt x="318" y="858"/>
                      </a:lnTo>
                      <a:lnTo>
                        <a:pt x="312" y="840"/>
                      </a:lnTo>
                      <a:lnTo>
                        <a:pt x="306" y="828"/>
                      </a:lnTo>
                      <a:lnTo>
                        <a:pt x="312" y="810"/>
                      </a:lnTo>
                      <a:lnTo>
                        <a:pt x="318" y="798"/>
                      </a:lnTo>
                      <a:lnTo>
                        <a:pt x="324" y="786"/>
                      </a:lnTo>
                      <a:lnTo>
                        <a:pt x="324" y="774"/>
                      </a:lnTo>
                      <a:lnTo>
                        <a:pt x="318" y="762"/>
                      </a:lnTo>
                      <a:lnTo>
                        <a:pt x="306" y="750"/>
                      </a:lnTo>
                      <a:lnTo>
                        <a:pt x="294" y="738"/>
                      </a:lnTo>
                      <a:lnTo>
                        <a:pt x="288" y="726"/>
                      </a:lnTo>
                      <a:lnTo>
                        <a:pt x="282" y="714"/>
                      </a:lnTo>
                      <a:lnTo>
                        <a:pt x="282" y="696"/>
                      </a:lnTo>
                      <a:lnTo>
                        <a:pt x="282" y="684"/>
                      </a:lnTo>
                      <a:lnTo>
                        <a:pt x="282" y="666"/>
                      </a:lnTo>
                      <a:lnTo>
                        <a:pt x="276" y="660"/>
                      </a:lnTo>
                      <a:lnTo>
                        <a:pt x="264" y="648"/>
                      </a:lnTo>
                      <a:lnTo>
                        <a:pt x="258" y="636"/>
                      </a:lnTo>
                      <a:lnTo>
                        <a:pt x="252" y="624"/>
                      </a:lnTo>
                      <a:lnTo>
                        <a:pt x="252" y="612"/>
                      </a:lnTo>
                      <a:lnTo>
                        <a:pt x="258" y="594"/>
                      </a:lnTo>
                      <a:lnTo>
                        <a:pt x="264" y="570"/>
                      </a:lnTo>
                      <a:lnTo>
                        <a:pt x="264" y="558"/>
                      </a:lnTo>
                      <a:lnTo>
                        <a:pt x="264" y="552"/>
                      </a:lnTo>
                      <a:lnTo>
                        <a:pt x="264" y="546"/>
                      </a:lnTo>
                      <a:lnTo>
                        <a:pt x="258" y="540"/>
                      </a:lnTo>
                      <a:lnTo>
                        <a:pt x="246" y="540"/>
                      </a:lnTo>
                      <a:lnTo>
                        <a:pt x="234" y="528"/>
                      </a:lnTo>
                      <a:lnTo>
                        <a:pt x="216" y="516"/>
                      </a:lnTo>
                      <a:lnTo>
                        <a:pt x="204" y="510"/>
                      </a:lnTo>
                      <a:lnTo>
                        <a:pt x="198" y="510"/>
                      </a:lnTo>
                      <a:lnTo>
                        <a:pt x="192" y="510"/>
                      </a:lnTo>
                      <a:lnTo>
                        <a:pt x="192" y="516"/>
                      </a:lnTo>
                      <a:lnTo>
                        <a:pt x="192" y="522"/>
                      </a:lnTo>
                      <a:lnTo>
                        <a:pt x="192" y="534"/>
                      </a:lnTo>
                      <a:lnTo>
                        <a:pt x="192" y="540"/>
                      </a:lnTo>
                      <a:lnTo>
                        <a:pt x="186" y="552"/>
                      </a:lnTo>
                      <a:lnTo>
                        <a:pt x="186" y="558"/>
                      </a:lnTo>
                      <a:lnTo>
                        <a:pt x="180" y="582"/>
                      </a:lnTo>
                      <a:lnTo>
                        <a:pt x="180" y="600"/>
                      </a:lnTo>
                      <a:lnTo>
                        <a:pt x="186" y="618"/>
                      </a:lnTo>
                      <a:lnTo>
                        <a:pt x="198" y="642"/>
                      </a:lnTo>
                      <a:lnTo>
                        <a:pt x="204" y="654"/>
                      </a:lnTo>
                      <a:lnTo>
                        <a:pt x="204" y="666"/>
                      </a:lnTo>
                      <a:lnTo>
                        <a:pt x="198" y="678"/>
                      </a:lnTo>
                      <a:lnTo>
                        <a:pt x="198" y="690"/>
                      </a:lnTo>
                      <a:lnTo>
                        <a:pt x="192" y="696"/>
                      </a:lnTo>
                      <a:lnTo>
                        <a:pt x="192" y="708"/>
                      </a:lnTo>
                      <a:lnTo>
                        <a:pt x="192" y="732"/>
                      </a:lnTo>
                      <a:lnTo>
                        <a:pt x="192" y="756"/>
                      </a:lnTo>
                      <a:lnTo>
                        <a:pt x="186" y="774"/>
                      </a:lnTo>
                      <a:lnTo>
                        <a:pt x="180" y="798"/>
                      </a:lnTo>
                      <a:lnTo>
                        <a:pt x="168" y="810"/>
                      </a:lnTo>
                      <a:lnTo>
                        <a:pt x="162" y="822"/>
                      </a:lnTo>
                      <a:lnTo>
                        <a:pt x="156" y="828"/>
                      </a:lnTo>
                      <a:lnTo>
                        <a:pt x="150" y="840"/>
                      </a:lnTo>
                      <a:lnTo>
                        <a:pt x="144" y="846"/>
                      </a:lnTo>
                      <a:lnTo>
                        <a:pt x="150" y="864"/>
                      </a:lnTo>
                      <a:lnTo>
                        <a:pt x="150" y="882"/>
                      </a:lnTo>
                      <a:lnTo>
                        <a:pt x="156" y="894"/>
                      </a:lnTo>
                      <a:lnTo>
                        <a:pt x="150" y="906"/>
                      </a:lnTo>
                      <a:lnTo>
                        <a:pt x="150" y="918"/>
                      </a:lnTo>
                      <a:lnTo>
                        <a:pt x="150" y="930"/>
                      </a:lnTo>
                      <a:lnTo>
                        <a:pt x="150" y="948"/>
                      </a:lnTo>
                      <a:lnTo>
                        <a:pt x="144" y="972"/>
                      </a:lnTo>
                      <a:lnTo>
                        <a:pt x="126" y="978"/>
                      </a:lnTo>
                      <a:lnTo>
                        <a:pt x="102" y="978"/>
                      </a:lnTo>
                      <a:lnTo>
                        <a:pt x="72" y="978"/>
                      </a:lnTo>
                      <a:lnTo>
                        <a:pt x="42" y="972"/>
                      </a:lnTo>
                      <a:lnTo>
                        <a:pt x="30" y="966"/>
                      </a:lnTo>
                      <a:lnTo>
                        <a:pt x="24" y="960"/>
                      </a:lnTo>
                      <a:lnTo>
                        <a:pt x="24" y="954"/>
                      </a:lnTo>
                      <a:lnTo>
                        <a:pt x="30" y="942"/>
                      </a:lnTo>
                      <a:lnTo>
                        <a:pt x="36" y="930"/>
                      </a:lnTo>
                      <a:lnTo>
                        <a:pt x="48" y="918"/>
                      </a:lnTo>
                      <a:lnTo>
                        <a:pt x="54" y="906"/>
                      </a:lnTo>
                      <a:lnTo>
                        <a:pt x="66" y="882"/>
                      </a:lnTo>
                      <a:lnTo>
                        <a:pt x="72" y="864"/>
                      </a:lnTo>
                      <a:lnTo>
                        <a:pt x="84" y="852"/>
                      </a:lnTo>
                      <a:lnTo>
                        <a:pt x="84" y="828"/>
                      </a:lnTo>
                      <a:lnTo>
                        <a:pt x="84" y="810"/>
                      </a:lnTo>
                      <a:lnTo>
                        <a:pt x="90" y="798"/>
                      </a:lnTo>
                      <a:lnTo>
                        <a:pt x="90" y="780"/>
                      </a:lnTo>
                      <a:lnTo>
                        <a:pt x="90" y="768"/>
                      </a:lnTo>
                      <a:lnTo>
                        <a:pt x="90" y="750"/>
                      </a:lnTo>
                      <a:lnTo>
                        <a:pt x="84" y="732"/>
                      </a:lnTo>
                      <a:lnTo>
                        <a:pt x="78" y="708"/>
                      </a:lnTo>
                      <a:lnTo>
                        <a:pt x="72" y="702"/>
                      </a:lnTo>
                      <a:lnTo>
                        <a:pt x="66" y="696"/>
                      </a:lnTo>
                      <a:lnTo>
                        <a:pt x="54" y="696"/>
                      </a:lnTo>
                      <a:lnTo>
                        <a:pt x="42" y="696"/>
                      </a:lnTo>
                      <a:lnTo>
                        <a:pt x="30" y="696"/>
                      </a:lnTo>
                      <a:lnTo>
                        <a:pt x="18" y="696"/>
                      </a:lnTo>
                      <a:lnTo>
                        <a:pt x="12" y="690"/>
                      </a:lnTo>
                      <a:lnTo>
                        <a:pt x="12" y="684"/>
                      </a:lnTo>
                      <a:lnTo>
                        <a:pt x="12" y="672"/>
                      </a:lnTo>
                      <a:lnTo>
                        <a:pt x="18" y="660"/>
                      </a:lnTo>
                      <a:lnTo>
                        <a:pt x="18" y="654"/>
                      </a:lnTo>
                      <a:lnTo>
                        <a:pt x="24" y="648"/>
                      </a:lnTo>
                      <a:lnTo>
                        <a:pt x="24" y="648"/>
                      </a:lnTo>
                      <a:lnTo>
                        <a:pt x="24" y="642"/>
                      </a:lnTo>
                      <a:lnTo>
                        <a:pt x="18" y="636"/>
                      </a:lnTo>
                      <a:lnTo>
                        <a:pt x="6" y="624"/>
                      </a:lnTo>
                      <a:lnTo>
                        <a:pt x="0" y="600"/>
                      </a:lnTo>
                      <a:lnTo>
                        <a:pt x="12" y="570"/>
                      </a:lnTo>
                      <a:lnTo>
                        <a:pt x="30" y="546"/>
                      </a:lnTo>
                      <a:lnTo>
                        <a:pt x="48" y="522"/>
                      </a:lnTo>
                      <a:lnTo>
                        <a:pt x="60" y="510"/>
                      </a:lnTo>
                      <a:lnTo>
                        <a:pt x="66" y="492"/>
                      </a:lnTo>
                      <a:lnTo>
                        <a:pt x="66" y="474"/>
                      </a:lnTo>
                      <a:lnTo>
                        <a:pt x="66" y="456"/>
                      </a:lnTo>
                      <a:lnTo>
                        <a:pt x="54" y="432"/>
                      </a:lnTo>
                      <a:lnTo>
                        <a:pt x="48" y="414"/>
                      </a:lnTo>
                      <a:lnTo>
                        <a:pt x="48" y="402"/>
                      </a:lnTo>
                      <a:lnTo>
                        <a:pt x="54" y="384"/>
                      </a:lnTo>
                      <a:lnTo>
                        <a:pt x="60" y="372"/>
                      </a:lnTo>
                      <a:lnTo>
                        <a:pt x="72" y="360"/>
                      </a:lnTo>
                      <a:lnTo>
                        <a:pt x="84" y="348"/>
                      </a:lnTo>
                      <a:lnTo>
                        <a:pt x="90" y="336"/>
                      </a:lnTo>
                      <a:lnTo>
                        <a:pt x="96" y="330"/>
                      </a:lnTo>
                      <a:lnTo>
                        <a:pt x="102" y="324"/>
                      </a:lnTo>
                      <a:lnTo>
                        <a:pt x="108" y="312"/>
                      </a:lnTo>
                      <a:lnTo>
                        <a:pt x="120" y="306"/>
                      </a:lnTo>
                      <a:lnTo>
                        <a:pt x="120" y="294"/>
                      </a:lnTo>
                      <a:lnTo>
                        <a:pt x="120" y="282"/>
                      </a:lnTo>
                      <a:lnTo>
                        <a:pt x="114" y="270"/>
                      </a:lnTo>
                      <a:lnTo>
                        <a:pt x="114" y="252"/>
                      </a:lnTo>
                      <a:lnTo>
                        <a:pt x="114" y="240"/>
                      </a:lnTo>
                      <a:lnTo>
                        <a:pt x="120" y="228"/>
                      </a:lnTo>
                      <a:lnTo>
                        <a:pt x="126" y="210"/>
                      </a:lnTo>
                      <a:lnTo>
                        <a:pt x="126" y="192"/>
                      </a:lnTo>
                      <a:lnTo>
                        <a:pt x="132" y="180"/>
                      </a:lnTo>
                      <a:lnTo>
                        <a:pt x="132" y="174"/>
                      </a:lnTo>
                      <a:lnTo>
                        <a:pt x="138" y="162"/>
                      </a:lnTo>
                      <a:lnTo>
                        <a:pt x="144" y="150"/>
                      </a:lnTo>
                      <a:lnTo>
                        <a:pt x="150" y="138"/>
                      </a:lnTo>
                      <a:lnTo>
                        <a:pt x="168" y="126"/>
                      </a:lnTo>
                      <a:lnTo>
                        <a:pt x="186" y="114"/>
                      </a:lnTo>
                      <a:lnTo>
                        <a:pt x="210" y="108"/>
                      </a:lnTo>
                      <a:lnTo>
                        <a:pt x="222" y="96"/>
                      </a:lnTo>
                      <a:lnTo>
                        <a:pt x="234" y="84"/>
                      </a:lnTo>
                      <a:lnTo>
                        <a:pt x="240" y="72"/>
                      </a:lnTo>
                      <a:lnTo>
                        <a:pt x="246" y="60"/>
                      </a:lnTo>
                      <a:lnTo>
                        <a:pt x="246" y="48"/>
                      </a:lnTo>
                      <a:lnTo>
                        <a:pt x="258" y="36"/>
                      </a:lnTo>
                      <a:lnTo>
                        <a:pt x="270" y="30"/>
                      </a:lnTo>
                      <a:lnTo>
                        <a:pt x="288" y="24"/>
                      </a:lnTo>
                      <a:lnTo>
                        <a:pt x="300" y="24"/>
                      </a:lnTo>
                      <a:lnTo>
                        <a:pt x="312" y="24"/>
                      </a:lnTo>
                      <a:lnTo>
                        <a:pt x="324" y="24"/>
                      </a:lnTo>
                      <a:lnTo>
                        <a:pt x="330" y="30"/>
                      </a:lnTo>
                      <a:lnTo>
                        <a:pt x="330" y="36"/>
                      </a:lnTo>
                      <a:lnTo>
                        <a:pt x="330" y="42"/>
                      </a:lnTo>
                      <a:lnTo>
                        <a:pt x="324" y="48"/>
                      </a:lnTo>
                      <a:lnTo>
                        <a:pt x="330" y="54"/>
                      </a:lnTo>
                      <a:lnTo>
                        <a:pt x="336" y="54"/>
                      </a:lnTo>
                      <a:lnTo>
                        <a:pt x="348" y="60"/>
                      </a:lnTo>
                      <a:lnTo>
                        <a:pt x="366" y="60"/>
                      </a:lnTo>
                      <a:lnTo>
                        <a:pt x="378" y="60"/>
                      </a:lnTo>
                      <a:lnTo>
                        <a:pt x="396" y="60"/>
                      </a:lnTo>
                      <a:lnTo>
                        <a:pt x="420" y="60"/>
                      </a:lnTo>
                      <a:lnTo>
                        <a:pt x="438" y="66"/>
                      </a:lnTo>
                      <a:lnTo>
                        <a:pt x="462" y="78"/>
                      </a:lnTo>
                      <a:lnTo>
                        <a:pt x="474" y="84"/>
                      </a:lnTo>
                      <a:lnTo>
                        <a:pt x="480" y="90"/>
                      </a:lnTo>
                      <a:lnTo>
                        <a:pt x="492" y="90"/>
                      </a:lnTo>
                      <a:lnTo>
                        <a:pt x="510" y="90"/>
                      </a:lnTo>
                      <a:lnTo>
                        <a:pt x="528" y="84"/>
                      </a:lnTo>
                      <a:lnTo>
                        <a:pt x="540" y="78"/>
                      </a:lnTo>
                      <a:lnTo>
                        <a:pt x="558" y="72"/>
                      </a:lnTo>
                      <a:lnTo>
                        <a:pt x="570" y="72"/>
                      </a:lnTo>
                      <a:lnTo>
                        <a:pt x="588" y="78"/>
                      </a:lnTo>
                      <a:lnTo>
                        <a:pt x="606" y="90"/>
                      </a:lnTo>
                      <a:lnTo>
                        <a:pt x="618" y="90"/>
                      </a:lnTo>
                      <a:lnTo>
                        <a:pt x="624" y="90"/>
                      </a:lnTo>
                      <a:lnTo>
                        <a:pt x="636" y="78"/>
                      </a:lnTo>
                      <a:lnTo>
                        <a:pt x="642" y="66"/>
                      </a:lnTo>
                      <a:lnTo>
                        <a:pt x="648" y="54"/>
                      </a:lnTo>
                      <a:lnTo>
                        <a:pt x="654" y="48"/>
                      </a:lnTo>
                      <a:lnTo>
                        <a:pt x="666" y="36"/>
                      </a:lnTo>
                      <a:lnTo>
                        <a:pt x="678" y="30"/>
                      </a:lnTo>
                      <a:lnTo>
                        <a:pt x="696" y="24"/>
                      </a:lnTo>
                      <a:lnTo>
                        <a:pt x="708" y="18"/>
                      </a:lnTo>
                      <a:lnTo>
                        <a:pt x="720" y="12"/>
                      </a:lnTo>
                      <a:lnTo>
                        <a:pt x="726" y="6"/>
                      </a:lnTo>
                      <a:lnTo>
                        <a:pt x="732" y="6"/>
                      </a:lnTo>
                      <a:lnTo>
                        <a:pt x="73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1" name="Freeform 394">
                  <a:extLst>
                    <a:ext uri="{FF2B5EF4-FFF2-40B4-BE49-F238E27FC236}">
                      <a16:creationId xmlns:a16="http://schemas.microsoft.com/office/drawing/2014/main" id="{B1D5781E-D0B0-471B-8943-7ED1482FC1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47" y="3222"/>
                  <a:ext cx="210" cy="366"/>
                </a:xfrm>
                <a:custGeom>
                  <a:avLst/>
                  <a:gdLst>
                    <a:gd name="T0" fmla="*/ 102 w 210"/>
                    <a:gd name="T1" fmla="*/ 6 h 366"/>
                    <a:gd name="T2" fmla="*/ 108 w 210"/>
                    <a:gd name="T3" fmla="*/ 24 h 366"/>
                    <a:gd name="T4" fmla="*/ 102 w 210"/>
                    <a:gd name="T5" fmla="*/ 54 h 366"/>
                    <a:gd name="T6" fmla="*/ 102 w 210"/>
                    <a:gd name="T7" fmla="*/ 78 h 366"/>
                    <a:gd name="T8" fmla="*/ 90 w 210"/>
                    <a:gd name="T9" fmla="*/ 108 h 366"/>
                    <a:gd name="T10" fmla="*/ 84 w 210"/>
                    <a:gd name="T11" fmla="*/ 126 h 366"/>
                    <a:gd name="T12" fmla="*/ 78 w 210"/>
                    <a:gd name="T13" fmla="*/ 144 h 366"/>
                    <a:gd name="T14" fmla="*/ 84 w 210"/>
                    <a:gd name="T15" fmla="*/ 174 h 366"/>
                    <a:gd name="T16" fmla="*/ 96 w 210"/>
                    <a:gd name="T17" fmla="*/ 186 h 366"/>
                    <a:gd name="T18" fmla="*/ 114 w 210"/>
                    <a:gd name="T19" fmla="*/ 186 h 366"/>
                    <a:gd name="T20" fmla="*/ 132 w 210"/>
                    <a:gd name="T21" fmla="*/ 162 h 366"/>
                    <a:gd name="T22" fmla="*/ 144 w 210"/>
                    <a:gd name="T23" fmla="*/ 132 h 366"/>
                    <a:gd name="T24" fmla="*/ 168 w 210"/>
                    <a:gd name="T25" fmla="*/ 126 h 366"/>
                    <a:gd name="T26" fmla="*/ 192 w 210"/>
                    <a:gd name="T27" fmla="*/ 132 h 366"/>
                    <a:gd name="T28" fmla="*/ 210 w 210"/>
                    <a:gd name="T29" fmla="*/ 150 h 366"/>
                    <a:gd name="T30" fmla="*/ 210 w 210"/>
                    <a:gd name="T31" fmla="*/ 174 h 366"/>
                    <a:gd name="T32" fmla="*/ 192 w 210"/>
                    <a:gd name="T33" fmla="*/ 198 h 366"/>
                    <a:gd name="T34" fmla="*/ 186 w 210"/>
                    <a:gd name="T35" fmla="*/ 216 h 366"/>
                    <a:gd name="T36" fmla="*/ 204 w 210"/>
                    <a:gd name="T37" fmla="*/ 228 h 366"/>
                    <a:gd name="T38" fmla="*/ 210 w 210"/>
                    <a:gd name="T39" fmla="*/ 240 h 366"/>
                    <a:gd name="T40" fmla="*/ 192 w 210"/>
                    <a:gd name="T41" fmla="*/ 246 h 366"/>
                    <a:gd name="T42" fmla="*/ 156 w 210"/>
                    <a:gd name="T43" fmla="*/ 252 h 366"/>
                    <a:gd name="T44" fmla="*/ 120 w 210"/>
                    <a:gd name="T45" fmla="*/ 258 h 366"/>
                    <a:gd name="T46" fmla="*/ 114 w 210"/>
                    <a:gd name="T47" fmla="*/ 270 h 366"/>
                    <a:gd name="T48" fmla="*/ 126 w 210"/>
                    <a:gd name="T49" fmla="*/ 288 h 366"/>
                    <a:gd name="T50" fmla="*/ 144 w 210"/>
                    <a:gd name="T51" fmla="*/ 318 h 366"/>
                    <a:gd name="T52" fmla="*/ 162 w 210"/>
                    <a:gd name="T53" fmla="*/ 348 h 366"/>
                    <a:gd name="T54" fmla="*/ 162 w 210"/>
                    <a:gd name="T55" fmla="*/ 366 h 366"/>
                    <a:gd name="T56" fmla="*/ 150 w 210"/>
                    <a:gd name="T57" fmla="*/ 366 h 366"/>
                    <a:gd name="T58" fmla="*/ 132 w 210"/>
                    <a:gd name="T59" fmla="*/ 354 h 366"/>
                    <a:gd name="T60" fmla="*/ 108 w 210"/>
                    <a:gd name="T61" fmla="*/ 336 h 366"/>
                    <a:gd name="T62" fmla="*/ 84 w 210"/>
                    <a:gd name="T63" fmla="*/ 318 h 366"/>
                    <a:gd name="T64" fmla="*/ 72 w 210"/>
                    <a:gd name="T65" fmla="*/ 300 h 366"/>
                    <a:gd name="T66" fmla="*/ 66 w 210"/>
                    <a:gd name="T67" fmla="*/ 282 h 366"/>
                    <a:gd name="T68" fmla="*/ 42 w 210"/>
                    <a:gd name="T69" fmla="*/ 276 h 366"/>
                    <a:gd name="T70" fmla="*/ 30 w 210"/>
                    <a:gd name="T71" fmla="*/ 252 h 366"/>
                    <a:gd name="T72" fmla="*/ 24 w 210"/>
                    <a:gd name="T73" fmla="*/ 222 h 366"/>
                    <a:gd name="T74" fmla="*/ 0 w 210"/>
                    <a:gd name="T75" fmla="*/ 186 h 366"/>
                    <a:gd name="T76" fmla="*/ 0 w 210"/>
                    <a:gd name="T77" fmla="*/ 144 h 366"/>
                    <a:gd name="T78" fmla="*/ 24 w 210"/>
                    <a:gd name="T79" fmla="*/ 108 h 366"/>
                    <a:gd name="T80" fmla="*/ 48 w 210"/>
                    <a:gd name="T81" fmla="*/ 84 h 366"/>
                    <a:gd name="T82" fmla="*/ 66 w 210"/>
                    <a:gd name="T83" fmla="*/ 48 h 366"/>
                    <a:gd name="T84" fmla="*/ 90 w 210"/>
                    <a:gd name="T85" fmla="*/ 12 h 366"/>
                    <a:gd name="T86" fmla="*/ 102 w 210"/>
                    <a:gd name="T87" fmla="*/ 0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0" h="366">
                      <a:moveTo>
                        <a:pt x="102" y="0"/>
                      </a:moveTo>
                      <a:lnTo>
                        <a:pt x="102" y="6"/>
                      </a:lnTo>
                      <a:lnTo>
                        <a:pt x="108" y="12"/>
                      </a:lnTo>
                      <a:lnTo>
                        <a:pt x="108" y="24"/>
                      </a:lnTo>
                      <a:lnTo>
                        <a:pt x="108" y="36"/>
                      </a:lnTo>
                      <a:lnTo>
                        <a:pt x="102" y="54"/>
                      </a:lnTo>
                      <a:lnTo>
                        <a:pt x="102" y="66"/>
                      </a:lnTo>
                      <a:lnTo>
                        <a:pt x="102" y="78"/>
                      </a:lnTo>
                      <a:lnTo>
                        <a:pt x="96" y="90"/>
                      </a:lnTo>
                      <a:lnTo>
                        <a:pt x="90" y="108"/>
                      </a:lnTo>
                      <a:lnTo>
                        <a:pt x="84" y="120"/>
                      </a:lnTo>
                      <a:lnTo>
                        <a:pt x="84" y="126"/>
                      </a:lnTo>
                      <a:lnTo>
                        <a:pt x="78" y="132"/>
                      </a:lnTo>
                      <a:lnTo>
                        <a:pt x="78" y="144"/>
                      </a:lnTo>
                      <a:lnTo>
                        <a:pt x="78" y="156"/>
                      </a:lnTo>
                      <a:lnTo>
                        <a:pt x="84" y="174"/>
                      </a:lnTo>
                      <a:lnTo>
                        <a:pt x="90" y="180"/>
                      </a:lnTo>
                      <a:lnTo>
                        <a:pt x="96" y="186"/>
                      </a:lnTo>
                      <a:lnTo>
                        <a:pt x="108" y="186"/>
                      </a:lnTo>
                      <a:lnTo>
                        <a:pt x="114" y="186"/>
                      </a:lnTo>
                      <a:lnTo>
                        <a:pt x="126" y="174"/>
                      </a:lnTo>
                      <a:lnTo>
                        <a:pt x="132" y="162"/>
                      </a:lnTo>
                      <a:lnTo>
                        <a:pt x="138" y="144"/>
                      </a:lnTo>
                      <a:lnTo>
                        <a:pt x="144" y="132"/>
                      </a:lnTo>
                      <a:lnTo>
                        <a:pt x="156" y="126"/>
                      </a:lnTo>
                      <a:lnTo>
                        <a:pt x="168" y="126"/>
                      </a:lnTo>
                      <a:lnTo>
                        <a:pt x="180" y="126"/>
                      </a:lnTo>
                      <a:lnTo>
                        <a:pt x="192" y="132"/>
                      </a:lnTo>
                      <a:lnTo>
                        <a:pt x="204" y="144"/>
                      </a:lnTo>
                      <a:lnTo>
                        <a:pt x="210" y="150"/>
                      </a:lnTo>
                      <a:lnTo>
                        <a:pt x="210" y="162"/>
                      </a:lnTo>
                      <a:lnTo>
                        <a:pt x="210" y="174"/>
                      </a:lnTo>
                      <a:lnTo>
                        <a:pt x="204" y="186"/>
                      </a:lnTo>
                      <a:lnTo>
                        <a:pt x="192" y="198"/>
                      </a:lnTo>
                      <a:lnTo>
                        <a:pt x="186" y="204"/>
                      </a:lnTo>
                      <a:lnTo>
                        <a:pt x="186" y="216"/>
                      </a:lnTo>
                      <a:lnTo>
                        <a:pt x="192" y="222"/>
                      </a:lnTo>
                      <a:lnTo>
                        <a:pt x="204" y="228"/>
                      </a:lnTo>
                      <a:lnTo>
                        <a:pt x="210" y="234"/>
                      </a:lnTo>
                      <a:lnTo>
                        <a:pt x="210" y="240"/>
                      </a:lnTo>
                      <a:lnTo>
                        <a:pt x="204" y="246"/>
                      </a:lnTo>
                      <a:lnTo>
                        <a:pt x="192" y="246"/>
                      </a:lnTo>
                      <a:lnTo>
                        <a:pt x="174" y="252"/>
                      </a:lnTo>
                      <a:lnTo>
                        <a:pt x="156" y="252"/>
                      </a:lnTo>
                      <a:lnTo>
                        <a:pt x="132" y="252"/>
                      </a:lnTo>
                      <a:lnTo>
                        <a:pt x="120" y="258"/>
                      </a:lnTo>
                      <a:lnTo>
                        <a:pt x="114" y="264"/>
                      </a:lnTo>
                      <a:lnTo>
                        <a:pt x="114" y="270"/>
                      </a:lnTo>
                      <a:lnTo>
                        <a:pt x="114" y="276"/>
                      </a:lnTo>
                      <a:lnTo>
                        <a:pt x="126" y="288"/>
                      </a:lnTo>
                      <a:lnTo>
                        <a:pt x="132" y="300"/>
                      </a:lnTo>
                      <a:lnTo>
                        <a:pt x="144" y="318"/>
                      </a:lnTo>
                      <a:lnTo>
                        <a:pt x="150" y="330"/>
                      </a:lnTo>
                      <a:lnTo>
                        <a:pt x="162" y="348"/>
                      </a:lnTo>
                      <a:lnTo>
                        <a:pt x="162" y="360"/>
                      </a:lnTo>
                      <a:lnTo>
                        <a:pt x="162" y="366"/>
                      </a:lnTo>
                      <a:lnTo>
                        <a:pt x="162" y="366"/>
                      </a:lnTo>
                      <a:lnTo>
                        <a:pt x="150" y="366"/>
                      </a:lnTo>
                      <a:lnTo>
                        <a:pt x="144" y="360"/>
                      </a:lnTo>
                      <a:lnTo>
                        <a:pt x="132" y="354"/>
                      </a:lnTo>
                      <a:lnTo>
                        <a:pt x="120" y="348"/>
                      </a:lnTo>
                      <a:lnTo>
                        <a:pt x="108" y="336"/>
                      </a:lnTo>
                      <a:lnTo>
                        <a:pt x="96" y="330"/>
                      </a:lnTo>
                      <a:lnTo>
                        <a:pt x="84" y="318"/>
                      </a:lnTo>
                      <a:lnTo>
                        <a:pt x="78" y="306"/>
                      </a:lnTo>
                      <a:lnTo>
                        <a:pt x="72" y="300"/>
                      </a:lnTo>
                      <a:lnTo>
                        <a:pt x="72" y="288"/>
                      </a:lnTo>
                      <a:lnTo>
                        <a:pt x="66" y="282"/>
                      </a:lnTo>
                      <a:lnTo>
                        <a:pt x="54" y="282"/>
                      </a:lnTo>
                      <a:lnTo>
                        <a:pt x="42" y="276"/>
                      </a:lnTo>
                      <a:lnTo>
                        <a:pt x="36" y="264"/>
                      </a:lnTo>
                      <a:lnTo>
                        <a:pt x="30" y="252"/>
                      </a:lnTo>
                      <a:lnTo>
                        <a:pt x="24" y="234"/>
                      </a:lnTo>
                      <a:lnTo>
                        <a:pt x="24" y="222"/>
                      </a:lnTo>
                      <a:lnTo>
                        <a:pt x="12" y="204"/>
                      </a:lnTo>
                      <a:lnTo>
                        <a:pt x="0" y="186"/>
                      </a:lnTo>
                      <a:lnTo>
                        <a:pt x="0" y="162"/>
                      </a:lnTo>
                      <a:lnTo>
                        <a:pt x="0" y="144"/>
                      </a:lnTo>
                      <a:lnTo>
                        <a:pt x="12" y="126"/>
                      </a:lnTo>
                      <a:lnTo>
                        <a:pt x="24" y="108"/>
                      </a:lnTo>
                      <a:lnTo>
                        <a:pt x="36" y="96"/>
                      </a:lnTo>
                      <a:lnTo>
                        <a:pt x="48" y="84"/>
                      </a:lnTo>
                      <a:lnTo>
                        <a:pt x="54" y="66"/>
                      </a:lnTo>
                      <a:lnTo>
                        <a:pt x="66" y="48"/>
                      </a:lnTo>
                      <a:lnTo>
                        <a:pt x="78" y="24"/>
                      </a:lnTo>
                      <a:lnTo>
                        <a:pt x="90" y="12"/>
                      </a:lnTo>
                      <a:lnTo>
                        <a:pt x="96" y="6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2" name="Freeform 395">
                  <a:extLst>
                    <a:ext uri="{FF2B5EF4-FFF2-40B4-BE49-F238E27FC236}">
                      <a16:creationId xmlns:a16="http://schemas.microsoft.com/office/drawing/2014/main" id="{217B47F0-C222-425F-B41C-C7D477C4F8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97" y="3168"/>
                  <a:ext cx="54" cy="66"/>
                </a:xfrm>
                <a:custGeom>
                  <a:avLst/>
                  <a:gdLst>
                    <a:gd name="T0" fmla="*/ 18 w 54"/>
                    <a:gd name="T1" fmla="*/ 0 h 66"/>
                    <a:gd name="T2" fmla="*/ 30 w 54"/>
                    <a:gd name="T3" fmla="*/ 6 h 66"/>
                    <a:gd name="T4" fmla="*/ 36 w 54"/>
                    <a:gd name="T5" fmla="*/ 12 h 66"/>
                    <a:gd name="T6" fmla="*/ 42 w 54"/>
                    <a:gd name="T7" fmla="*/ 24 h 66"/>
                    <a:gd name="T8" fmla="*/ 48 w 54"/>
                    <a:gd name="T9" fmla="*/ 36 h 66"/>
                    <a:gd name="T10" fmla="*/ 54 w 54"/>
                    <a:gd name="T11" fmla="*/ 48 h 66"/>
                    <a:gd name="T12" fmla="*/ 48 w 54"/>
                    <a:gd name="T13" fmla="*/ 60 h 66"/>
                    <a:gd name="T14" fmla="*/ 42 w 54"/>
                    <a:gd name="T15" fmla="*/ 66 h 66"/>
                    <a:gd name="T16" fmla="*/ 30 w 54"/>
                    <a:gd name="T17" fmla="*/ 66 h 66"/>
                    <a:gd name="T18" fmla="*/ 18 w 54"/>
                    <a:gd name="T19" fmla="*/ 60 h 66"/>
                    <a:gd name="T20" fmla="*/ 6 w 54"/>
                    <a:gd name="T21" fmla="*/ 54 h 66"/>
                    <a:gd name="T22" fmla="*/ 0 w 54"/>
                    <a:gd name="T23" fmla="*/ 36 h 66"/>
                    <a:gd name="T24" fmla="*/ 0 w 54"/>
                    <a:gd name="T25" fmla="*/ 24 h 66"/>
                    <a:gd name="T26" fmla="*/ 0 w 54"/>
                    <a:gd name="T27" fmla="*/ 12 h 66"/>
                    <a:gd name="T28" fmla="*/ 12 w 54"/>
                    <a:gd name="T29" fmla="*/ 0 h 66"/>
                    <a:gd name="T30" fmla="*/ 18 w 54"/>
                    <a:gd name="T31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4" h="66">
                      <a:moveTo>
                        <a:pt x="18" y="0"/>
                      </a:moveTo>
                      <a:lnTo>
                        <a:pt x="30" y="6"/>
                      </a:lnTo>
                      <a:lnTo>
                        <a:pt x="36" y="12"/>
                      </a:lnTo>
                      <a:lnTo>
                        <a:pt x="42" y="24"/>
                      </a:lnTo>
                      <a:lnTo>
                        <a:pt x="48" y="36"/>
                      </a:lnTo>
                      <a:lnTo>
                        <a:pt x="54" y="48"/>
                      </a:lnTo>
                      <a:lnTo>
                        <a:pt x="48" y="60"/>
                      </a:lnTo>
                      <a:lnTo>
                        <a:pt x="42" y="66"/>
                      </a:lnTo>
                      <a:lnTo>
                        <a:pt x="30" y="66"/>
                      </a:lnTo>
                      <a:lnTo>
                        <a:pt x="18" y="60"/>
                      </a:lnTo>
                      <a:lnTo>
                        <a:pt x="6" y="54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12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3" name="Freeform 396">
                  <a:extLst>
                    <a:ext uri="{FF2B5EF4-FFF2-40B4-BE49-F238E27FC236}">
                      <a16:creationId xmlns:a16="http://schemas.microsoft.com/office/drawing/2014/main" id="{2850DBC8-D24A-454E-9DB2-9731B3F96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77" y="2148"/>
                  <a:ext cx="516" cy="558"/>
                </a:xfrm>
                <a:custGeom>
                  <a:avLst/>
                  <a:gdLst>
                    <a:gd name="T0" fmla="*/ 384 w 516"/>
                    <a:gd name="T1" fmla="*/ 12 h 558"/>
                    <a:gd name="T2" fmla="*/ 444 w 516"/>
                    <a:gd name="T3" fmla="*/ 66 h 558"/>
                    <a:gd name="T4" fmla="*/ 486 w 516"/>
                    <a:gd name="T5" fmla="*/ 132 h 558"/>
                    <a:gd name="T6" fmla="*/ 480 w 516"/>
                    <a:gd name="T7" fmla="*/ 240 h 558"/>
                    <a:gd name="T8" fmla="*/ 516 w 516"/>
                    <a:gd name="T9" fmla="*/ 342 h 558"/>
                    <a:gd name="T10" fmla="*/ 498 w 516"/>
                    <a:gd name="T11" fmla="*/ 414 h 558"/>
                    <a:gd name="T12" fmla="*/ 474 w 516"/>
                    <a:gd name="T13" fmla="*/ 444 h 558"/>
                    <a:gd name="T14" fmla="*/ 456 w 516"/>
                    <a:gd name="T15" fmla="*/ 444 h 558"/>
                    <a:gd name="T16" fmla="*/ 456 w 516"/>
                    <a:gd name="T17" fmla="*/ 408 h 558"/>
                    <a:gd name="T18" fmla="*/ 438 w 516"/>
                    <a:gd name="T19" fmla="*/ 366 h 558"/>
                    <a:gd name="T20" fmla="*/ 408 w 516"/>
                    <a:gd name="T21" fmla="*/ 384 h 558"/>
                    <a:gd name="T22" fmla="*/ 384 w 516"/>
                    <a:gd name="T23" fmla="*/ 420 h 558"/>
                    <a:gd name="T24" fmla="*/ 402 w 516"/>
                    <a:gd name="T25" fmla="*/ 456 h 558"/>
                    <a:gd name="T26" fmla="*/ 426 w 516"/>
                    <a:gd name="T27" fmla="*/ 498 h 558"/>
                    <a:gd name="T28" fmla="*/ 426 w 516"/>
                    <a:gd name="T29" fmla="*/ 546 h 558"/>
                    <a:gd name="T30" fmla="*/ 402 w 516"/>
                    <a:gd name="T31" fmla="*/ 552 h 558"/>
                    <a:gd name="T32" fmla="*/ 384 w 516"/>
                    <a:gd name="T33" fmla="*/ 528 h 558"/>
                    <a:gd name="T34" fmla="*/ 366 w 516"/>
                    <a:gd name="T35" fmla="*/ 540 h 558"/>
                    <a:gd name="T36" fmla="*/ 348 w 516"/>
                    <a:gd name="T37" fmla="*/ 528 h 558"/>
                    <a:gd name="T38" fmla="*/ 288 w 516"/>
                    <a:gd name="T39" fmla="*/ 504 h 558"/>
                    <a:gd name="T40" fmla="*/ 234 w 516"/>
                    <a:gd name="T41" fmla="*/ 462 h 558"/>
                    <a:gd name="T42" fmla="*/ 222 w 516"/>
                    <a:gd name="T43" fmla="*/ 408 h 558"/>
                    <a:gd name="T44" fmla="*/ 240 w 516"/>
                    <a:gd name="T45" fmla="*/ 378 h 558"/>
                    <a:gd name="T46" fmla="*/ 222 w 516"/>
                    <a:gd name="T47" fmla="*/ 354 h 558"/>
                    <a:gd name="T48" fmla="*/ 216 w 516"/>
                    <a:gd name="T49" fmla="*/ 318 h 558"/>
                    <a:gd name="T50" fmla="*/ 192 w 516"/>
                    <a:gd name="T51" fmla="*/ 306 h 558"/>
                    <a:gd name="T52" fmla="*/ 168 w 516"/>
                    <a:gd name="T53" fmla="*/ 306 h 558"/>
                    <a:gd name="T54" fmla="*/ 150 w 516"/>
                    <a:gd name="T55" fmla="*/ 330 h 558"/>
                    <a:gd name="T56" fmla="*/ 138 w 516"/>
                    <a:gd name="T57" fmla="*/ 360 h 558"/>
                    <a:gd name="T58" fmla="*/ 114 w 516"/>
                    <a:gd name="T59" fmla="*/ 360 h 558"/>
                    <a:gd name="T60" fmla="*/ 84 w 516"/>
                    <a:gd name="T61" fmla="*/ 360 h 558"/>
                    <a:gd name="T62" fmla="*/ 60 w 516"/>
                    <a:gd name="T63" fmla="*/ 336 h 558"/>
                    <a:gd name="T64" fmla="*/ 36 w 516"/>
                    <a:gd name="T65" fmla="*/ 348 h 558"/>
                    <a:gd name="T66" fmla="*/ 6 w 516"/>
                    <a:gd name="T67" fmla="*/ 372 h 558"/>
                    <a:gd name="T68" fmla="*/ 0 w 516"/>
                    <a:gd name="T69" fmla="*/ 354 h 558"/>
                    <a:gd name="T70" fmla="*/ 0 w 516"/>
                    <a:gd name="T71" fmla="*/ 318 h 558"/>
                    <a:gd name="T72" fmla="*/ 12 w 516"/>
                    <a:gd name="T73" fmla="*/ 282 h 558"/>
                    <a:gd name="T74" fmla="*/ 54 w 516"/>
                    <a:gd name="T75" fmla="*/ 264 h 558"/>
                    <a:gd name="T76" fmla="*/ 84 w 516"/>
                    <a:gd name="T77" fmla="*/ 258 h 558"/>
                    <a:gd name="T78" fmla="*/ 114 w 516"/>
                    <a:gd name="T79" fmla="*/ 216 h 558"/>
                    <a:gd name="T80" fmla="*/ 144 w 516"/>
                    <a:gd name="T81" fmla="*/ 180 h 558"/>
                    <a:gd name="T82" fmla="*/ 180 w 516"/>
                    <a:gd name="T83" fmla="*/ 186 h 558"/>
                    <a:gd name="T84" fmla="*/ 222 w 516"/>
                    <a:gd name="T85" fmla="*/ 198 h 558"/>
                    <a:gd name="T86" fmla="*/ 252 w 516"/>
                    <a:gd name="T87" fmla="*/ 174 h 558"/>
                    <a:gd name="T88" fmla="*/ 270 w 516"/>
                    <a:gd name="T89" fmla="*/ 150 h 558"/>
                    <a:gd name="T90" fmla="*/ 294 w 516"/>
                    <a:gd name="T91" fmla="*/ 144 h 558"/>
                    <a:gd name="T92" fmla="*/ 300 w 516"/>
                    <a:gd name="T93" fmla="*/ 114 h 558"/>
                    <a:gd name="T94" fmla="*/ 330 w 516"/>
                    <a:gd name="T95" fmla="*/ 102 h 558"/>
                    <a:gd name="T96" fmla="*/ 366 w 516"/>
                    <a:gd name="T97" fmla="*/ 90 h 558"/>
                    <a:gd name="T98" fmla="*/ 360 w 516"/>
                    <a:gd name="T99" fmla="*/ 60 h 558"/>
                    <a:gd name="T100" fmla="*/ 330 w 516"/>
                    <a:gd name="T101" fmla="*/ 24 h 558"/>
                    <a:gd name="T102" fmla="*/ 348 w 516"/>
                    <a:gd name="T103" fmla="*/ 0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16" h="558">
                      <a:moveTo>
                        <a:pt x="360" y="0"/>
                      </a:moveTo>
                      <a:lnTo>
                        <a:pt x="372" y="6"/>
                      </a:lnTo>
                      <a:lnTo>
                        <a:pt x="384" y="12"/>
                      </a:lnTo>
                      <a:lnTo>
                        <a:pt x="402" y="30"/>
                      </a:lnTo>
                      <a:lnTo>
                        <a:pt x="420" y="48"/>
                      </a:lnTo>
                      <a:lnTo>
                        <a:pt x="444" y="66"/>
                      </a:lnTo>
                      <a:lnTo>
                        <a:pt x="462" y="84"/>
                      </a:lnTo>
                      <a:lnTo>
                        <a:pt x="474" y="102"/>
                      </a:lnTo>
                      <a:lnTo>
                        <a:pt x="486" y="132"/>
                      </a:lnTo>
                      <a:lnTo>
                        <a:pt x="480" y="168"/>
                      </a:lnTo>
                      <a:lnTo>
                        <a:pt x="474" y="204"/>
                      </a:lnTo>
                      <a:lnTo>
                        <a:pt x="480" y="240"/>
                      </a:lnTo>
                      <a:lnTo>
                        <a:pt x="498" y="270"/>
                      </a:lnTo>
                      <a:lnTo>
                        <a:pt x="516" y="306"/>
                      </a:lnTo>
                      <a:lnTo>
                        <a:pt x="516" y="342"/>
                      </a:lnTo>
                      <a:lnTo>
                        <a:pt x="504" y="378"/>
                      </a:lnTo>
                      <a:lnTo>
                        <a:pt x="498" y="408"/>
                      </a:lnTo>
                      <a:lnTo>
                        <a:pt x="498" y="414"/>
                      </a:lnTo>
                      <a:lnTo>
                        <a:pt x="492" y="426"/>
                      </a:lnTo>
                      <a:lnTo>
                        <a:pt x="486" y="438"/>
                      </a:lnTo>
                      <a:lnTo>
                        <a:pt x="474" y="444"/>
                      </a:lnTo>
                      <a:lnTo>
                        <a:pt x="468" y="450"/>
                      </a:lnTo>
                      <a:lnTo>
                        <a:pt x="462" y="450"/>
                      </a:lnTo>
                      <a:lnTo>
                        <a:pt x="456" y="444"/>
                      </a:lnTo>
                      <a:lnTo>
                        <a:pt x="456" y="432"/>
                      </a:lnTo>
                      <a:lnTo>
                        <a:pt x="456" y="420"/>
                      </a:lnTo>
                      <a:lnTo>
                        <a:pt x="456" y="408"/>
                      </a:lnTo>
                      <a:lnTo>
                        <a:pt x="450" y="384"/>
                      </a:lnTo>
                      <a:lnTo>
                        <a:pt x="444" y="372"/>
                      </a:lnTo>
                      <a:lnTo>
                        <a:pt x="438" y="366"/>
                      </a:lnTo>
                      <a:lnTo>
                        <a:pt x="426" y="372"/>
                      </a:lnTo>
                      <a:lnTo>
                        <a:pt x="414" y="378"/>
                      </a:lnTo>
                      <a:lnTo>
                        <a:pt x="408" y="384"/>
                      </a:lnTo>
                      <a:lnTo>
                        <a:pt x="396" y="396"/>
                      </a:lnTo>
                      <a:lnTo>
                        <a:pt x="390" y="408"/>
                      </a:lnTo>
                      <a:lnTo>
                        <a:pt x="384" y="420"/>
                      </a:lnTo>
                      <a:lnTo>
                        <a:pt x="384" y="432"/>
                      </a:lnTo>
                      <a:lnTo>
                        <a:pt x="390" y="444"/>
                      </a:lnTo>
                      <a:lnTo>
                        <a:pt x="402" y="456"/>
                      </a:lnTo>
                      <a:lnTo>
                        <a:pt x="408" y="468"/>
                      </a:lnTo>
                      <a:lnTo>
                        <a:pt x="420" y="480"/>
                      </a:lnTo>
                      <a:lnTo>
                        <a:pt x="426" y="498"/>
                      </a:lnTo>
                      <a:lnTo>
                        <a:pt x="432" y="510"/>
                      </a:lnTo>
                      <a:lnTo>
                        <a:pt x="432" y="528"/>
                      </a:lnTo>
                      <a:lnTo>
                        <a:pt x="426" y="546"/>
                      </a:lnTo>
                      <a:lnTo>
                        <a:pt x="420" y="552"/>
                      </a:lnTo>
                      <a:lnTo>
                        <a:pt x="408" y="558"/>
                      </a:lnTo>
                      <a:lnTo>
                        <a:pt x="402" y="552"/>
                      </a:lnTo>
                      <a:lnTo>
                        <a:pt x="396" y="540"/>
                      </a:lnTo>
                      <a:lnTo>
                        <a:pt x="390" y="528"/>
                      </a:lnTo>
                      <a:lnTo>
                        <a:pt x="384" y="528"/>
                      </a:lnTo>
                      <a:lnTo>
                        <a:pt x="378" y="534"/>
                      </a:lnTo>
                      <a:lnTo>
                        <a:pt x="372" y="534"/>
                      </a:lnTo>
                      <a:lnTo>
                        <a:pt x="366" y="540"/>
                      </a:lnTo>
                      <a:lnTo>
                        <a:pt x="360" y="540"/>
                      </a:lnTo>
                      <a:lnTo>
                        <a:pt x="360" y="540"/>
                      </a:lnTo>
                      <a:lnTo>
                        <a:pt x="348" y="528"/>
                      </a:lnTo>
                      <a:lnTo>
                        <a:pt x="330" y="522"/>
                      </a:lnTo>
                      <a:lnTo>
                        <a:pt x="312" y="516"/>
                      </a:lnTo>
                      <a:lnTo>
                        <a:pt x="288" y="504"/>
                      </a:lnTo>
                      <a:lnTo>
                        <a:pt x="264" y="492"/>
                      </a:lnTo>
                      <a:lnTo>
                        <a:pt x="246" y="480"/>
                      </a:lnTo>
                      <a:lnTo>
                        <a:pt x="234" y="462"/>
                      </a:lnTo>
                      <a:lnTo>
                        <a:pt x="228" y="444"/>
                      </a:lnTo>
                      <a:lnTo>
                        <a:pt x="222" y="426"/>
                      </a:lnTo>
                      <a:lnTo>
                        <a:pt x="222" y="408"/>
                      </a:lnTo>
                      <a:lnTo>
                        <a:pt x="228" y="396"/>
                      </a:lnTo>
                      <a:lnTo>
                        <a:pt x="234" y="384"/>
                      </a:lnTo>
                      <a:lnTo>
                        <a:pt x="240" y="378"/>
                      </a:lnTo>
                      <a:lnTo>
                        <a:pt x="240" y="372"/>
                      </a:lnTo>
                      <a:lnTo>
                        <a:pt x="234" y="366"/>
                      </a:lnTo>
                      <a:lnTo>
                        <a:pt x="222" y="354"/>
                      </a:lnTo>
                      <a:lnTo>
                        <a:pt x="216" y="348"/>
                      </a:lnTo>
                      <a:lnTo>
                        <a:pt x="216" y="330"/>
                      </a:lnTo>
                      <a:lnTo>
                        <a:pt x="216" y="318"/>
                      </a:lnTo>
                      <a:lnTo>
                        <a:pt x="216" y="312"/>
                      </a:lnTo>
                      <a:lnTo>
                        <a:pt x="210" y="306"/>
                      </a:lnTo>
                      <a:lnTo>
                        <a:pt x="192" y="306"/>
                      </a:lnTo>
                      <a:lnTo>
                        <a:pt x="180" y="306"/>
                      </a:lnTo>
                      <a:lnTo>
                        <a:pt x="168" y="306"/>
                      </a:lnTo>
                      <a:lnTo>
                        <a:pt x="168" y="306"/>
                      </a:lnTo>
                      <a:lnTo>
                        <a:pt x="162" y="312"/>
                      </a:lnTo>
                      <a:lnTo>
                        <a:pt x="156" y="318"/>
                      </a:lnTo>
                      <a:lnTo>
                        <a:pt x="150" y="330"/>
                      </a:lnTo>
                      <a:lnTo>
                        <a:pt x="144" y="342"/>
                      </a:lnTo>
                      <a:lnTo>
                        <a:pt x="144" y="354"/>
                      </a:lnTo>
                      <a:lnTo>
                        <a:pt x="138" y="360"/>
                      </a:lnTo>
                      <a:lnTo>
                        <a:pt x="132" y="366"/>
                      </a:lnTo>
                      <a:lnTo>
                        <a:pt x="126" y="360"/>
                      </a:lnTo>
                      <a:lnTo>
                        <a:pt x="114" y="360"/>
                      </a:lnTo>
                      <a:lnTo>
                        <a:pt x="102" y="360"/>
                      </a:lnTo>
                      <a:lnTo>
                        <a:pt x="96" y="360"/>
                      </a:lnTo>
                      <a:lnTo>
                        <a:pt x="84" y="360"/>
                      </a:lnTo>
                      <a:lnTo>
                        <a:pt x="78" y="354"/>
                      </a:lnTo>
                      <a:lnTo>
                        <a:pt x="72" y="342"/>
                      </a:lnTo>
                      <a:lnTo>
                        <a:pt x="60" y="336"/>
                      </a:lnTo>
                      <a:lnTo>
                        <a:pt x="54" y="336"/>
                      </a:lnTo>
                      <a:lnTo>
                        <a:pt x="48" y="342"/>
                      </a:lnTo>
                      <a:lnTo>
                        <a:pt x="36" y="348"/>
                      </a:lnTo>
                      <a:lnTo>
                        <a:pt x="24" y="360"/>
                      </a:lnTo>
                      <a:lnTo>
                        <a:pt x="12" y="372"/>
                      </a:lnTo>
                      <a:lnTo>
                        <a:pt x="6" y="372"/>
                      </a:lnTo>
                      <a:lnTo>
                        <a:pt x="0" y="366"/>
                      </a:lnTo>
                      <a:lnTo>
                        <a:pt x="0" y="360"/>
                      </a:lnTo>
                      <a:lnTo>
                        <a:pt x="0" y="354"/>
                      </a:lnTo>
                      <a:lnTo>
                        <a:pt x="0" y="342"/>
                      </a:lnTo>
                      <a:lnTo>
                        <a:pt x="0" y="330"/>
                      </a:lnTo>
                      <a:lnTo>
                        <a:pt x="0" y="318"/>
                      </a:lnTo>
                      <a:lnTo>
                        <a:pt x="0" y="306"/>
                      </a:lnTo>
                      <a:lnTo>
                        <a:pt x="6" y="288"/>
                      </a:lnTo>
                      <a:lnTo>
                        <a:pt x="12" y="282"/>
                      </a:lnTo>
                      <a:lnTo>
                        <a:pt x="24" y="270"/>
                      </a:lnTo>
                      <a:lnTo>
                        <a:pt x="42" y="264"/>
                      </a:lnTo>
                      <a:lnTo>
                        <a:pt x="54" y="264"/>
                      </a:lnTo>
                      <a:lnTo>
                        <a:pt x="60" y="264"/>
                      </a:lnTo>
                      <a:lnTo>
                        <a:pt x="72" y="264"/>
                      </a:lnTo>
                      <a:lnTo>
                        <a:pt x="84" y="258"/>
                      </a:lnTo>
                      <a:lnTo>
                        <a:pt x="90" y="246"/>
                      </a:lnTo>
                      <a:lnTo>
                        <a:pt x="102" y="234"/>
                      </a:lnTo>
                      <a:lnTo>
                        <a:pt x="114" y="216"/>
                      </a:lnTo>
                      <a:lnTo>
                        <a:pt x="126" y="204"/>
                      </a:lnTo>
                      <a:lnTo>
                        <a:pt x="132" y="186"/>
                      </a:lnTo>
                      <a:lnTo>
                        <a:pt x="144" y="180"/>
                      </a:lnTo>
                      <a:lnTo>
                        <a:pt x="156" y="174"/>
                      </a:lnTo>
                      <a:lnTo>
                        <a:pt x="168" y="180"/>
                      </a:lnTo>
                      <a:lnTo>
                        <a:pt x="180" y="186"/>
                      </a:lnTo>
                      <a:lnTo>
                        <a:pt x="198" y="192"/>
                      </a:lnTo>
                      <a:lnTo>
                        <a:pt x="210" y="198"/>
                      </a:lnTo>
                      <a:lnTo>
                        <a:pt x="222" y="198"/>
                      </a:lnTo>
                      <a:lnTo>
                        <a:pt x="240" y="192"/>
                      </a:lnTo>
                      <a:lnTo>
                        <a:pt x="246" y="180"/>
                      </a:lnTo>
                      <a:lnTo>
                        <a:pt x="252" y="174"/>
                      </a:lnTo>
                      <a:lnTo>
                        <a:pt x="258" y="162"/>
                      </a:lnTo>
                      <a:lnTo>
                        <a:pt x="264" y="156"/>
                      </a:lnTo>
                      <a:lnTo>
                        <a:pt x="270" y="150"/>
                      </a:lnTo>
                      <a:lnTo>
                        <a:pt x="282" y="150"/>
                      </a:lnTo>
                      <a:lnTo>
                        <a:pt x="288" y="150"/>
                      </a:lnTo>
                      <a:lnTo>
                        <a:pt x="294" y="144"/>
                      </a:lnTo>
                      <a:lnTo>
                        <a:pt x="300" y="132"/>
                      </a:lnTo>
                      <a:lnTo>
                        <a:pt x="300" y="120"/>
                      </a:lnTo>
                      <a:lnTo>
                        <a:pt x="300" y="114"/>
                      </a:lnTo>
                      <a:lnTo>
                        <a:pt x="312" y="108"/>
                      </a:lnTo>
                      <a:lnTo>
                        <a:pt x="318" y="102"/>
                      </a:lnTo>
                      <a:lnTo>
                        <a:pt x="330" y="102"/>
                      </a:lnTo>
                      <a:lnTo>
                        <a:pt x="348" y="96"/>
                      </a:lnTo>
                      <a:lnTo>
                        <a:pt x="354" y="96"/>
                      </a:lnTo>
                      <a:lnTo>
                        <a:pt x="366" y="90"/>
                      </a:lnTo>
                      <a:lnTo>
                        <a:pt x="366" y="84"/>
                      </a:lnTo>
                      <a:lnTo>
                        <a:pt x="366" y="72"/>
                      </a:lnTo>
                      <a:lnTo>
                        <a:pt x="360" y="60"/>
                      </a:lnTo>
                      <a:lnTo>
                        <a:pt x="348" y="48"/>
                      </a:lnTo>
                      <a:lnTo>
                        <a:pt x="336" y="36"/>
                      </a:lnTo>
                      <a:lnTo>
                        <a:pt x="330" y="24"/>
                      </a:lnTo>
                      <a:lnTo>
                        <a:pt x="330" y="18"/>
                      </a:lnTo>
                      <a:lnTo>
                        <a:pt x="342" y="6"/>
                      </a:lnTo>
                      <a:lnTo>
                        <a:pt x="348" y="0"/>
                      </a:lnTo>
                      <a:lnTo>
                        <a:pt x="36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4" name="Freeform 397">
                  <a:extLst>
                    <a:ext uri="{FF2B5EF4-FFF2-40B4-BE49-F238E27FC236}">
                      <a16:creationId xmlns:a16="http://schemas.microsoft.com/office/drawing/2014/main" id="{21D57F9D-9FA4-4CA3-8585-CCBD1D3B43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19" y="3828"/>
                  <a:ext cx="396" cy="186"/>
                </a:xfrm>
                <a:custGeom>
                  <a:avLst/>
                  <a:gdLst>
                    <a:gd name="T0" fmla="*/ 228 w 396"/>
                    <a:gd name="T1" fmla="*/ 6 h 186"/>
                    <a:gd name="T2" fmla="*/ 294 w 396"/>
                    <a:gd name="T3" fmla="*/ 42 h 186"/>
                    <a:gd name="T4" fmla="*/ 336 w 396"/>
                    <a:gd name="T5" fmla="*/ 72 h 186"/>
                    <a:gd name="T6" fmla="*/ 366 w 396"/>
                    <a:gd name="T7" fmla="*/ 114 h 186"/>
                    <a:gd name="T8" fmla="*/ 384 w 396"/>
                    <a:gd name="T9" fmla="*/ 138 h 186"/>
                    <a:gd name="T10" fmla="*/ 390 w 396"/>
                    <a:gd name="T11" fmla="*/ 156 h 186"/>
                    <a:gd name="T12" fmla="*/ 396 w 396"/>
                    <a:gd name="T13" fmla="*/ 174 h 186"/>
                    <a:gd name="T14" fmla="*/ 390 w 396"/>
                    <a:gd name="T15" fmla="*/ 186 h 186"/>
                    <a:gd name="T16" fmla="*/ 372 w 396"/>
                    <a:gd name="T17" fmla="*/ 174 h 186"/>
                    <a:gd name="T18" fmla="*/ 342 w 396"/>
                    <a:gd name="T19" fmla="*/ 150 h 186"/>
                    <a:gd name="T20" fmla="*/ 318 w 396"/>
                    <a:gd name="T21" fmla="*/ 132 h 186"/>
                    <a:gd name="T22" fmla="*/ 300 w 396"/>
                    <a:gd name="T23" fmla="*/ 126 h 186"/>
                    <a:gd name="T24" fmla="*/ 288 w 396"/>
                    <a:gd name="T25" fmla="*/ 132 h 186"/>
                    <a:gd name="T26" fmla="*/ 270 w 396"/>
                    <a:gd name="T27" fmla="*/ 132 h 186"/>
                    <a:gd name="T28" fmla="*/ 252 w 396"/>
                    <a:gd name="T29" fmla="*/ 120 h 186"/>
                    <a:gd name="T30" fmla="*/ 246 w 396"/>
                    <a:gd name="T31" fmla="*/ 102 h 186"/>
                    <a:gd name="T32" fmla="*/ 234 w 396"/>
                    <a:gd name="T33" fmla="*/ 78 h 186"/>
                    <a:gd name="T34" fmla="*/ 210 w 396"/>
                    <a:gd name="T35" fmla="*/ 78 h 186"/>
                    <a:gd name="T36" fmla="*/ 192 w 396"/>
                    <a:gd name="T37" fmla="*/ 96 h 186"/>
                    <a:gd name="T38" fmla="*/ 162 w 396"/>
                    <a:gd name="T39" fmla="*/ 108 h 186"/>
                    <a:gd name="T40" fmla="*/ 138 w 396"/>
                    <a:gd name="T41" fmla="*/ 96 h 186"/>
                    <a:gd name="T42" fmla="*/ 120 w 396"/>
                    <a:gd name="T43" fmla="*/ 90 h 186"/>
                    <a:gd name="T44" fmla="*/ 102 w 396"/>
                    <a:gd name="T45" fmla="*/ 108 h 186"/>
                    <a:gd name="T46" fmla="*/ 90 w 396"/>
                    <a:gd name="T47" fmla="*/ 126 h 186"/>
                    <a:gd name="T48" fmla="*/ 66 w 396"/>
                    <a:gd name="T49" fmla="*/ 126 h 186"/>
                    <a:gd name="T50" fmla="*/ 48 w 396"/>
                    <a:gd name="T51" fmla="*/ 114 h 186"/>
                    <a:gd name="T52" fmla="*/ 48 w 396"/>
                    <a:gd name="T53" fmla="*/ 102 h 186"/>
                    <a:gd name="T54" fmla="*/ 42 w 396"/>
                    <a:gd name="T55" fmla="*/ 96 h 186"/>
                    <a:gd name="T56" fmla="*/ 30 w 396"/>
                    <a:gd name="T57" fmla="*/ 96 h 186"/>
                    <a:gd name="T58" fmla="*/ 18 w 396"/>
                    <a:gd name="T59" fmla="*/ 108 h 186"/>
                    <a:gd name="T60" fmla="*/ 6 w 396"/>
                    <a:gd name="T61" fmla="*/ 108 h 186"/>
                    <a:gd name="T62" fmla="*/ 0 w 396"/>
                    <a:gd name="T63" fmla="*/ 102 h 186"/>
                    <a:gd name="T64" fmla="*/ 12 w 396"/>
                    <a:gd name="T65" fmla="*/ 72 h 186"/>
                    <a:gd name="T66" fmla="*/ 36 w 396"/>
                    <a:gd name="T67" fmla="*/ 48 h 186"/>
                    <a:gd name="T68" fmla="*/ 66 w 396"/>
                    <a:gd name="T69" fmla="*/ 36 h 186"/>
                    <a:gd name="T70" fmla="*/ 84 w 396"/>
                    <a:gd name="T71" fmla="*/ 24 h 186"/>
                    <a:gd name="T72" fmla="*/ 108 w 396"/>
                    <a:gd name="T73" fmla="*/ 18 h 186"/>
                    <a:gd name="T74" fmla="*/ 126 w 396"/>
                    <a:gd name="T75" fmla="*/ 6 h 186"/>
                    <a:gd name="T76" fmla="*/ 138 w 396"/>
                    <a:gd name="T77" fmla="*/ 6 h 186"/>
                    <a:gd name="T78" fmla="*/ 150 w 396"/>
                    <a:gd name="T79" fmla="*/ 18 h 186"/>
                    <a:gd name="T80" fmla="*/ 168 w 396"/>
                    <a:gd name="T81" fmla="*/ 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396" h="186">
                      <a:moveTo>
                        <a:pt x="192" y="0"/>
                      </a:moveTo>
                      <a:lnTo>
                        <a:pt x="228" y="6"/>
                      </a:lnTo>
                      <a:lnTo>
                        <a:pt x="264" y="24"/>
                      </a:lnTo>
                      <a:lnTo>
                        <a:pt x="294" y="42"/>
                      </a:lnTo>
                      <a:lnTo>
                        <a:pt x="312" y="54"/>
                      </a:lnTo>
                      <a:lnTo>
                        <a:pt x="336" y="72"/>
                      </a:lnTo>
                      <a:lnTo>
                        <a:pt x="354" y="90"/>
                      </a:lnTo>
                      <a:lnTo>
                        <a:pt x="366" y="114"/>
                      </a:lnTo>
                      <a:lnTo>
                        <a:pt x="378" y="126"/>
                      </a:lnTo>
                      <a:lnTo>
                        <a:pt x="384" y="138"/>
                      </a:lnTo>
                      <a:lnTo>
                        <a:pt x="390" y="144"/>
                      </a:lnTo>
                      <a:lnTo>
                        <a:pt x="390" y="156"/>
                      </a:lnTo>
                      <a:lnTo>
                        <a:pt x="396" y="168"/>
                      </a:lnTo>
                      <a:lnTo>
                        <a:pt x="396" y="174"/>
                      </a:lnTo>
                      <a:lnTo>
                        <a:pt x="390" y="180"/>
                      </a:lnTo>
                      <a:lnTo>
                        <a:pt x="390" y="186"/>
                      </a:lnTo>
                      <a:lnTo>
                        <a:pt x="384" y="180"/>
                      </a:lnTo>
                      <a:lnTo>
                        <a:pt x="372" y="174"/>
                      </a:lnTo>
                      <a:lnTo>
                        <a:pt x="360" y="162"/>
                      </a:lnTo>
                      <a:lnTo>
                        <a:pt x="342" y="150"/>
                      </a:lnTo>
                      <a:lnTo>
                        <a:pt x="330" y="138"/>
                      </a:lnTo>
                      <a:lnTo>
                        <a:pt x="318" y="132"/>
                      </a:lnTo>
                      <a:lnTo>
                        <a:pt x="306" y="126"/>
                      </a:lnTo>
                      <a:lnTo>
                        <a:pt x="300" y="126"/>
                      </a:lnTo>
                      <a:lnTo>
                        <a:pt x="294" y="126"/>
                      </a:lnTo>
                      <a:lnTo>
                        <a:pt x="288" y="132"/>
                      </a:lnTo>
                      <a:lnTo>
                        <a:pt x="282" y="132"/>
                      </a:lnTo>
                      <a:lnTo>
                        <a:pt x="270" y="132"/>
                      </a:lnTo>
                      <a:lnTo>
                        <a:pt x="258" y="126"/>
                      </a:lnTo>
                      <a:lnTo>
                        <a:pt x="252" y="120"/>
                      </a:lnTo>
                      <a:lnTo>
                        <a:pt x="252" y="114"/>
                      </a:lnTo>
                      <a:lnTo>
                        <a:pt x="246" y="102"/>
                      </a:lnTo>
                      <a:lnTo>
                        <a:pt x="246" y="84"/>
                      </a:lnTo>
                      <a:lnTo>
                        <a:pt x="234" y="78"/>
                      </a:lnTo>
                      <a:lnTo>
                        <a:pt x="222" y="72"/>
                      </a:lnTo>
                      <a:lnTo>
                        <a:pt x="210" y="78"/>
                      </a:lnTo>
                      <a:lnTo>
                        <a:pt x="204" y="84"/>
                      </a:lnTo>
                      <a:lnTo>
                        <a:pt x="192" y="96"/>
                      </a:lnTo>
                      <a:lnTo>
                        <a:pt x="174" y="102"/>
                      </a:lnTo>
                      <a:lnTo>
                        <a:pt x="162" y="108"/>
                      </a:lnTo>
                      <a:lnTo>
                        <a:pt x="150" y="102"/>
                      </a:lnTo>
                      <a:lnTo>
                        <a:pt x="138" y="96"/>
                      </a:lnTo>
                      <a:lnTo>
                        <a:pt x="126" y="90"/>
                      </a:lnTo>
                      <a:lnTo>
                        <a:pt x="120" y="90"/>
                      </a:lnTo>
                      <a:lnTo>
                        <a:pt x="108" y="96"/>
                      </a:lnTo>
                      <a:lnTo>
                        <a:pt x="102" y="108"/>
                      </a:lnTo>
                      <a:lnTo>
                        <a:pt x="96" y="120"/>
                      </a:lnTo>
                      <a:lnTo>
                        <a:pt x="90" y="126"/>
                      </a:lnTo>
                      <a:lnTo>
                        <a:pt x="78" y="126"/>
                      </a:lnTo>
                      <a:lnTo>
                        <a:pt x="66" y="126"/>
                      </a:lnTo>
                      <a:lnTo>
                        <a:pt x="54" y="120"/>
                      </a:lnTo>
                      <a:lnTo>
                        <a:pt x="48" y="114"/>
                      </a:lnTo>
                      <a:lnTo>
                        <a:pt x="48" y="108"/>
                      </a:lnTo>
                      <a:lnTo>
                        <a:pt x="48" y="102"/>
                      </a:lnTo>
                      <a:lnTo>
                        <a:pt x="48" y="96"/>
                      </a:lnTo>
                      <a:lnTo>
                        <a:pt x="42" y="96"/>
                      </a:lnTo>
                      <a:lnTo>
                        <a:pt x="36" y="96"/>
                      </a:lnTo>
                      <a:lnTo>
                        <a:pt x="30" y="96"/>
                      </a:lnTo>
                      <a:lnTo>
                        <a:pt x="24" y="102"/>
                      </a:lnTo>
                      <a:lnTo>
                        <a:pt x="18" y="108"/>
                      </a:lnTo>
                      <a:lnTo>
                        <a:pt x="12" y="108"/>
                      </a:lnTo>
                      <a:lnTo>
                        <a:pt x="6" y="108"/>
                      </a:lnTo>
                      <a:lnTo>
                        <a:pt x="0" y="108"/>
                      </a:lnTo>
                      <a:lnTo>
                        <a:pt x="0" y="102"/>
                      </a:lnTo>
                      <a:lnTo>
                        <a:pt x="6" y="90"/>
                      </a:lnTo>
                      <a:lnTo>
                        <a:pt x="12" y="72"/>
                      </a:lnTo>
                      <a:lnTo>
                        <a:pt x="24" y="60"/>
                      </a:lnTo>
                      <a:lnTo>
                        <a:pt x="36" y="48"/>
                      </a:lnTo>
                      <a:lnTo>
                        <a:pt x="54" y="42"/>
                      </a:lnTo>
                      <a:lnTo>
                        <a:pt x="66" y="36"/>
                      </a:lnTo>
                      <a:lnTo>
                        <a:pt x="78" y="30"/>
                      </a:lnTo>
                      <a:lnTo>
                        <a:pt x="84" y="24"/>
                      </a:lnTo>
                      <a:lnTo>
                        <a:pt x="96" y="18"/>
                      </a:lnTo>
                      <a:lnTo>
                        <a:pt x="108" y="18"/>
                      </a:lnTo>
                      <a:lnTo>
                        <a:pt x="120" y="18"/>
                      </a:lnTo>
                      <a:lnTo>
                        <a:pt x="126" y="6"/>
                      </a:lnTo>
                      <a:lnTo>
                        <a:pt x="132" y="6"/>
                      </a:lnTo>
                      <a:lnTo>
                        <a:pt x="138" y="6"/>
                      </a:lnTo>
                      <a:lnTo>
                        <a:pt x="144" y="12"/>
                      </a:lnTo>
                      <a:lnTo>
                        <a:pt x="150" y="18"/>
                      </a:lnTo>
                      <a:lnTo>
                        <a:pt x="156" y="18"/>
                      </a:lnTo>
                      <a:lnTo>
                        <a:pt x="168" y="6"/>
                      </a:lnTo>
                      <a:lnTo>
                        <a:pt x="19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5" name="Freeform 398">
                  <a:extLst>
                    <a:ext uri="{FF2B5EF4-FFF2-40B4-BE49-F238E27FC236}">
                      <a16:creationId xmlns:a16="http://schemas.microsoft.com/office/drawing/2014/main" id="{E57971DD-C84A-4B7A-A50D-E113A3F5F3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63" y="3906"/>
                  <a:ext cx="96" cy="96"/>
                </a:xfrm>
                <a:custGeom>
                  <a:avLst/>
                  <a:gdLst>
                    <a:gd name="T0" fmla="*/ 48 w 96"/>
                    <a:gd name="T1" fmla="*/ 0 h 96"/>
                    <a:gd name="T2" fmla="*/ 66 w 96"/>
                    <a:gd name="T3" fmla="*/ 6 h 96"/>
                    <a:gd name="T4" fmla="*/ 78 w 96"/>
                    <a:gd name="T5" fmla="*/ 12 h 96"/>
                    <a:gd name="T6" fmla="*/ 90 w 96"/>
                    <a:gd name="T7" fmla="*/ 24 h 96"/>
                    <a:gd name="T8" fmla="*/ 96 w 96"/>
                    <a:gd name="T9" fmla="*/ 42 h 96"/>
                    <a:gd name="T10" fmla="*/ 96 w 96"/>
                    <a:gd name="T11" fmla="*/ 54 h 96"/>
                    <a:gd name="T12" fmla="*/ 90 w 96"/>
                    <a:gd name="T13" fmla="*/ 72 h 96"/>
                    <a:gd name="T14" fmla="*/ 78 w 96"/>
                    <a:gd name="T15" fmla="*/ 84 h 96"/>
                    <a:gd name="T16" fmla="*/ 66 w 96"/>
                    <a:gd name="T17" fmla="*/ 96 h 96"/>
                    <a:gd name="T18" fmla="*/ 48 w 96"/>
                    <a:gd name="T19" fmla="*/ 96 h 96"/>
                    <a:gd name="T20" fmla="*/ 36 w 96"/>
                    <a:gd name="T21" fmla="*/ 96 h 96"/>
                    <a:gd name="T22" fmla="*/ 18 w 96"/>
                    <a:gd name="T23" fmla="*/ 90 h 96"/>
                    <a:gd name="T24" fmla="*/ 12 w 96"/>
                    <a:gd name="T25" fmla="*/ 78 h 96"/>
                    <a:gd name="T26" fmla="*/ 6 w 96"/>
                    <a:gd name="T27" fmla="*/ 66 h 96"/>
                    <a:gd name="T28" fmla="*/ 0 w 96"/>
                    <a:gd name="T29" fmla="*/ 54 h 96"/>
                    <a:gd name="T30" fmla="*/ 0 w 96"/>
                    <a:gd name="T31" fmla="*/ 42 h 96"/>
                    <a:gd name="T32" fmla="*/ 0 w 96"/>
                    <a:gd name="T33" fmla="*/ 30 h 96"/>
                    <a:gd name="T34" fmla="*/ 12 w 96"/>
                    <a:gd name="T35" fmla="*/ 24 h 96"/>
                    <a:gd name="T36" fmla="*/ 24 w 96"/>
                    <a:gd name="T37" fmla="*/ 12 h 96"/>
                    <a:gd name="T38" fmla="*/ 36 w 96"/>
                    <a:gd name="T39" fmla="*/ 6 h 96"/>
                    <a:gd name="T40" fmla="*/ 48 w 96"/>
                    <a:gd name="T41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6" h="96">
                      <a:moveTo>
                        <a:pt x="48" y="0"/>
                      </a:moveTo>
                      <a:lnTo>
                        <a:pt x="66" y="6"/>
                      </a:lnTo>
                      <a:lnTo>
                        <a:pt x="78" y="12"/>
                      </a:lnTo>
                      <a:lnTo>
                        <a:pt x="90" y="24"/>
                      </a:lnTo>
                      <a:lnTo>
                        <a:pt x="96" y="42"/>
                      </a:lnTo>
                      <a:lnTo>
                        <a:pt x="96" y="54"/>
                      </a:lnTo>
                      <a:lnTo>
                        <a:pt x="90" y="72"/>
                      </a:lnTo>
                      <a:lnTo>
                        <a:pt x="78" y="84"/>
                      </a:lnTo>
                      <a:lnTo>
                        <a:pt x="66" y="96"/>
                      </a:lnTo>
                      <a:lnTo>
                        <a:pt x="48" y="96"/>
                      </a:lnTo>
                      <a:lnTo>
                        <a:pt x="36" y="96"/>
                      </a:lnTo>
                      <a:lnTo>
                        <a:pt x="18" y="90"/>
                      </a:lnTo>
                      <a:lnTo>
                        <a:pt x="12" y="78"/>
                      </a:lnTo>
                      <a:lnTo>
                        <a:pt x="6" y="66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12" y="24"/>
                      </a:lnTo>
                      <a:lnTo>
                        <a:pt x="24" y="12"/>
                      </a:lnTo>
                      <a:lnTo>
                        <a:pt x="36" y="6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6" name="Freeform 399">
                  <a:extLst>
                    <a:ext uri="{FF2B5EF4-FFF2-40B4-BE49-F238E27FC236}">
                      <a16:creationId xmlns:a16="http://schemas.microsoft.com/office/drawing/2014/main" id="{D966459C-B3EA-449E-8F3B-61B0C71CEC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57" y="5142"/>
                  <a:ext cx="4494" cy="4350"/>
                </a:xfrm>
                <a:custGeom>
                  <a:avLst/>
                  <a:gdLst>
                    <a:gd name="T0" fmla="*/ 2796 w 4494"/>
                    <a:gd name="T1" fmla="*/ 84 h 4350"/>
                    <a:gd name="T2" fmla="*/ 2994 w 4494"/>
                    <a:gd name="T3" fmla="*/ 168 h 4350"/>
                    <a:gd name="T4" fmla="*/ 3168 w 4494"/>
                    <a:gd name="T5" fmla="*/ 174 h 4350"/>
                    <a:gd name="T6" fmla="*/ 3108 w 4494"/>
                    <a:gd name="T7" fmla="*/ 348 h 4350"/>
                    <a:gd name="T8" fmla="*/ 3024 w 4494"/>
                    <a:gd name="T9" fmla="*/ 462 h 4350"/>
                    <a:gd name="T10" fmla="*/ 3036 w 4494"/>
                    <a:gd name="T11" fmla="*/ 696 h 4350"/>
                    <a:gd name="T12" fmla="*/ 3474 w 4494"/>
                    <a:gd name="T13" fmla="*/ 978 h 4350"/>
                    <a:gd name="T14" fmla="*/ 3672 w 4494"/>
                    <a:gd name="T15" fmla="*/ 342 h 4350"/>
                    <a:gd name="T16" fmla="*/ 3798 w 4494"/>
                    <a:gd name="T17" fmla="*/ 48 h 4350"/>
                    <a:gd name="T18" fmla="*/ 3870 w 4494"/>
                    <a:gd name="T19" fmla="*/ 174 h 4350"/>
                    <a:gd name="T20" fmla="*/ 3912 w 4494"/>
                    <a:gd name="T21" fmla="*/ 546 h 4350"/>
                    <a:gd name="T22" fmla="*/ 4038 w 4494"/>
                    <a:gd name="T23" fmla="*/ 774 h 4350"/>
                    <a:gd name="T24" fmla="*/ 4086 w 4494"/>
                    <a:gd name="T25" fmla="*/ 1332 h 4350"/>
                    <a:gd name="T26" fmla="*/ 4278 w 4494"/>
                    <a:gd name="T27" fmla="*/ 1644 h 4350"/>
                    <a:gd name="T28" fmla="*/ 4284 w 4494"/>
                    <a:gd name="T29" fmla="*/ 1818 h 4350"/>
                    <a:gd name="T30" fmla="*/ 4392 w 4494"/>
                    <a:gd name="T31" fmla="*/ 1914 h 4350"/>
                    <a:gd name="T32" fmla="*/ 4368 w 4494"/>
                    <a:gd name="T33" fmla="*/ 2028 h 4350"/>
                    <a:gd name="T34" fmla="*/ 4452 w 4494"/>
                    <a:gd name="T35" fmla="*/ 2226 h 4350"/>
                    <a:gd name="T36" fmla="*/ 4404 w 4494"/>
                    <a:gd name="T37" fmla="*/ 2874 h 4350"/>
                    <a:gd name="T38" fmla="*/ 3960 w 4494"/>
                    <a:gd name="T39" fmla="*/ 3492 h 4350"/>
                    <a:gd name="T40" fmla="*/ 3648 w 4494"/>
                    <a:gd name="T41" fmla="*/ 3906 h 4350"/>
                    <a:gd name="T42" fmla="*/ 3336 w 4494"/>
                    <a:gd name="T43" fmla="*/ 4182 h 4350"/>
                    <a:gd name="T44" fmla="*/ 3018 w 4494"/>
                    <a:gd name="T45" fmla="*/ 4338 h 4350"/>
                    <a:gd name="T46" fmla="*/ 2952 w 4494"/>
                    <a:gd name="T47" fmla="*/ 4206 h 4350"/>
                    <a:gd name="T48" fmla="*/ 2466 w 4494"/>
                    <a:gd name="T49" fmla="*/ 4056 h 4350"/>
                    <a:gd name="T50" fmla="*/ 2478 w 4494"/>
                    <a:gd name="T51" fmla="*/ 3660 h 4350"/>
                    <a:gd name="T52" fmla="*/ 2454 w 4494"/>
                    <a:gd name="T53" fmla="*/ 3450 h 4350"/>
                    <a:gd name="T54" fmla="*/ 2250 w 4494"/>
                    <a:gd name="T55" fmla="*/ 3570 h 4350"/>
                    <a:gd name="T56" fmla="*/ 2478 w 4494"/>
                    <a:gd name="T57" fmla="*/ 3300 h 4350"/>
                    <a:gd name="T58" fmla="*/ 2460 w 4494"/>
                    <a:gd name="T59" fmla="*/ 3234 h 4350"/>
                    <a:gd name="T60" fmla="*/ 2286 w 4494"/>
                    <a:gd name="T61" fmla="*/ 3390 h 4350"/>
                    <a:gd name="T62" fmla="*/ 2154 w 4494"/>
                    <a:gd name="T63" fmla="*/ 3498 h 4350"/>
                    <a:gd name="T64" fmla="*/ 2142 w 4494"/>
                    <a:gd name="T65" fmla="*/ 3312 h 4350"/>
                    <a:gd name="T66" fmla="*/ 2118 w 4494"/>
                    <a:gd name="T67" fmla="*/ 3126 h 4350"/>
                    <a:gd name="T68" fmla="*/ 1998 w 4494"/>
                    <a:gd name="T69" fmla="*/ 3012 h 4350"/>
                    <a:gd name="T70" fmla="*/ 1512 w 4494"/>
                    <a:gd name="T71" fmla="*/ 2964 h 4350"/>
                    <a:gd name="T72" fmla="*/ 966 w 4494"/>
                    <a:gd name="T73" fmla="*/ 3144 h 4350"/>
                    <a:gd name="T74" fmla="*/ 600 w 4494"/>
                    <a:gd name="T75" fmla="*/ 3168 h 4350"/>
                    <a:gd name="T76" fmla="*/ 366 w 4494"/>
                    <a:gd name="T77" fmla="*/ 3222 h 4350"/>
                    <a:gd name="T78" fmla="*/ 18 w 4494"/>
                    <a:gd name="T79" fmla="*/ 3114 h 4350"/>
                    <a:gd name="T80" fmla="*/ 150 w 4494"/>
                    <a:gd name="T81" fmla="*/ 2940 h 4350"/>
                    <a:gd name="T82" fmla="*/ 192 w 4494"/>
                    <a:gd name="T83" fmla="*/ 2460 h 4350"/>
                    <a:gd name="T84" fmla="*/ 186 w 4494"/>
                    <a:gd name="T85" fmla="*/ 2028 h 4350"/>
                    <a:gd name="T86" fmla="*/ 204 w 4494"/>
                    <a:gd name="T87" fmla="*/ 1872 h 4350"/>
                    <a:gd name="T88" fmla="*/ 270 w 4494"/>
                    <a:gd name="T89" fmla="*/ 1872 h 4350"/>
                    <a:gd name="T90" fmla="*/ 396 w 4494"/>
                    <a:gd name="T91" fmla="*/ 1332 h 4350"/>
                    <a:gd name="T92" fmla="*/ 474 w 4494"/>
                    <a:gd name="T93" fmla="*/ 1332 h 4350"/>
                    <a:gd name="T94" fmla="*/ 768 w 4494"/>
                    <a:gd name="T95" fmla="*/ 1182 h 4350"/>
                    <a:gd name="T96" fmla="*/ 1344 w 4494"/>
                    <a:gd name="T97" fmla="*/ 978 h 4350"/>
                    <a:gd name="T98" fmla="*/ 1440 w 4494"/>
                    <a:gd name="T99" fmla="*/ 744 h 4350"/>
                    <a:gd name="T100" fmla="*/ 1572 w 4494"/>
                    <a:gd name="T101" fmla="*/ 876 h 4350"/>
                    <a:gd name="T102" fmla="*/ 1644 w 4494"/>
                    <a:gd name="T103" fmla="*/ 660 h 4350"/>
                    <a:gd name="T104" fmla="*/ 1740 w 4494"/>
                    <a:gd name="T105" fmla="*/ 534 h 4350"/>
                    <a:gd name="T106" fmla="*/ 1860 w 4494"/>
                    <a:gd name="T107" fmla="*/ 438 h 4350"/>
                    <a:gd name="T108" fmla="*/ 1938 w 4494"/>
                    <a:gd name="T109" fmla="*/ 378 h 4350"/>
                    <a:gd name="T110" fmla="*/ 2022 w 4494"/>
                    <a:gd name="T111" fmla="*/ 306 h 4350"/>
                    <a:gd name="T112" fmla="*/ 2136 w 4494"/>
                    <a:gd name="T113" fmla="*/ 510 h 4350"/>
                    <a:gd name="T114" fmla="*/ 2178 w 4494"/>
                    <a:gd name="T115" fmla="*/ 576 h 4350"/>
                    <a:gd name="T116" fmla="*/ 2268 w 4494"/>
                    <a:gd name="T117" fmla="*/ 558 h 4350"/>
                    <a:gd name="T118" fmla="*/ 2292 w 4494"/>
                    <a:gd name="T119" fmla="*/ 396 h 4350"/>
                    <a:gd name="T120" fmla="*/ 2394 w 4494"/>
                    <a:gd name="T121" fmla="*/ 264 h 4350"/>
                    <a:gd name="T122" fmla="*/ 2700 w 4494"/>
                    <a:gd name="T123" fmla="*/ 114 h 4350"/>
                    <a:gd name="T124" fmla="*/ 2634 w 4494"/>
                    <a:gd name="T125" fmla="*/ 6 h 4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494" h="4350">
                      <a:moveTo>
                        <a:pt x="2646" y="0"/>
                      </a:moveTo>
                      <a:lnTo>
                        <a:pt x="2664" y="0"/>
                      </a:lnTo>
                      <a:lnTo>
                        <a:pt x="2676" y="6"/>
                      </a:lnTo>
                      <a:lnTo>
                        <a:pt x="2682" y="12"/>
                      </a:lnTo>
                      <a:lnTo>
                        <a:pt x="2688" y="12"/>
                      </a:lnTo>
                      <a:lnTo>
                        <a:pt x="2694" y="12"/>
                      </a:lnTo>
                      <a:lnTo>
                        <a:pt x="2700" y="6"/>
                      </a:lnTo>
                      <a:lnTo>
                        <a:pt x="2706" y="0"/>
                      </a:lnTo>
                      <a:lnTo>
                        <a:pt x="2712" y="6"/>
                      </a:lnTo>
                      <a:lnTo>
                        <a:pt x="2724" y="12"/>
                      </a:lnTo>
                      <a:lnTo>
                        <a:pt x="2730" y="24"/>
                      </a:lnTo>
                      <a:lnTo>
                        <a:pt x="2742" y="42"/>
                      </a:lnTo>
                      <a:lnTo>
                        <a:pt x="2748" y="60"/>
                      </a:lnTo>
                      <a:lnTo>
                        <a:pt x="2754" y="72"/>
                      </a:lnTo>
                      <a:lnTo>
                        <a:pt x="2766" y="78"/>
                      </a:lnTo>
                      <a:lnTo>
                        <a:pt x="2778" y="84"/>
                      </a:lnTo>
                      <a:lnTo>
                        <a:pt x="2796" y="84"/>
                      </a:lnTo>
                      <a:lnTo>
                        <a:pt x="2814" y="84"/>
                      </a:lnTo>
                      <a:lnTo>
                        <a:pt x="2826" y="84"/>
                      </a:lnTo>
                      <a:lnTo>
                        <a:pt x="2838" y="90"/>
                      </a:lnTo>
                      <a:lnTo>
                        <a:pt x="2856" y="102"/>
                      </a:lnTo>
                      <a:lnTo>
                        <a:pt x="2874" y="114"/>
                      </a:lnTo>
                      <a:lnTo>
                        <a:pt x="2892" y="126"/>
                      </a:lnTo>
                      <a:lnTo>
                        <a:pt x="2904" y="138"/>
                      </a:lnTo>
                      <a:lnTo>
                        <a:pt x="2922" y="144"/>
                      </a:lnTo>
                      <a:lnTo>
                        <a:pt x="2934" y="156"/>
                      </a:lnTo>
                      <a:lnTo>
                        <a:pt x="2946" y="162"/>
                      </a:lnTo>
                      <a:lnTo>
                        <a:pt x="2952" y="174"/>
                      </a:lnTo>
                      <a:lnTo>
                        <a:pt x="2952" y="180"/>
                      </a:lnTo>
                      <a:lnTo>
                        <a:pt x="2964" y="186"/>
                      </a:lnTo>
                      <a:lnTo>
                        <a:pt x="2970" y="186"/>
                      </a:lnTo>
                      <a:lnTo>
                        <a:pt x="2976" y="180"/>
                      </a:lnTo>
                      <a:lnTo>
                        <a:pt x="2988" y="174"/>
                      </a:lnTo>
                      <a:lnTo>
                        <a:pt x="2994" y="168"/>
                      </a:lnTo>
                      <a:lnTo>
                        <a:pt x="3006" y="168"/>
                      </a:lnTo>
                      <a:lnTo>
                        <a:pt x="3018" y="168"/>
                      </a:lnTo>
                      <a:lnTo>
                        <a:pt x="3030" y="168"/>
                      </a:lnTo>
                      <a:lnTo>
                        <a:pt x="3042" y="174"/>
                      </a:lnTo>
                      <a:lnTo>
                        <a:pt x="3042" y="186"/>
                      </a:lnTo>
                      <a:lnTo>
                        <a:pt x="3042" y="192"/>
                      </a:lnTo>
                      <a:lnTo>
                        <a:pt x="3048" y="192"/>
                      </a:lnTo>
                      <a:lnTo>
                        <a:pt x="3060" y="192"/>
                      </a:lnTo>
                      <a:lnTo>
                        <a:pt x="3066" y="180"/>
                      </a:lnTo>
                      <a:lnTo>
                        <a:pt x="3078" y="174"/>
                      </a:lnTo>
                      <a:lnTo>
                        <a:pt x="3090" y="162"/>
                      </a:lnTo>
                      <a:lnTo>
                        <a:pt x="3108" y="150"/>
                      </a:lnTo>
                      <a:lnTo>
                        <a:pt x="3120" y="144"/>
                      </a:lnTo>
                      <a:lnTo>
                        <a:pt x="3132" y="144"/>
                      </a:lnTo>
                      <a:lnTo>
                        <a:pt x="3144" y="144"/>
                      </a:lnTo>
                      <a:lnTo>
                        <a:pt x="3156" y="156"/>
                      </a:lnTo>
                      <a:lnTo>
                        <a:pt x="3168" y="174"/>
                      </a:lnTo>
                      <a:lnTo>
                        <a:pt x="3174" y="186"/>
                      </a:lnTo>
                      <a:lnTo>
                        <a:pt x="3180" y="210"/>
                      </a:lnTo>
                      <a:lnTo>
                        <a:pt x="3186" y="222"/>
                      </a:lnTo>
                      <a:lnTo>
                        <a:pt x="3180" y="234"/>
                      </a:lnTo>
                      <a:lnTo>
                        <a:pt x="3174" y="240"/>
                      </a:lnTo>
                      <a:lnTo>
                        <a:pt x="3162" y="252"/>
                      </a:lnTo>
                      <a:lnTo>
                        <a:pt x="3150" y="258"/>
                      </a:lnTo>
                      <a:lnTo>
                        <a:pt x="3138" y="264"/>
                      </a:lnTo>
                      <a:lnTo>
                        <a:pt x="3132" y="264"/>
                      </a:lnTo>
                      <a:lnTo>
                        <a:pt x="3126" y="270"/>
                      </a:lnTo>
                      <a:lnTo>
                        <a:pt x="3120" y="282"/>
                      </a:lnTo>
                      <a:lnTo>
                        <a:pt x="3120" y="294"/>
                      </a:lnTo>
                      <a:lnTo>
                        <a:pt x="3120" y="306"/>
                      </a:lnTo>
                      <a:lnTo>
                        <a:pt x="3114" y="318"/>
                      </a:lnTo>
                      <a:lnTo>
                        <a:pt x="3114" y="330"/>
                      </a:lnTo>
                      <a:lnTo>
                        <a:pt x="3114" y="342"/>
                      </a:lnTo>
                      <a:lnTo>
                        <a:pt x="3108" y="348"/>
                      </a:lnTo>
                      <a:lnTo>
                        <a:pt x="3102" y="348"/>
                      </a:lnTo>
                      <a:lnTo>
                        <a:pt x="3090" y="348"/>
                      </a:lnTo>
                      <a:lnTo>
                        <a:pt x="3078" y="342"/>
                      </a:lnTo>
                      <a:lnTo>
                        <a:pt x="3060" y="336"/>
                      </a:lnTo>
                      <a:lnTo>
                        <a:pt x="3054" y="342"/>
                      </a:lnTo>
                      <a:lnTo>
                        <a:pt x="3042" y="348"/>
                      </a:lnTo>
                      <a:lnTo>
                        <a:pt x="3042" y="354"/>
                      </a:lnTo>
                      <a:lnTo>
                        <a:pt x="3036" y="366"/>
                      </a:lnTo>
                      <a:lnTo>
                        <a:pt x="3036" y="378"/>
                      </a:lnTo>
                      <a:lnTo>
                        <a:pt x="3030" y="390"/>
                      </a:lnTo>
                      <a:lnTo>
                        <a:pt x="3030" y="402"/>
                      </a:lnTo>
                      <a:lnTo>
                        <a:pt x="3036" y="414"/>
                      </a:lnTo>
                      <a:lnTo>
                        <a:pt x="3036" y="426"/>
                      </a:lnTo>
                      <a:lnTo>
                        <a:pt x="3036" y="438"/>
                      </a:lnTo>
                      <a:lnTo>
                        <a:pt x="3036" y="444"/>
                      </a:lnTo>
                      <a:lnTo>
                        <a:pt x="3036" y="450"/>
                      </a:lnTo>
                      <a:lnTo>
                        <a:pt x="3024" y="462"/>
                      </a:lnTo>
                      <a:lnTo>
                        <a:pt x="3006" y="468"/>
                      </a:lnTo>
                      <a:lnTo>
                        <a:pt x="2994" y="474"/>
                      </a:lnTo>
                      <a:lnTo>
                        <a:pt x="2982" y="486"/>
                      </a:lnTo>
                      <a:lnTo>
                        <a:pt x="2976" y="498"/>
                      </a:lnTo>
                      <a:lnTo>
                        <a:pt x="2976" y="510"/>
                      </a:lnTo>
                      <a:lnTo>
                        <a:pt x="2970" y="522"/>
                      </a:lnTo>
                      <a:lnTo>
                        <a:pt x="2970" y="540"/>
                      </a:lnTo>
                      <a:lnTo>
                        <a:pt x="2964" y="546"/>
                      </a:lnTo>
                      <a:lnTo>
                        <a:pt x="2952" y="564"/>
                      </a:lnTo>
                      <a:lnTo>
                        <a:pt x="2952" y="576"/>
                      </a:lnTo>
                      <a:lnTo>
                        <a:pt x="2952" y="594"/>
                      </a:lnTo>
                      <a:lnTo>
                        <a:pt x="2964" y="606"/>
                      </a:lnTo>
                      <a:lnTo>
                        <a:pt x="2976" y="630"/>
                      </a:lnTo>
                      <a:lnTo>
                        <a:pt x="2988" y="648"/>
                      </a:lnTo>
                      <a:lnTo>
                        <a:pt x="3006" y="660"/>
                      </a:lnTo>
                      <a:lnTo>
                        <a:pt x="3018" y="678"/>
                      </a:lnTo>
                      <a:lnTo>
                        <a:pt x="3036" y="696"/>
                      </a:lnTo>
                      <a:lnTo>
                        <a:pt x="3060" y="714"/>
                      </a:lnTo>
                      <a:lnTo>
                        <a:pt x="3084" y="750"/>
                      </a:lnTo>
                      <a:lnTo>
                        <a:pt x="3108" y="792"/>
                      </a:lnTo>
                      <a:lnTo>
                        <a:pt x="3150" y="834"/>
                      </a:lnTo>
                      <a:lnTo>
                        <a:pt x="3210" y="870"/>
                      </a:lnTo>
                      <a:lnTo>
                        <a:pt x="3264" y="906"/>
                      </a:lnTo>
                      <a:lnTo>
                        <a:pt x="3288" y="942"/>
                      </a:lnTo>
                      <a:lnTo>
                        <a:pt x="3300" y="978"/>
                      </a:lnTo>
                      <a:lnTo>
                        <a:pt x="3312" y="1008"/>
                      </a:lnTo>
                      <a:lnTo>
                        <a:pt x="3318" y="1020"/>
                      </a:lnTo>
                      <a:lnTo>
                        <a:pt x="3324" y="1032"/>
                      </a:lnTo>
                      <a:lnTo>
                        <a:pt x="3330" y="1032"/>
                      </a:lnTo>
                      <a:lnTo>
                        <a:pt x="3342" y="1032"/>
                      </a:lnTo>
                      <a:lnTo>
                        <a:pt x="3360" y="1026"/>
                      </a:lnTo>
                      <a:lnTo>
                        <a:pt x="3390" y="1020"/>
                      </a:lnTo>
                      <a:lnTo>
                        <a:pt x="3438" y="1002"/>
                      </a:lnTo>
                      <a:lnTo>
                        <a:pt x="3474" y="978"/>
                      </a:lnTo>
                      <a:lnTo>
                        <a:pt x="3486" y="954"/>
                      </a:lnTo>
                      <a:lnTo>
                        <a:pt x="3498" y="918"/>
                      </a:lnTo>
                      <a:lnTo>
                        <a:pt x="3516" y="876"/>
                      </a:lnTo>
                      <a:lnTo>
                        <a:pt x="3540" y="834"/>
                      </a:lnTo>
                      <a:lnTo>
                        <a:pt x="3564" y="792"/>
                      </a:lnTo>
                      <a:lnTo>
                        <a:pt x="3588" y="738"/>
                      </a:lnTo>
                      <a:lnTo>
                        <a:pt x="3612" y="672"/>
                      </a:lnTo>
                      <a:lnTo>
                        <a:pt x="3618" y="618"/>
                      </a:lnTo>
                      <a:lnTo>
                        <a:pt x="3630" y="558"/>
                      </a:lnTo>
                      <a:lnTo>
                        <a:pt x="3636" y="492"/>
                      </a:lnTo>
                      <a:lnTo>
                        <a:pt x="3648" y="444"/>
                      </a:lnTo>
                      <a:lnTo>
                        <a:pt x="3654" y="408"/>
                      </a:lnTo>
                      <a:lnTo>
                        <a:pt x="3660" y="396"/>
                      </a:lnTo>
                      <a:lnTo>
                        <a:pt x="3672" y="378"/>
                      </a:lnTo>
                      <a:lnTo>
                        <a:pt x="3678" y="366"/>
                      </a:lnTo>
                      <a:lnTo>
                        <a:pt x="3678" y="354"/>
                      </a:lnTo>
                      <a:lnTo>
                        <a:pt x="3672" y="342"/>
                      </a:lnTo>
                      <a:lnTo>
                        <a:pt x="3666" y="330"/>
                      </a:lnTo>
                      <a:lnTo>
                        <a:pt x="3666" y="318"/>
                      </a:lnTo>
                      <a:lnTo>
                        <a:pt x="3672" y="300"/>
                      </a:lnTo>
                      <a:lnTo>
                        <a:pt x="3684" y="288"/>
                      </a:lnTo>
                      <a:lnTo>
                        <a:pt x="3690" y="270"/>
                      </a:lnTo>
                      <a:lnTo>
                        <a:pt x="3702" y="258"/>
                      </a:lnTo>
                      <a:lnTo>
                        <a:pt x="3720" y="234"/>
                      </a:lnTo>
                      <a:lnTo>
                        <a:pt x="3738" y="198"/>
                      </a:lnTo>
                      <a:lnTo>
                        <a:pt x="3750" y="156"/>
                      </a:lnTo>
                      <a:lnTo>
                        <a:pt x="3750" y="126"/>
                      </a:lnTo>
                      <a:lnTo>
                        <a:pt x="3750" y="114"/>
                      </a:lnTo>
                      <a:lnTo>
                        <a:pt x="3750" y="96"/>
                      </a:lnTo>
                      <a:lnTo>
                        <a:pt x="3762" y="90"/>
                      </a:lnTo>
                      <a:lnTo>
                        <a:pt x="3768" y="78"/>
                      </a:lnTo>
                      <a:lnTo>
                        <a:pt x="3780" y="66"/>
                      </a:lnTo>
                      <a:lnTo>
                        <a:pt x="3792" y="54"/>
                      </a:lnTo>
                      <a:lnTo>
                        <a:pt x="3798" y="48"/>
                      </a:lnTo>
                      <a:lnTo>
                        <a:pt x="3810" y="36"/>
                      </a:lnTo>
                      <a:lnTo>
                        <a:pt x="3816" y="30"/>
                      </a:lnTo>
                      <a:lnTo>
                        <a:pt x="3822" y="24"/>
                      </a:lnTo>
                      <a:lnTo>
                        <a:pt x="3834" y="18"/>
                      </a:lnTo>
                      <a:lnTo>
                        <a:pt x="3840" y="24"/>
                      </a:lnTo>
                      <a:lnTo>
                        <a:pt x="3840" y="30"/>
                      </a:lnTo>
                      <a:lnTo>
                        <a:pt x="3846" y="42"/>
                      </a:lnTo>
                      <a:lnTo>
                        <a:pt x="3846" y="48"/>
                      </a:lnTo>
                      <a:lnTo>
                        <a:pt x="3852" y="54"/>
                      </a:lnTo>
                      <a:lnTo>
                        <a:pt x="3858" y="54"/>
                      </a:lnTo>
                      <a:lnTo>
                        <a:pt x="3870" y="48"/>
                      </a:lnTo>
                      <a:lnTo>
                        <a:pt x="3882" y="54"/>
                      </a:lnTo>
                      <a:lnTo>
                        <a:pt x="3888" y="78"/>
                      </a:lnTo>
                      <a:lnTo>
                        <a:pt x="3888" y="114"/>
                      </a:lnTo>
                      <a:lnTo>
                        <a:pt x="3876" y="144"/>
                      </a:lnTo>
                      <a:lnTo>
                        <a:pt x="3870" y="156"/>
                      </a:lnTo>
                      <a:lnTo>
                        <a:pt x="3870" y="174"/>
                      </a:lnTo>
                      <a:lnTo>
                        <a:pt x="3876" y="186"/>
                      </a:lnTo>
                      <a:lnTo>
                        <a:pt x="3882" y="198"/>
                      </a:lnTo>
                      <a:lnTo>
                        <a:pt x="3888" y="210"/>
                      </a:lnTo>
                      <a:lnTo>
                        <a:pt x="3900" y="222"/>
                      </a:lnTo>
                      <a:lnTo>
                        <a:pt x="3900" y="234"/>
                      </a:lnTo>
                      <a:lnTo>
                        <a:pt x="3900" y="264"/>
                      </a:lnTo>
                      <a:lnTo>
                        <a:pt x="3900" y="306"/>
                      </a:lnTo>
                      <a:lnTo>
                        <a:pt x="3906" y="348"/>
                      </a:lnTo>
                      <a:lnTo>
                        <a:pt x="3918" y="378"/>
                      </a:lnTo>
                      <a:lnTo>
                        <a:pt x="3924" y="396"/>
                      </a:lnTo>
                      <a:lnTo>
                        <a:pt x="3924" y="414"/>
                      </a:lnTo>
                      <a:lnTo>
                        <a:pt x="3918" y="444"/>
                      </a:lnTo>
                      <a:lnTo>
                        <a:pt x="3912" y="492"/>
                      </a:lnTo>
                      <a:lnTo>
                        <a:pt x="3906" y="516"/>
                      </a:lnTo>
                      <a:lnTo>
                        <a:pt x="3906" y="528"/>
                      </a:lnTo>
                      <a:lnTo>
                        <a:pt x="3912" y="540"/>
                      </a:lnTo>
                      <a:lnTo>
                        <a:pt x="3912" y="546"/>
                      </a:lnTo>
                      <a:lnTo>
                        <a:pt x="3918" y="540"/>
                      </a:lnTo>
                      <a:lnTo>
                        <a:pt x="3924" y="540"/>
                      </a:lnTo>
                      <a:lnTo>
                        <a:pt x="3930" y="534"/>
                      </a:lnTo>
                      <a:lnTo>
                        <a:pt x="3942" y="528"/>
                      </a:lnTo>
                      <a:lnTo>
                        <a:pt x="3948" y="522"/>
                      </a:lnTo>
                      <a:lnTo>
                        <a:pt x="3972" y="528"/>
                      </a:lnTo>
                      <a:lnTo>
                        <a:pt x="3996" y="546"/>
                      </a:lnTo>
                      <a:lnTo>
                        <a:pt x="4026" y="570"/>
                      </a:lnTo>
                      <a:lnTo>
                        <a:pt x="4050" y="588"/>
                      </a:lnTo>
                      <a:lnTo>
                        <a:pt x="4056" y="594"/>
                      </a:lnTo>
                      <a:lnTo>
                        <a:pt x="4062" y="606"/>
                      </a:lnTo>
                      <a:lnTo>
                        <a:pt x="4062" y="618"/>
                      </a:lnTo>
                      <a:lnTo>
                        <a:pt x="4062" y="636"/>
                      </a:lnTo>
                      <a:lnTo>
                        <a:pt x="4056" y="654"/>
                      </a:lnTo>
                      <a:lnTo>
                        <a:pt x="4056" y="672"/>
                      </a:lnTo>
                      <a:lnTo>
                        <a:pt x="4050" y="726"/>
                      </a:lnTo>
                      <a:lnTo>
                        <a:pt x="4038" y="774"/>
                      </a:lnTo>
                      <a:lnTo>
                        <a:pt x="4032" y="810"/>
                      </a:lnTo>
                      <a:lnTo>
                        <a:pt x="4044" y="858"/>
                      </a:lnTo>
                      <a:lnTo>
                        <a:pt x="4056" y="900"/>
                      </a:lnTo>
                      <a:lnTo>
                        <a:pt x="4062" y="954"/>
                      </a:lnTo>
                      <a:lnTo>
                        <a:pt x="4062" y="1020"/>
                      </a:lnTo>
                      <a:lnTo>
                        <a:pt x="4062" y="1074"/>
                      </a:lnTo>
                      <a:lnTo>
                        <a:pt x="4056" y="1128"/>
                      </a:lnTo>
                      <a:lnTo>
                        <a:pt x="4050" y="1170"/>
                      </a:lnTo>
                      <a:lnTo>
                        <a:pt x="4044" y="1212"/>
                      </a:lnTo>
                      <a:lnTo>
                        <a:pt x="4044" y="1236"/>
                      </a:lnTo>
                      <a:lnTo>
                        <a:pt x="4044" y="1260"/>
                      </a:lnTo>
                      <a:lnTo>
                        <a:pt x="4050" y="1272"/>
                      </a:lnTo>
                      <a:lnTo>
                        <a:pt x="4056" y="1284"/>
                      </a:lnTo>
                      <a:lnTo>
                        <a:pt x="4062" y="1296"/>
                      </a:lnTo>
                      <a:lnTo>
                        <a:pt x="4068" y="1308"/>
                      </a:lnTo>
                      <a:lnTo>
                        <a:pt x="4080" y="1320"/>
                      </a:lnTo>
                      <a:lnTo>
                        <a:pt x="4086" y="1332"/>
                      </a:lnTo>
                      <a:lnTo>
                        <a:pt x="4092" y="1350"/>
                      </a:lnTo>
                      <a:lnTo>
                        <a:pt x="4098" y="1362"/>
                      </a:lnTo>
                      <a:lnTo>
                        <a:pt x="4098" y="1368"/>
                      </a:lnTo>
                      <a:lnTo>
                        <a:pt x="4104" y="1374"/>
                      </a:lnTo>
                      <a:lnTo>
                        <a:pt x="4116" y="1374"/>
                      </a:lnTo>
                      <a:lnTo>
                        <a:pt x="4128" y="1368"/>
                      </a:lnTo>
                      <a:lnTo>
                        <a:pt x="4158" y="1380"/>
                      </a:lnTo>
                      <a:lnTo>
                        <a:pt x="4188" y="1404"/>
                      </a:lnTo>
                      <a:lnTo>
                        <a:pt x="4224" y="1440"/>
                      </a:lnTo>
                      <a:lnTo>
                        <a:pt x="4248" y="1470"/>
                      </a:lnTo>
                      <a:lnTo>
                        <a:pt x="4254" y="1500"/>
                      </a:lnTo>
                      <a:lnTo>
                        <a:pt x="4260" y="1530"/>
                      </a:lnTo>
                      <a:lnTo>
                        <a:pt x="4254" y="1566"/>
                      </a:lnTo>
                      <a:lnTo>
                        <a:pt x="4254" y="1590"/>
                      </a:lnTo>
                      <a:lnTo>
                        <a:pt x="4260" y="1614"/>
                      </a:lnTo>
                      <a:lnTo>
                        <a:pt x="4272" y="1632"/>
                      </a:lnTo>
                      <a:lnTo>
                        <a:pt x="4278" y="1644"/>
                      </a:lnTo>
                      <a:lnTo>
                        <a:pt x="4296" y="1656"/>
                      </a:lnTo>
                      <a:lnTo>
                        <a:pt x="4308" y="1668"/>
                      </a:lnTo>
                      <a:lnTo>
                        <a:pt x="4308" y="1674"/>
                      </a:lnTo>
                      <a:lnTo>
                        <a:pt x="4308" y="1686"/>
                      </a:lnTo>
                      <a:lnTo>
                        <a:pt x="4302" y="1698"/>
                      </a:lnTo>
                      <a:lnTo>
                        <a:pt x="4296" y="1710"/>
                      </a:lnTo>
                      <a:lnTo>
                        <a:pt x="4290" y="1716"/>
                      </a:lnTo>
                      <a:lnTo>
                        <a:pt x="4284" y="1728"/>
                      </a:lnTo>
                      <a:lnTo>
                        <a:pt x="4278" y="1740"/>
                      </a:lnTo>
                      <a:lnTo>
                        <a:pt x="4272" y="1746"/>
                      </a:lnTo>
                      <a:lnTo>
                        <a:pt x="4272" y="1758"/>
                      </a:lnTo>
                      <a:lnTo>
                        <a:pt x="4266" y="1770"/>
                      </a:lnTo>
                      <a:lnTo>
                        <a:pt x="4260" y="1788"/>
                      </a:lnTo>
                      <a:lnTo>
                        <a:pt x="4260" y="1800"/>
                      </a:lnTo>
                      <a:lnTo>
                        <a:pt x="4266" y="1806"/>
                      </a:lnTo>
                      <a:lnTo>
                        <a:pt x="4272" y="1812"/>
                      </a:lnTo>
                      <a:lnTo>
                        <a:pt x="4284" y="1818"/>
                      </a:lnTo>
                      <a:lnTo>
                        <a:pt x="4296" y="1818"/>
                      </a:lnTo>
                      <a:lnTo>
                        <a:pt x="4302" y="1818"/>
                      </a:lnTo>
                      <a:lnTo>
                        <a:pt x="4308" y="1812"/>
                      </a:lnTo>
                      <a:lnTo>
                        <a:pt x="4302" y="1800"/>
                      </a:lnTo>
                      <a:lnTo>
                        <a:pt x="4308" y="1788"/>
                      </a:lnTo>
                      <a:lnTo>
                        <a:pt x="4314" y="1782"/>
                      </a:lnTo>
                      <a:lnTo>
                        <a:pt x="4326" y="1776"/>
                      </a:lnTo>
                      <a:lnTo>
                        <a:pt x="4338" y="1782"/>
                      </a:lnTo>
                      <a:lnTo>
                        <a:pt x="4344" y="1788"/>
                      </a:lnTo>
                      <a:lnTo>
                        <a:pt x="4350" y="1800"/>
                      </a:lnTo>
                      <a:lnTo>
                        <a:pt x="4356" y="1818"/>
                      </a:lnTo>
                      <a:lnTo>
                        <a:pt x="4362" y="1836"/>
                      </a:lnTo>
                      <a:lnTo>
                        <a:pt x="4374" y="1854"/>
                      </a:lnTo>
                      <a:lnTo>
                        <a:pt x="4386" y="1872"/>
                      </a:lnTo>
                      <a:lnTo>
                        <a:pt x="4398" y="1884"/>
                      </a:lnTo>
                      <a:lnTo>
                        <a:pt x="4398" y="1902"/>
                      </a:lnTo>
                      <a:lnTo>
                        <a:pt x="4392" y="1914"/>
                      </a:lnTo>
                      <a:lnTo>
                        <a:pt x="4380" y="1920"/>
                      </a:lnTo>
                      <a:lnTo>
                        <a:pt x="4368" y="1932"/>
                      </a:lnTo>
                      <a:lnTo>
                        <a:pt x="4356" y="1938"/>
                      </a:lnTo>
                      <a:lnTo>
                        <a:pt x="4344" y="1938"/>
                      </a:lnTo>
                      <a:lnTo>
                        <a:pt x="4332" y="1938"/>
                      </a:lnTo>
                      <a:lnTo>
                        <a:pt x="4326" y="1944"/>
                      </a:lnTo>
                      <a:lnTo>
                        <a:pt x="4326" y="1950"/>
                      </a:lnTo>
                      <a:lnTo>
                        <a:pt x="4332" y="1956"/>
                      </a:lnTo>
                      <a:lnTo>
                        <a:pt x="4344" y="1962"/>
                      </a:lnTo>
                      <a:lnTo>
                        <a:pt x="4350" y="1974"/>
                      </a:lnTo>
                      <a:lnTo>
                        <a:pt x="4362" y="1980"/>
                      </a:lnTo>
                      <a:lnTo>
                        <a:pt x="4368" y="1986"/>
                      </a:lnTo>
                      <a:lnTo>
                        <a:pt x="4374" y="1992"/>
                      </a:lnTo>
                      <a:lnTo>
                        <a:pt x="4374" y="1998"/>
                      </a:lnTo>
                      <a:lnTo>
                        <a:pt x="4374" y="2004"/>
                      </a:lnTo>
                      <a:lnTo>
                        <a:pt x="4368" y="2016"/>
                      </a:lnTo>
                      <a:lnTo>
                        <a:pt x="4368" y="2028"/>
                      </a:lnTo>
                      <a:lnTo>
                        <a:pt x="4374" y="2034"/>
                      </a:lnTo>
                      <a:lnTo>
                        <a:pt x="4380" y="2046"/>
                      </a:lnTo>
                      <a:lnTo>
                        <a:pt x="4392" y="2052"/>
                      </a:lnTo>
                      <a:lnTo>
                        <a:pt x="4398" y="2064"/>
                      </a:lnTo>
                      <a:lnTo>
                        <a:pt x="4398" y="2076"/>
                      </a:lnTo>
                      <a:lnTo>
                        <a:pt x="4392" y="2088"/>
                      </a:lnTo>
                      <a:lnTo>
                        <a:pt x="4392" y="2100"/>
                      </a:lnTo>
                      <a:lnTo>
                        <a:pt x="4392" y="2112"/>
                      </a:lnTo>
                      <a:lnTo>
                        <a:pt x="4398" y="2118"/>
                      </a:lnTo>
                      <a:lnTo>
                        <a:pt x="4410" y="2124"/>
                      </a:lnTo>
                      <a:lnTo>
                        <a:pt x="4428" y="2130"/>
                      </a:lnTo>
                      <a:lnTo>
                        <a:pt x="4440" y="2136"/>
                      </a:lnTo>
                      <a:lnTo>
                        <a:pt x="4446" y="2142"/>
                      </a:lnTo>
                      <a:lnTo>
                        <a:pt x="4452" y="2154"/>
                      </a:lnTo>
                      <a:lnTo>
                        <a:pt x="4452" y="2172"/>
                      </a:lnTo>
                      <a:lnTo>
                        <a:pt x="4452" y="2196"/>
                      </a:lnTo>
                      <a:lnTo>
                        <a:pt x="4452" y="2226"/>
                      </a:lnTo>
                      <a:lnTo>
                        <a:pt x="4458" y="2262"/>
                      </a:lnTo>
                      <a:lnTo>
                        <a:pt x="4464" y="2286"/>
                      </a:lnTo>
                      <a:lnTo>
                        <a:pt x="4476" y="2298"/>
                      </a:lnTo>
                      <a:lnTo>
                        <a:pt x="4488" y="2304"/>
                      </a:lnTo>
                      <a:lnTo>
                        <a:pt x="4488" y="2310"/>
                      </a:lnTo>
                      <a:lnTo>
                        <a:pt x="4488" y="2316"/>
                      </a:lnTo>
                      <a:lnTo>
                        <a:pt x="4488" y="2328"/>
                      </a:lnTo>
                      <a:lnTo>
                        <a:pt x="4488" y="2346"/>
                      </a:lnTo>
                      <a:lnTo>
                        <a:pt x="4494" y="2388"/>
                      </a:lnTo>
                      <a:lnTo>
                        <a:pt x="4494" y="2448"/>
                      </a:lnTo>
                      <a:lnTo>
                        <a:pt x="4488" y="2514"/>
                      </a:lnTo>
                      <a:lnTo>
                        <a:pt x="4470" y="2562"/>
                      </a:lnTo>
                      <a:lnTo>
                        <a:pt x="4446" y="2628"/>
                      </a:lnTo>
                      <a:lnTo>
                        <a:pt x="4434" y="2694"/>
                      </a:lnTo>
                      <a:lnTo>
                        <a:pt x="4428" y="2754"/>
                      </a:lnTo>
                      <a:lnTo>
                        <a:pt x="4422" y="2814"/>
                      </a:lnTo>
                      <a:lnTo>
                        <a:pt x="4404" y="2874"/>
                      </a:lnTo>
                      <a:lnTo>
                        <a:pt x="4374" y="2934"/>
                      </a:lnTo>
                      <a:lnTo>
                        <a:pt x="4332" y="3000"/>
                      </a:lnTo>
                      <a:lnTo>
                        <a:pt x="4290" y="3072"/>
                      </a:lnTo>
                      <a:lnTo>
                        <a:pt x="4254" y="3150"/>
                      </a:lnTo>
                      <a:lnTo>
                        <a:pt x="4230" y="3222"/>
                      </a:lnTo>
                      <a:lnTo>
                        <a:pt x="4182" y="3288"/>
                      </a:lnTo>
                      <a:lnTo>
                        <a:pt x="4134" y="3354"/>
                      </a:lnTo>
                      <a:lnTo>
                        <a:pt x="4092" y="3402"/>
                      </a:lnTo>
                      <a:lnTo>
                        <a:pt x="4062" y="3426"/>
                      </a:lnTo>
                      <a:lnTo>
                        <a:pt x="4026" y="3432"/>
                      </a:lnTo>
                      <a:lnTo>
                        <a:pt x="4014" y="3438"/>
                      </a:lnTo>
                      <a:lnTo>
                        <a:pt x="4002" y="3438"/>
                      </a:lnTo>
                      <a:lnTo>
                        <a:pt x="3996" y="3444"/>
                      </a:lnTo>
                      <a:lnTo>
                        <a:pt x="3990" y="3456"/>
                      </a:lnTo>
                      <a:lnTo>
                        <a:pt x="3978" y="3468"/>
                      </a:lnTo>
                      <a:lnTo>
                        <a:pt x="3972" y="3480"/>
                      </a:lnTo>
                      <a:lnTo>
                        <a:pt x="3960" y="3492"/>
                      </a:lnTo>
                      <a:lnTo>
                        <a:pt x="3960" y="3504"/>
                      </a:lnTo>
                      <a:lnTo>
                        <a:pt x="3960" y="3516"/>
                      </a:lnTo>
                      <a:lnTo>
                        <a:pt x="3954" y="3522"/>
                      </a:lnTo>
                      <a:lnTo>
                        <a:pt x="3954" y="3528"/>
                      </a:lnTo>
                      <a:lnTo>
                        <a:pt x="3942" y="3540"/>
                      </a:lnTo>
                      <a:lnTo>
                        <a:pt x="3918" y="3558"/>
                      </a:lnTo>
                      <a:lnTo>
                        <a:pt x="3882" y="3588"/>
                      </a:lnTo>
                      <a:lnTo>
                        <a:pt x="3846" y="3624"/>
                      </a:lnTo>
                      <a:lnTo>
                        <a:pt x="3822" y="3648"/>
                      </a:lnTo>
                      <a:lnTo>
                        <a:pt x="3792" y="3690"/>
                      </a:lnTo>
                      <a:lnTo>
                        <a:pt x="3768" y="3732"/>
                      </a:lnTo>
                      <a:lnTo>
                        <a:pt x="3762" y="3768"/>
                      </a:lnTo>
                      <a:lnTo>
                        <a:pt x="3744" y="3810"/>
                      </a:lnTo>
                      <a:lnTo>
                        <a:pt x="3708" y="3846"/>
                      </a:lnTo>
                      <a:lnTo>
                        <a:pt x="3672" y="3882"/>
                      </a:lnTo>
                      <a:lnTo>
                        <a:pt x="3654" y="3894"/>
                      </a:lnTo>
                      <a:lnTo>
                        <a:pt x="3648" y="3906"/>
                      </a:lnTo>
                      <a:lnTo>
                        <a:pt x="3642" y="3918"/>
                      </a:lnTo>
                      <a:lnTo>
                        <a:pt x="3636" y="3930"/>
                      </a:lnTo>
                      <a:lnTo>
                        <a:pt x="3624" y="3942"/>
                      </a:lnTo>
                      <a:lnTo>
                        <a:pt x="3612" y="3960"/>
                      </a:lnTo>
                      <a:lnTo>
                        <a:pt x="3576" y="4002"/>
                      </a:lnTo>
                      <a:lnTo>
                        <a:pt x="3546" y="4056"/>
                      </a:lnTo>
                      <a:lnTo>
                        <a:pt x="3528" y="4110"/>
                      </a:lnTo>
                      <a:lnTo>
                        <a:pt x="3516" y="4134"/>
                      </a:lnTo>
                      <a:lnTo>
                        <a:pt x="3510" y="4152"/>
                      </a:lnTo>
                      <a:lnTo>
                        <a:pt x="3492" y="4170"/>
                      </a:lnTo>
                      <a:lnTo>
                        <a:pt x="3480" y="4182"/>
                      </a:lnTo>
                      <a:lnTo>
                        <a:pt x="3468" y="4188"/>
                      </a:lnTo>
                      <a:lnTo>
                        <a:pt x="3456" y="4188"/>
                      </a:lnTo>
                      <a:lnTo>
                        <a:pt x="3426" y="4182"/>
                      </a:lnTo>
                      <a:lnTo>
                        <a:pt x="3396" y="4188"/>
                      </a:lnTo>
                      <a:lnTo>
                        <a:pt x="3360" y="4194"/>
                      </a:lnTo>
                      <a:lnTo>
                        <a:pt x="3336" y="4182"/>
                      </a:lnTo>
                      <a:lnTo>
                        <a:pt x="3324" y="4176"/>
                      </a:lnTo>
                      <a:lnTo>
                        <a:pt x="3306" y="4176"/>
                      </a:lnTo>
                      <a:lnTo>
                        <a:pt x="3294" y="4176"/>
                      </a:lnTo>
                      <a:lnTo>
                        <a:pt x="3282" y="4182"/>
                      </a:lnTo>
                      <a:lnTo>
                        <a:pt x="3270" y="4194"/>
                      </a:lnTo>
                      <a:lnTo>
                        <a:pt x="3264" y="4206"/>
                      </a:lnTo>
                      <a:lnTo>
                        <a:pt x="3252" y="4224"/>
                      </a:lnTo>
                      <a:lnTo>
                        <a:pt x="3234" y="4236"/>
                      </a:lnTo>
                      <a:lnTo>
                        <a:pt x="3204" y="4254"/>
                      </a:lnTo>
                      <a:lnTo>
                        <a:pt x="3156" y="4284"/>
                      </a:lnTo>
                      <a:lnTo>
                        <a:pt x="3096" y="4308"/>
                      </a:lnTo>
                      <a:lnTo>
                        <a:pt x="3048" y="4338"/>
                      </a:lnTo>
                      <a:lnTo>
                        <a:pt x="3036" y="4344"/>
                      </a:lnTo>
                      <a:lnTo>
                        <a:pt x="3030" y="4350"/>
                      </a:lnTo>
                      <a:lnTo>
                        <a:pt x="3024" y="4350"/>
                      </a:lnTo>
                      <a:lnTo>
                        <a:pt x="3018" y="4344"/>
                      </a:lnTo>
                      <a:lnTo>
                        <a:pt x="3018" y="4338"/>
                      </a:lnTo>
                      <a:lnTo>
                        <a:pt x="3012" y="4326"/>
                      </a:lnTo>
                      <a:lnTo>
                        <a:pt x="3012" y="4314"/>
                      </a:lnTo>
                      <a:lnTo>
                        <a:pt x="3012" y="4302"/>
                      </a:lnTo>
                      <a:lnTo>
                        <a:pt x="3006" y="4290"/>
                      </a:lnTo>
                      <a:lnTo>
                        <a:pt x="2994" y="4284"/>
                      </a:lnTo>
                      <a:lnTo>
                        <a:pt x="2988" y="4284"/>
                      </a:lnTo>
                      <a:lnTo>
                        <a:pt x="2982" y="4278"/>
                      </a:lnTo>
                      <a:lnTo>
                        <a:pt x="2982" y="4266"/>
                      </a:lnTo>
                      <a:lnTo>
                        <a:pt x="2982" y="4254"/>
                      </a:lnTo>
                      <a:lnTo>
                        <a:pt x="2982" y="4242"/>
                      </a:lnTo>
                      <a:lnTo>
                        <a:pt x="2982" y="4236"/>
                      </a:lnTo>
                      <a:lnTo>
                        <a:pt x="2976" y="4236"/>
                      </a:lnTo>
                      <a:lnTo>
                        <a:pt x="2970" y="4230"/>
                      </a:lnTo>
                      <a:lnTo>
                        <a:pt x="2964" y="4224"/>
                      </a:lnTo>
                      <a:lnTo>
                        <a:pt x="2958" y="4224"/>
                      </a:lnTo>
                      <a:lnTo>
                        <a:pt x="2952" y="4218"/>
                      </a:lnTo>
                      <a:lnTo>
                        <a:pt x="2952" y="4206"/>
                      </a:lnTo>
                      <a:lnTo>
                        <a:pt x="2946" y="4194"/>
                      </a:lnTo>
                      <a:lnTo>
                        <a:pt x="2922" y="4194"/>
                      </a:lnTo>
                      <a:lnTo>
                        <a:pt x="2898" y="4200"/>
                      </a:lnTo>
                      <a:lnTo>
                        <a:pt x="2862" y="4212"/>
                      </a:lnTo>
                      <a:lnTo>
                        <a:pt x="2820" y="4230"/>
                      </a:lnTo>
                      <a:lnTo>
                        <a:pt x="2760" y="4242"/>
                      </a:lnTo>
                      <a:lnTo>
                        <a:pt x="2712" y="4230"/>
                      </a:lnTo>
                      <a:lnTo>
                        <a:pt x="2676" y="4194"/>
                      </a:lnTo>
                      <a:lnTo>
                        <a:pt x="2658" y="4182"/>
                      </a:lnTo>
                      <a:lnTo>
                        <a:pt x="2646" y="4170"/>
                      </a:lnTo>
                      <a:lnTo>
                        <a:pt x="2634" y="4164"/>
                      </a:lnTo>
                      <a:lnTo>
                        <a:pt x="2622" y="4164"/>
                      </a:lnTo>
                      <a:lnTo>
                        <a:pt x="2604" y="4164"/>
                      </a:lnTo>
                      <a:lnTo>
                        <a:pt x="2586" y="4164"/>
                      </a:lnTo>
                      <a:lnTo>
                        <a:pt x="2544" y="4146"/>
                      </a:lnTo>
                      <a:lnTo>
                        <a:pt x="2502" y="4098"/>
                      </a:lnTo>
                      <a:lnTo>
                        <a:pt x="2466" y="4056"/>
                      </a:lnTo>
                      <a:lnTo>
                        <a:pt x="2442" y="4020"/>
                      </a:lnTo>
                      <a:lnTo>
                        <a:pt x="2436" y="3978"/>
                      </a:lnTo>
                      <a:lnTo>
                        <a:pt x="2442" y="3936"/>
                      </a:lnTo>
                      <a:lnTo>
                        <a:pt x="2466" y="3900"/>
                      </a:lnTo>
                      <a:lnTo>
                        <a:pt x="2484" y="3870"/>
                      </a:lnTo>
                      <a:lnTo>
                        <a:pt x="2484" y="3834"/>
                      </a:lnTo>
                      <a:lnTo>
                        <a:pt x="2484" y="3804"/>
                      </a:lnTo>
                      <a:lnTo>
                        <a:pt x="2478" y="3780"/>
                      </a:lnTo>
                      <a:lnTo>
                        <a:pt x="2472" y="3762"/>
                      </a:lnTo>
                      <a:lnTo>
                        <a:pt x="2472" y="3738"/>
                      </a:lnTo>
                      <a:lnTo>
                        <a:pt x="2472" y="3720"/>
                      </a:lnTo>
                      <a:lnTo>
                        <a:pt x="2478" y="3708"/>
                      </a:lnTo>
                      <a:lnTo>
                        <a:pt x="2490" y="3690"/>
                      </a:lnTo>
                      <a:lnTo>
                        <a:pt x="2496" y="3684"/>
                      </a:lnTo>
                      <a:lnTo>
                        <a:pt x="2496" y="3672"/>
                      </a:lnTo>
                      <a:lnTo>
                        <a:pt x="2490" y="3666"/>
                      </a:lnTo>
                      <a:lnTo>
                        <a:pt x="2478" y="3660"/>
                      </a:lnTo>
                      <a:lnTo>
                        <a:pt x="2460" y="3654"/>
                      </a:lnTo>
                      <a:lnTo>
                        <a:pt x="2442" y="3654"/>
                      </a:lnTo>
                      <a:lnTo>
                        <a:pt x="2430" y="3648"/>
                      </a:lnTo>
                      <a:lnTo>
                        <a:pt x="2412" y="3642"/>
                      </a:lnTo>
                      <a:lnTo>
                        <a:pt x="2406" y="3630"/>
                      </a:lnTo>
                      <a:lnTo>
                        <a:pt x="2406" y="3618"/>
                      </a:lnTo>
                      <a:lnTo>
                        <a:pt x="2406" y="3612"/>
                      </a:lnTo>
                      <a:lnTo>
                        <a:pt x="2412" y="3600"/>
                      </a:lnTo>
                      <a:lnTo>
                        <a:pt x="2424" y="3594"/>
                      </a:lnTo>
                      <a:lnTo>
                        <a:pt x="2436" y="3594"/>
                      </a:lnTo>
                      <a:lnTo>
                        <a:pt x="2454" y="3576"/>
                      </a:lnTo>
                      <a:lnTo>
                        <a:pt x="2466" y="3546"/>
                      </a:lnTo>
                      <a:lnTo>
                        <a:pt x="2466" y="3486"/>
                      </a:lnTo>
                      <a:lnTo>
                        <a:pt x="2466" y="3468"/>
                      </a:lnTo>
                      <a:lnTo>
                        <a:pt x="2460" y="3456"/>
                      </a:lnTo>
                      <a:lnTo>
                        <a:pt x="2460" y="3450"/>
                      </a:lnTo>
                      <a:lnTo>
                        <a:pt x="2454" y="3450"/>
                      </a:lnTo>
                      <a:lnTo>
                        <a:pt x="2454" y="3456"/>
                      </a:lnTo>
                      <a:lnTo>
                        <a:pt x="2442" y="3462"/>
                      </a:lnTo>
                      <a:lnTo>
                        <a:pt x="2436" y="3468"/>
                      </a:lnTo>
                      <a:lnTo>
                        <a:pt x="2424" y="3474"/>
                      </a:lnTo>
                      <a:lnTo>
                        <a:pt x="2412" y="3486"/>
                      </a:lnTo>
                      <a:lnTo>
                        <a:pt x="2406" y="3498"/>
                      </a:lnTo>
                      <a:lnTo>
                        <a:pt x="2406" y="3510"/>
                      </a:lnTo>
                      <a:lnTo>
                        <a:pt x="2400" y="3522"/>
                      </a:lnTo>
                      <a:lnTo>
                        <a:pt x="2394" y="3534"/>
                      </a:lnTo>
                      <a:lnTo>
                        <a:pt x="2382" y="3552"/>
                      </a:lnTo>
                      <a:lnTo>
                        <a:pt x="2334" y="3582"/>
                      </a:lnTo>
                      <a:lnTo>
                        <a:pt x="2274" y="3588"/>
                      </a:lnTo>
                      <a:lnTo>
                        <a:pt x="2256" y="3594"/>
                      </a:lnTo>
                      <a:lnTo>
                        <a:pt x="2250" y="3588"/>
                      </a:lnTo>
                      <a:lnTo>
                        <a:pt x="2244" y="3582"/>
                      </a:lnTo>
                      <a:lnTo>
                        <a:pt x="2244" y="3576"/>
                      </a:lnTo>
                      <a:lnTo>
                        <a:pt x="2250" y="3570"/>
                      </a:lnTo>
                      <a:lnTo>
                        <a:pt x="2256" y="3564"/>
                      </a:lnTo>
                      <a:lnTo>
                        <a:pt x="2268" y="3558"/>
                      </a:lnTo>
                      <a:lnTo>
                        <a:pt x="2286" y="3546"/>
                      </a:lnTo>
                      <a:lnTo>
                        <a:pt x="2304" y="3534"/>
                      </a:lnTo>
                      <a:lnTo>
                        <a:pt x="2322" y="3522"/>
                      </a:lnTo>
                      <a:lnTo>
                        <a:pt x="2334" y="3504"/>
                      </a:lnTo>
                      <a:lnTo>
                        <a:pt x="2352" y="3480"/>
                      </a:lnTo>
                      <a:lnTo>
                        <a:pt x="2382" y="3444"/>
                      </a:lnTo>
                      <a:lnTo>
                        <a:pt x="2424" y="3408"/>
                      </a:lnTo>
                      <a:lnTo>
                        <a:pt x="2460" y="3372"/>
                      </a:lnTo>
                      <a:lnTo>
                        <a:pt x="2466" y="3360"/>
                      </a:lnTo>
                      <a:lnTo>
                        <a:pt x="2466" y="3348"/>
                      </a:lnTo>
                      <a:lnTo>
                        <a:pt x="2466" y="3336"/>
                      </a:lnTo>
                      <a:lnTo>
                        <a:pt x="2466" y="3324"/>
                      </a:lnTo>
                      <a:lnTo>
                        <a:pt x="2466" y="3312"/>
                      </a:lnTo>
                      <a:lnTo>
                        <a:pt x="2472" y="3306"/>
                      </a:lnTo>
                      <a:lnTo>
                        <a:pt x="2478" y="3300"/>
                      </a:lnTo>
                      <a:lnTo>
                        <a:pt x="2490" y="3294"/>
                      </a:lnTo>
                      <a:lnTo>
                        <a:pt x="2502" y="3282"/>
                      </a:lnTo>
                      <a:lnTo>
                        <a:pt x="2520" y="3276"/>
                      </a:lnTo>
                      <a:lnTo>
                        <a:pt x="2532" y="3270"/>
                      </a:lnTo>
                      <a:lnTo>
                        <a:pt x="2550" y="3240"/>
                      </a:lnTo>
                      <a:lnTo>
                        <a:pt x="2556" y="3204"/>
                      </a:lnTo>
                      <a:lnTo>
                        <a:pt x="2556" y="3168"/>
                      </a:lnTo>
                      <a:lnTo>
                        <a:pt x="2556" y="3168"/>
                      </a:lnTo>
                      <a:lnTo>
                        <a:pt x="2550" y="3168"/>
                      </a:lnTo>
                      <a:lnTo>
                        <a:pt x="2544" y="3174"/>
                      </a:lnTo>
                      <a:lnTo>
                        <a:pt x="2532" y="3180"/>
                      </a:lnTo>
                      <a:lnTo>
                        <a:pt x="2526" y="3192"/>
                      </a:lnTo>
                      <a:lnTo>
                        <a:pt x="2514" y="3204"/>
                      </a:lnTo>
                      <a:lnTo>
                        <a:pt x="2502" y="3210"/>
                      </a:lnTo>
                      <a:lnTo>
                        <a:pt x="2496" y="3216"/>
                      </a:lnTo>
                      <a:lnTo>
                        <a:pt x="2478" y="3222"/>
                      </a:lnTo>
                      <a:lnTo>
                        <a:pt x="2460" y="3234"/>
                      </a:lnTo>
                      <a:lnTo>
                        <a:pt x="2448" y="3246"/>
                      </a:lnTo>
                      <a:lnTo>
                        <a:pt x="2436" y="3258"/>
                      </a:lnTo>
                      <a:lnTo>
                        <a:pt x="2430" y="3270"/>
                      </a:lnTo>
                      <a:lnTo>
                        <a:pt x="2424" y="3282"/>
                      </a:lnTo>
                      <a:lnTo>
                        <a:pt x="2418" y="3288"/>
                      </a:lnTo>
                      <a:lnTo>
                        <a:pt x="2412" y="3300"/>
                      </a:lnTo>
                      <a:lnTo>
                        <a:pt x="2406" y="3306"/>
                      </a:lnTo>
                      <a:lnTo>
                        <a:pt x="2394" y="3312"/>
                      </a:lnTo>
                      <a:lnTo>
                        <a:pt x="2382" y="3312"/>
                      </a:lnTo>
                      <a:lnTo>
                        <a:pt x="2370" y="3312"/>
                      </a:lnTo>
                      <a:lnTo>
                        <a:pt x="2352" y="3324"/>
                      </a:lnTo>
                      <a:lnTo>
                        <a:pt x="2334" y="3336"/>
                      </a:lnTo>
                      <a:lnTo>
                        <a:pt x="2322" y="3354"/>
                      </a:lnTo>
                      <a:lnTo>
                        <a:pt x="2310" y="3372"/>
                      </a:lnTo>
                      <a:lnTo>
                        <a:pt x="2298" y="3378"/>
                      </a:lnTo>
                      <a:lnTo>
                        <a:pt x="2292" y="3390"/>
                      </a:lnTo>
                      <a:lnTo>
                        <a:pt x="2286" y="3390"/>
                      </a:lnTo>
                      <a:lnTo>
                        <a:pt x="2280" y="3396"/>
                      </a:lnTo>
                      <a:lnTo>
                        <a:pt x="2268" y="3402"/>
                      </a:lnTo>
                      <a:lnTo>
                        <a:pt x="2256" y="3408"/>
                      </a:lnTo>
                      <a:lnTo>
                        <a:pt x="2238" y="3414"/>
                      </a:lnTo>
                      <a:lnTo>
                        <a:pt x="2220" y="3432"/>
                      </a:lnTo>
                      <a:lnTo>
                        <a:pt x="2208" y="3450"/>
                      </a:lnTo>
                      <a:lnTo>
                        <a:pt x="2208" y="3462"/>
                      </a:lnTo>
                      <a:lnTo>
                        <a:pt x="2202" y="3480"/>
                      </a:lnTo>
                      <a:lnTo>
                        <a:pt x="2202" y="3492"/>
                      </a:lnTo>
                      <a:lnTo>
                        <a:pt x="2202" y="3510"/>
                      </a:lnTo>
                      <a:lnTo>
                        <a:pt x="2202" y="3522"/>
                      </a:lnTo>
                      <a:lnTo>
                        <a:pt x="2196" y="3528"/>
                      </a:lnTo>
                      <a:lnTo>
                        <a:pt x="2184" y="3528"/>
                      </a:lnTo>
                      <a:lnTo>
                        <a:pt x="2178" y="3522"/>
                      </a:lnTo>
                      <a:lnTo>
                        <a:pt x="2166" y="3516"/>
                      </a:lnTo>
                      <a:lnTo>
                        <a:pt x="2160" y="3510"/>
                      </a:lnTo>
                      <a:lnTo>
                        <a:pt x="2154" y="3498"/>
                      </a:lnTo>
                      <a:lnTo>
                        <a:pt x="2142" y="3498"/>
                      </a:lnTo>
                      <a:lnTo>
                        <a:pt x="2130" y="3492"/>
                      </a:lnTo>
                      <a:lnTo>
                        <a:pt x="2118" y="3486"/>
                      </a:lnTo>
                      <a:lnTo>
                        <a:pt x="2112" y="3480"/>
                      </a:lnTo>
                      <a:lnTo>
                        <a:pt x="2100" y="3474"/>
                      </a:lnTo>
                      <a:lnTo>
                        <a:pt x="2100" y="3462"/>
                      </a:lnTo>
                      <a:lnTo>
                        <a:pt x="2100" y="3450"/>
                      </a:lnTo>
                      <a:lnTo>
                        <a:pt x="2106" y="3444"/>
                      </a:lnTo>
                      <a:lnTo>
                        <a:pt x="2112" y="3438"/>
                      </a:lnTo>
                      <a:lnTo>
                        <a:pt x="2118" y="3444"/>
                      </a:lnTo>
                      <a:lnTo>
                        <a:pt x="2130" y="3444"/>
                      </a:lnTo>
                      <a:lnTo>
                        <a:pt x="2142" y="3444"/>
                      </a:lnTo>
                      <a:lnTo>
                        <a:pt x="2154" y="3444"/>
                      </a:lnTo>
                      <a:lnTo>
                        <a:pt x="2160" y="3426"/>
                      </a:lnTo>
                      <a:lnTo>
                        <a:pt x="2160" y="3396"/>
                      </a:lnTo>
                      <a:lnTo>
                        <a:pt x="2154" y="3354"/>
                      </a:lnTo>
                      <a:lnTo>
                        <a:pt x="2142" y="3312"/>
                      </a:lnTo>
                      <a:lnTo>
                        <a:pt x="2136" y="3288"/>
                      </a:lnTo>
                      <a:lnTo>
                        <a:pt x="2136" y="3276"/>
                      </a:lnTo>
                      <a:lnTo>
                        <a:pt x="2130" y="3264"/>
                      </a:lnTo>
                      <a:lnTo>
                        <a:pt x="2124" y="3252"/>
                      </a:lnTo>
                      <a:lnTo>
                        <a:pt x="2118" y="3246"/>
                      </a:lnTo>
                      <a:lnTo>
                        <a:pt x="2106" y="3252"/>
                      </a:lnTo>
                      <a:lnTo>
                        <a:pt x="2100" y="3252"/>
                      </a:lnTo>
                      <a:lnTo>
                        <a:pt x="2094" y="3252"/>
                      </a:lnTo>
                      <a:lnTo>
                        <a:pt x="2088" y="3246"/>
                      </a:lnTo>
                      <a:lnTo>
                        <a:pt x="2082" y="3234"/>
                      </a:lnTo>
                      <a:lnTo>
                        <a:pt x="2076" y="3216"/>
                      </a:lnTo>
                      <a:lnTo>
                        <a:pt x="2076" y="3204"/>
                      </a:lnTo>
                      <a:lnTo>
                        <a:pt x="2076" y="3186"/>
                      </a:lnTo>
                      <a:lnTo>
                        <a:pt x="2088" y="3168"/>
                      </a:lnTo>
                      <a:lnTo>
                        <a:pt x="2094" y="3150"/>
                      </a:lnTo>
                      <a:lnTo>
                        <a:pt x="2106" y="3138"/>
                      </a:lnTo>
                      <a:lnTo>
                        <a:pt x="2118" y="3126"/>
                      </a:lnTo>
                      <a:lnTo>
                        <a:pt x="2124" y="3114"/>
                      </a:lnTo>
                      <a:lnTo>
                        <a:pt x="2124" y="3102"/>
                      </a:lnTo>
                      <a:lnTo>
                        <a:pt x="2118" y="3090"/>
                      </a:lnTo>
                      <a:lnTo>
                        <a:pt x="2112" y="3084"/>
                      </a:lnTo>
                      <a:lnTo>
                        <a:pt x="2100" y="3072"/>
                      </a:lnTo>
                      <a:lnTo>
                        <a:pt x="2088" y="3066"/>
                      </a:lnTo>
                      <a:lnTo>
                        <a:pt x="2076" y="3066"/>
                      </a:lnTo>
                      <a:lnTo>
                        <a:pt x="2058" y="3060"/>
                      </a:lnTo>
                      <a:lnTo>
                        <a:pt x="2046" y="3054"/>
                      </a:lnTo>
                      <a:lnTo>
                        <a:pt x="2040" y="3042"/>
                      </a:lnTo>
                      <a:lnTo>
                        <a:pt x="2040" y="3036"/>
                      </a:lnTo>
                      <a:lnTo>
                        <a:pt x="2040" y="3024"/>
                      </a:lnTo>
                      <a:lnTo>
                        <a:pt x="2046" y="3012"/>
                      </a:lnTo>
                      <a:lnTo>
                        <a:pt x="2046" y="3012"/>
                      </a:lnTo>
                      <a:lnTo>
                        <a:pt x="2034" y="3006"/>
                      </a:lnTo>
                      <a:lnTo>
                        <a:pt x="2022" y="3006"/>
                      </a:lnTo>
                      <a:lnTo>
                        <a:pt x="1998" y="3012"/>
                      </a:lnTo>
                      <a:lnTo>
                        <a:pt x="1980" y="3006"/>
                      </a:lnTo>
                      <a:lnTo>
                        <a:pt x="1968" y="3000"/>
                      </a:lnTo>
                      <a:lnTo>
                        <a:pt x="1956" y="2988"/>
                      </a:lnTo>
                      <a:lnTo>
                        <a:pt x="1944" y="2976"/>
                      </a:lnTo>
                      <a:lnTo>
                        <a:pt x="1932" y="2958"/>
                      </a:lnTo>
                      <a:lnTo>
                        <a:pt x="1920" y="2946"/>
                      </a:lnTo>
                      <a:lnTo>
                        <a:pt x="1914" y="2934"/>
                      </a:lnTo>
                      <a:lnTo>
                        <a:pt x="1896" y="2916"/>
                      </a:lnTo>
                      <a:lnTo>
                        <a:pt x="1884" y="2910"/>
                      </a:lnTo>
                      <a:lnTo>
                        <a:pt x="1866" y="2910"/>
                      </a:lnTo>
                      <a:lnTo>
                        <a:pt x="1848" y="2910"/>
                      </a:lnTo>
                      <a:lnTo>
                        <a:pt x="1818" y="2916"/>
                      </a:lnTo>
                      <a:lnTo>
                        <a:pt x="1770" y="2916"/>
                      </a:lnTo>
                      <a:lnTo>
                        <a:pt x="1722" y="2916"/>
                      </a:lnTo>
                      <a:lnTo>
                        <a:pt x="1680" y="2916"/>
                      </a:lnTo>
                      <a:lnTo>
                        <a:pt x="1596" y="2934"/>
                      </a:lnTo>
                      <a:lnTo>
                        <a:pt x="1512" y="2964"/>
                      </a:lnTo>
                      <a:lnTo>
                        <a:pt x="1458" y="2982"/>
                      </a:lnTo>
                      <a:lnTo>
                        <a:pt x="1410" y="2982"/>
                      </a:lnTo>
                      <a:lnTo>
                        <a:pt x="1368" y="2970"/>
                      </a:lnTo>
                      <a:lnTo>
                        <a:pt x="1320" y="2970"/>
                      </a:lnTo>
                      <a:lnTo>
                        <a:pt x="1266" y="2982"/>
                      </a:lnTo>
                      <a:lnTo>
                        <a:pt x="1212" y="2994"/>
                      </a:lnTo>
                      <a:lnTo>
                        <a:pt x="1158" y="3000"/>
                      </a:lnTo>
                      <a:lnTo>
                        <a:pt x="1104" y="3000"/>
                      </a:lnTo>
                      <a:lnTo>
                        <a:pt x="1068" y="3018"/>
                      </a:lnTo>
                      <a:lnTo>
                        <a:pt x="1032" y="3060"/>
                      </a:lnTo>
                      <a:lnTo>
                        <a:pt x="1008" y="3102"/>
                      </a:lnTo>
                      <a:lnTo>
                        <a:pt x="996" y="3114"/>
                      </a:lnTo>
                      <a:lnTo>
                        <a:pt x="990" y="3120"/>
                      </a:lnTo>
                      <a:lnTo>
                        <a:pt x="984" y="3126"/>
                      </a:lnTo>
                      <a:lnTo>
                        <a:pt x="978" y="3132"/>
                      </a:lnTo>
                      <a:lnTo>
                        <a:pt x="972" y="3132"/>
                      </a:lnTo>
                      <a:lnTo>
                        <a:pt x="966" y="3144"/>
                      </a:lnTo>
                      <a:lnTo>
                        <a:pt x="960" y="3156"/>
                      </a:lnTo>
                      <a:lnTo>
                        <a:pt x="942" y="3180"/>
                      </a:lnTo>
                      <a:lnTo>
                        <a:pt x="918" y="3186"/>
                      </a:lnTo>
                      <a:lnTo>
                        <a:pt x="894" y="3180"/>
                      </a:lnTo>
                      <a:lnTo>
                        <a:pt x="864" y="3156"/>
                      </a:lnTo>
                      <a:lnTo>
                        <a:pt x="840" y="3144"/>
                      </a:lnTo>
                      <a:lnTo>
                        <a:pt x="810" y="3150"/>
                      </a:lnTo>
                      <a:lnTo>
                        <a:pt x="780" y="3156"/>
                      </a:lnTo>
                      <a:lnTo>
                        <a:pt x="762" y="3150"/>
                      </a:lnTo>
                      <a:lnTo>
                        <a:pt x="732" y="3138"/>
                      </a:lnTo>
                      <a:lnTo>
                        <a:pt x="696" y="3138"/>
                      </a:lnTo>
                      <a:lnTo>
                        <a:pt x="654" y="3156"/>
                      </a:lnTo>
                      <a:lnTo>
                        <a:pt x="642" y="3168"/>
                      </a:lnTo>
                      <a:lnTo>
                        <a:pt x="630" y="3174"/>
                      </a:lnTo>
                      <a:lnTo>
                        <a:pt x="618" y="3174"/>
                      </a:lnTo>
                      <a:lnTo>
                        <a:pt x="606" y="3168"/>
                      </a:lnTo>
                      <a:lnTo>
                        <a:pt x="600" y="3168"/>
                      </a:lnTo>
                      <a:lnTo>
                        <a:pt x="594" y="3156"/>
                      </a:lnTo>
                      <a:lnTo>
                        <a:pt x="582" y="3150"/>
                      </a:lnTo>
                      <a:lnTo>
                        <a:pt x="570" y="3138"/>
                      </a:lnTo>
                      <a:lnTo>
                        <a:pt x="540" y="3132"/>
                      </a:lnTo>
                      <a:lnTo>
                        <a:pt x="504" y="3144"/>
                      </a:lnTo>
                      <a:lnTo>
                        <a:pt x="468" y="3162"/>
                      </a:lnTo>
                      <a:lnTo>
                        <a:pt x="444" y="3186"/>
                      </a:lnTo>
                      <a:lnTo>
                        <a:pt x="432" y="3198"/>
                      </a:lnTo>
                      <a:lnTo>
                        <a:pt x="426" y="3198"/>
                      </a:lnTo>
                      <a:lnTo>
                        <a:pt x="420" y="3198"/>
                      </a:lnTo>
                      <a:lnTo>
                        <a:pt x="414" y="3198"/>
                      </a:lnTo>
                      <a:lnTo>
                        <a:pt x="408" y="3198"/>
                      </a:lnTo>
                      <a:lnTo>
                        <a:pt x="402" y="3198"/>
                      </a:lnTo>
                      <a:lnTo>
                        <a:pt x="396" y="3204"/>
                      </a:lnTo>
                      <a:lnTo>
                        <a:pt x="390" y="3216"/>
                      </a:lnTo>
                      <a:lnTo>
                        <a:pt x="378" y="3222"/>
                      </a:lnTo>
                      <a:lnTo>
                        <a:pt x="366" y="3222"/>
                      </a:lnTo>
                      <a:lnTo>
                        <a:pt x="348" y="3222"/>
                      </a:lnTo>
                      <a:lnTo>
                        <a:pt x="336" y="3228"/>
                      </a:lnTo>
                      <a:lnTo>
                        <a:pt x="324" y="3240"/>
                      </a:lnTo>
                      <a:lnTo>
                        <a:pt x="312" y="3246"/>
                      </a:lnTo>
                      <a:lnTo>
                        <a:pt x="300" y="3252"/>
                      </a:lnTo>
                      <a:lnTo>
                        <a:pt x="282" y="3252"/>
                      </a:lnTo>
                      <a:lnTo>
                        <a:pt x="270" y="3246"/>
                      </a:lnTo>
                      <a:lnTo>
                        <a:pt x="252" y="3246"/>
                      </a:lnTo>
                      <a:lnTo>
                        <a:pt x="234" y="3246"/>
                      </a:lnTo>
                      <a:lnTo>
                        <a:pt x="198" y="3240"/>
                      </a:lnTo>
                      <a:lnTo>
                        <a:pt x="168" y="3228"/>
                      </a:lnTo>
                      <a:lnTo>
                        <a:pt x="138" y="3210"/>
                      </a:lnTo>
                      <a:lnTo>
                        <a:pt x="120" y="3204"/>
                      </a:lnTo>
                      <a:lnTo>
                        <a:pt x="96" y="3192"/>
                      </a:lnTo>
                      <a:lnTo>
                        <a:pt x="72" y="3168"/>
                      </a:lnTo>
                      <a:lnTo>
                        <a:pt x="42" y="3138"/>
                      </a:lnTo>
                      <a:lnTo>
                        <a:pt x="18" y="3114"/>
                      </a:lnTo>
                      <a:lnTo>
                        <a:pt x="6" y="3102"/>
                      </a:lnTo>
                      <a:lnTo>
                        <a:pt x="0" y="3090"/>
                      </a:lnTo>
                      <a:lnTo>
                        <a:pt x="0" y="3084"/>
                      </a:lnTo>
                      <a:lnTo>
                        <a:pt x="0" y="3078"/>
                      </a:lnTo>
                      <a:lnTo>
                        <a:pt x="6" y="3066"/>
                      </a:lnTo>
                      <a:lnTo>
                        <a:pt x="6" y="3054"/>
                      </a:lnTo>
                      <a:lnTo>
                        <a:pt x="12" y="3042"/>
                      </a:lnTo>
                      <a:lnTo>
                        <a:pt x="24" y="3030"/>
                      </a:lnTo>
                      <a:lnTo>
                        <a:pt x="36" y="3024"/>
                      </a:lnTo>
                      <a:lnTo>
                        <a:pt x="54" y="3024"/>
                      </a:lnTo>
                      <a:lnTo>
                        <a:pt x="66" y="3018"/>
                      </a:lnTo>
                      <a:lnTo>
                        <a:pt x="78" y="3018"/>
                      </a:lnTo>
                      <a:lnTo>
                        <a:pt x="90" y="3018"/>
                      </a:lnTo>
                      <a:lnTo>
                        <a:pt x="102" y="3012"/>
                      </a:lnTo>
                      <a:lnTo>
                        <a:pt x="120" y="3000"/>
                      </a:lnTo>
                      <a:lnTo>
                        <a:pt x="144" y="2976"/>
                      </a:lnTo>
                      <a:lnTo>
                        <a:pt x="150" y="2940"/>
                      </a:lnTo>
                      <a:lnTo>
                        <a:pt x="150" y="2898"/>
                      </a:lnTo>
                      <a:lnTo>
                        <a:pt x="144" y="2886"/>
                      </a:lnTo>
                      <a:lnTo>
                        <a:pt x="150" y="2868"/>
                      </a:lnTo>
                      <a:lnTo>
                        <a:pt x="156" y="2856"/>
                      </a:lnTo>
                      <a:lnTo>
                        <a:pt x="168" y="2844"/>
                      </a:lnTo>
                      <a:lnTo>
                        <a:pt x="186" y="2826"/>
                      </a:lnTo>
                      <a:lnTo>
                        <a:pt x="204" y="2808"/>
                      </a:lnTo>
                      <a:lnTo>
                        <a:pt x="216" y="2772"/>
                      </a:lnTo>
                      <a:lnTo>
                        <a:pt x="216" y="2736"/>
                      </a:lnTo>
                      <a:lnTo>
                        <a:pt x="204" y="2712"/>
                      </a:lnTo>
                      <a:lnTo>
                        <a:pt x="192" y="2688"/>
                      </a:lnTo>
                      <a:lnTo>
                        <a:pt x="180" y="2676"/>
                      </a:lnTo>
                      <a:lnTo>
                        <a:pt x="168" y="2652"/>
                      </a:lnTo>
                      <a:lnTo>
                        <a:pt x="168" y="2628"/>
                      </a:lnTo>
                      <a:lnTo>
                        <a:pt x="180" y="2586"/>
                      </a:lnTo>
                      <a:lnTo>
                        <a:pt x="192" y="2526"/>
                      </a:lnTo>
                      <a:lnTo>
                        <a:pt x="192" y="2460"/>
                      </a:lnTo>
                      <a:lnTo>
                        <a:pt x="204" y="2406"/>
                      </a:lnTo>
                      <a:lnTo>
                        <a:pt x="222" y="2352"/>
                      </a:lnTo>
                      <a:lnTo>
                        <a:pt x="216" y="2304"/>
                      </a:lnTo>
                      <a:lnTo>
                        <a:pt x="210" y="2262"/>
                      </a:lnTo>
                      <a:lnTo>
                        <a:pt x="204" y="2256"/>
                      </a:lnTo>
                      <a:lnTo>
                        <a:pt x="204" y="2244"/>
                      </a:lnTo>
                      <a:lnTo>
                        <a:pt x="198" y="2244"/>
                      </a:lnTo>
                      <a:lnTo>
                        <a:pt x="192" y="2238"/>
                      </a:lnTo>
                      <a:lnTo>
                        <a:pt x="186" y="2232"/>
                      </a:lnTo>
                      <a:lnTo>
                        <a:pt x="180" y="2220"/>
                      </a:lnTo>
                      <a:lnTo>
                        <a:pt x="180" y="2208"/>
                      </a:lnTo>
                      <a:lnTo>
                        <a:pt x="180" y="2184"/>
                      </a:lnTo>
                      <a:lnTo>
                        <a:pt x="186" y="2148"/>
                      </a:lnTo>
                      <a:lnTo>
                        <a:pt x="192" y="2130"/>
                      </a:lnTo>
                      <a:lnTo>
                        <a:pt x="204" y="2112"/>
                      </a:lnTo>
                      <a:lnTo>
                        <a:pt x="204" y="2088"/>
                      </a:lnTo>
                      <a:lnTo>
                        <a:pt x="186" y="2028"/>
                      </a:lnTo>
                      <a:lnTo>
                        <a:pt x="156" y="1944"/>
                      </a:lnTo>
                      <a:lnTo>
                        <a:pt x="150" y="1926"/>
                      </a:lnTo>
                      <a:lnTo>
                        <a:pt x="150" y="1914"/>
                      </a:lnTo>
                      <a:lnTo>
                        <a:pt x="150" y="1908"/>
                      </a:lnTo>
                      <a:lnTo>
                        <a:pt x="150" y="1908"/>
                      </a:lnTo>
                      <a:lnTo>
                        <a:pt x="156" y="1908"/>
                      </a:lnTo>
                      <a:lnTo>
                        <a:pt x="162" y="1908"/>
                      </a:lnTo>
                      <a:lnTo>
                        <a:pt x="168" y="1914"/>
                      </a:lnTo>
                      <a:lnTo>
                        <a:pt x="174" y="1920"/>
                      </a:lnTo>
                      <a:lnTo>
                        <a:pt x="180" y="1920"/>
                      </a:lnTo>
                      <a:lnTo>
                        <a:pt x="186" y="1914"/>
                      </a:lnTo>
                      <a:lnTo>
                        <a:pt x="192" y="1908"/>
                      </a:lnTo>
                      <a:lnTo>
                        <a:pt x="192" y="1902"/>
                      </a:lnTo>
                      <a:lnTo>
                        <a:pt x="192" y="1890"/>
                      </a:lnTo>
                      <a:lnTo>
                        <a:pt x="198" y="1872"/>
                      </a:lnTo>
                      <a:lnTo>
                        <a:pt x="204" y="1872"/>
                      </a:lnTo>
                      <a:lnTo>
                        <a:pt x="204" y="1872"/>
                      </a:lnTo>
                      <a:lnTo>
                        <a:pt x="210" y="1878"/>
                      </a:lnTo>
                      <a:lnTo>
                        <a:pt x="216" y="1890"/>
                      </a:lnTo>
                      <a:lnTo>
                        <a:pt x="222" y="1908"/>
                      </a:lnTo>
                      <a:lnTo>
                        <a:pt x="228" y="1920"/>
                      </a:lnTo>
                      <a:lnTo>
                        <a:pt x="234" y="1932"/>
                      </a:lnTo>
                      <a:lnTo>
                        <a:pt x="240" y="1944"/>
                      </a:lnTo>
                      <a:lnTo>
                        <a:pt x="252" y="1950"/>
                      </a:lnTo>
                      <a:lnTo>
                        <a:pt x="264" y="1962"/>
                      </a:lnTo>
                      <a:lnTo>
                        <a:pt x="276" y="1962"/>
                      </a:lnTo>
                      <a:lnTo>
                        <a:pt x="288" y="1962"/>
                      </a:lnTo>
                      <a:lnTo>
                        <a:pt x="294" y="1956"/>
                      </a:lnTo>
                      <a:lnTo>
                        <a:pt x="294" y="1944"/>
                      </a:lnTo>
                      <a:lnTo>
                        <a:pt x="294" y="1932"/>
                      </a:lnTo>
                      <a:lnTo>
                        <a:pt x="288" y="1920"/>
                      </a:lnTo>
                      <a:lnTo>
                        <a:pt x="282" y="1908"/>
                      </a:lnTo>
                      <a:lnTo>
                        <a:pt x="276" y="1890"/>
                      </a:lnTo>
                      <a:lnTo>
                        <a:pt x="270" y="1872"/>
                      </a:lnTo>
                      <a:lnTo>
                        <a:pt x="258" y="1800"/>
                      </a:lnTo>
                      <a:lnTo>
                        <a:pt x="252" y="1722"/>
                      </a:lnTo>
                      <a:lnTo>
                        <a:pt x="258" y="1674"/>
                      </a:lnTo>
                      <a:lnTo>
                        <a:pt x="270" y="1638"/>
                      </a:lnTo>
                      <a:lnTo>
                        <a:pt x="294" y="1608"/>
                      </a:lnTo>
                      <a:lnTo>
                        <a:pt x="306" y="1584"/>
                      </a:lnTo>
                      <a:lnTo>
                        <a:pt x="300" y="1560"/>
                      </a:lnTo>
                      <a:lnTo>
                        <a:pt x="294" y="1536"/>
                      </a:lnTo>
                      <a:lnTo>
                        <a:pt x="294" y="1506"/>
                      </a:lnTo>
                      <a:lnTo>
                        <a:pt x="312" y="1464"/>
                      </a:lnTo>
                      <a:lnTo>
                        <a:pt x="330" y="1404"/>
                      </a:lnTo>
                      <a:lnTo>
                        <a:pt x="366" y="1338"/>
                      </a:lnTo>
                      <a:lnTo>
                        <a:pt x="378" y="1326"/>
                      </a:lnTo>
                      <a:lnTo>
                        <a:pt x="390" y="1320"/>
                      </a:lnTo>
                      <a:lnTo>
                        <a:pt x="396" y="1320"/>
                      </a:lnTo>
                      <a:lnTo>
                        <a:pt x="396" y="1326"/>
                      </a:lnTo>
                      <a:lnTo>
                        <a:pt x="396" y="1332"/>
                      </a:lnTo>
                      <a:lnTo>
                        <a:pt x="396" y="1344"/>
                      </a:lnTo>
                      <a:lnTo>
                        <a:pt x="390" y="1362"/>
                      </a:lnTo>
                      <a:lnTo>
                        <a:pt x="390" y="1380"/>
                      </a:lnTo>
                      <a:lnTo>
                        <a:pt x="384" y="1398"/>
                      </a:lnTo>
                      <a:lnTo>
                        <a:pt x="384" y="1416"/>
                      </a:lnTo>
                      <a:lnTo>
                        <a:pt x="378" y="1428"/>
                      </a:lnTo>
                      <a:lnTo>
                        <a:pt x="384" y="1434"/>
                      </a:lnTo>
                      <a:lnTo>
                        <a:pt x="384" y="1434"/>
                      </a:lnTo>
                      <a:lnTo>
                        <a:pt x="390" y="1428"/>
                      </a:lnTo>
                      <a:lnTo>
                        <a:pt x="402" y="1422"/>
                      </a:lnTo>
                      <a:lnTo>
                        <a:pt x="408" y="1410"/>
                      </a:lnTo>
                      <a:lnTo>
                        <a:pt x="420" y="1398"/>
                      </a:lnTo>
                      <a:lnTo>
                        <a:pt x="432" y="1380"/>
                      </a:lnTo>
                      <a:lnTo>
                        <a:pt x="444" y="1368"/>
                      </a:lnTo>
                      <a:lnTo>
                        <a:pt x="456" y="1356"/>
                      </a:lnTo>
                      <a:lnTo>
                        <a:pt x="462" y="1344"/>
                      </a:lnTo>
                      <a:lnTo>
                        <a:pt x="474" y="1332"/>
                      </a:lnTo>
                      <a:lnTo>
                        <a:pt x="492" y="1320"/>
                      </a:lnTo>
                      <a:lnTo>
                        <a:pt x="504" y="1308"/>
                      </a:lnTo>
                      <a:lnTo>
                        <a:pt x="522" y="1302"/>
                      </a:lnTo>
                      <a:lnTo>
                        <a:pt x="534" y="1296"/>
                      </a:lnTo>
                      <a:lnTo>
                        <a:pt x="558" y="1290"/>
                      </a:lnTo>
                      <a:lnTo>
                        <a:pt x="570" y="1284"/>
                      </a:lnTo>
                      <a:lnTo>
                        <a:pt x="582" y="1278"/>
                      </a:lnTo>
                      <a:lnTo>
                        <a:pt x="594" y="1272"/>
                      </a:lnTo>
                      <a:lnTo>
                        <a:pt x="600" y="1260"/>
                      </a:lnTo>
                      <a:lnTo>
                        <a:pt x="612" y="1248"/>
                      </a:lnTo>
                      <a:lnTo>
                        <a:pt x="630" y="1230"/>
                      </a:lnTo>
                      <a:lnTo>
                        <a:pt x="660" y="1218"/>
                      </a:lnTo>
                      <a:lnTo>
                        <a:pt x="696" y="1206"/>
                      </a:lnTo>
                      <a:lnTo>
                        <a:pt x="726" y="1206"/>
                      </a:lnTo>
                      <a:lnTo>
                        <a:pt x="750" y="1194"/>
                      </a:lnTo>
                      <a:lnTo>
                        <a:pt x="756" y="1188"/>
                      </a:lnTo>
                      <a:lnTo>
                        <a:pt x="768" y="1182"/>
                      </a:lnTo>
                      <a:lnTo>
                        <a:pt x="786" y="1176"/>
                      </a:lnTo>
                      <a:lnTo>
                        <a:pt x="798" y="1164"/>
                      </a:lnTo>
                      <a:lnTo>
                        <a:pt x="816" y="1158"/>
                      </a:lnTo>
                      <a:lnTo>
                        <a:pt x="840" y="1146"/>
                      </a:lnTo>
                      <a:lnTo>
                        <a:pt x="876" y="1146"/>
                      </a:lnTo>
                      <a:lnTo>
                        <a:pt x="918" y="1140"/>
                      </a:lnTo>
                      <a:lnTo>
                        <a:pt x="948" y="1128"/>
                      </a:lnTo>
                      <a:lnTo>
                        <a:pt x="984" y="1122"/>
                      </a:lnTo>
                      <a:lnTo>
                        <a:pt x="1032" y="1128"/>
                      </a:lnTo>
                      <a:lnTo>
                        <a:pt x="1110" y="1134"/>
                      </a:lnTo>
                      <a:lnTo>
                        <a:pt x="1164" y="1128"/>
                      </a:lnTo>
                      <a:lnTo>
                        <a:pt x="1206" y="1116"/>
                      </a:lnTo>
                      <a:lnTo>
                        <a:pt x="1236" y="1086"/>
                      </a:lnTo>
                      <a:lnTo>
                        <a:pt x="1278" y="1044"/>
                      </a:lnTo>
                      <a:lnTo>
                        <a:pt x="1314" y="1014"/>
                      </a:lnTo>
                      <a:lnTo>
                        <a:pt x="1332" y="990"/>
                      </a:lnTo>
                      <a:lnTo>
                        <a:pt x="1344" y="978"/>
                      </a:lnTo>
                      <a:lnTo>
                        <a:pt x="1356" y="966"/>
                      </a:lnTo>
                      <a:lnTo>
                        <a:pt x="1380" y="954"/>
                      </a:lnTo>
                      <a:lnTo>
                        <a:pt x="1392" y="942"/>
                      </a:lnTo>
                      <a:lnTo>
                        <a:pt x="1398" y="930"/>
                      </a:lnTo>
                      <a:lnTo>
                        <a:pt x="1398" y="912"/>
                      </a:lnTo>
                      <a:lnTo>
                        <a:pt x="1392" y="900"/>
                      </a:lnTo>
                      <a:lnTo>
                        <a:pt x="1386" y="882"/>
                      </a:lnTo>
                      <a:lnTo>
                        <a:pt x="1380" y="864"/>
                      </a:lnTo>
                      <a:lnTo>
                        <a:pt x="1374" y="852"/>
                      </a:lnTo>
                      <a:lnTo>
                        <a:pt x="1374" y="834"/>
                      </a:lnTo>
                      <a:lnTo>
                        <a:pt x="1380" y="822"/>
                      </a:lnTo>
                      <a:lnTo>
                        <a:pt x="1386" y="810"/>
                      </a:lnTo>
                      <a:lnTo>
                        <a:pt x="1398" y="798"/>
                      </a:lnTo>
                      <a:lnTo>
                        <a:pt x="1404" y="786"/>
                      </a:lnTo>
                      <a:lnTo>
                        <a:pt x="1410" y="774"/>
                      </a:lnTo>
                      <a:lnTo>
                        <a:pt x="1422" y="756"/>
                      </a:lnTo>
                      <a:lnTo>
                        <a:pt x="1440" y="744"/>
                      </a:lnTo>
                      <a:lnTo>
                        <a:pt x="1458" y="726"/>
                      </a:lnTo>
                      <a:lnTo>
                        <a:pt x="1476" y="714"/>
                      </a:lnTo>
                      <a:lnTo>
                        <a:pt x="1488" y="702"/>
                      </a:lnTo>
                      <a:lnTo>
                        <a:pt x="1494" y="696"/>
                      </a:lnTo>
                      <a:lnTo>
                        <a:pt x="1500" y="684"/>
                      </a:lnTo>
                      <a:lnTo>
                        <a:pt x="1506" y="678"/>
                      </a:lnTo>
                      <a:lnTo>
                        <a:pt x="1512" y="666"/>
                      </a:lnTo>
                      <a:lnTo>
                        <a:pt x="1518" y="666"/>
                      </a:lnTo>
                      <a:lnTo>
                        <a:pt x="1524" y="666"/>
                      </a:lnTo>
                      <a:lnTo>
                        <a:pt x="1530" y="672"/>
                      </a:lnTo>
                      <a:lnTo>
                        <a:pt x="1536" y="696"/>
                      </a:lnTo>
                      <a:lnTo>
                        <a:pt x="1536" y="726"/>
                      </a:lnTo>
                      <a:lnTo>
                        <a:pt x="1536" y="768"/>
                      </a:lnTo>
                      <a:lnTo>
                        <a:pt x="1548" y="822"/>
                      </a:lnTo>
                      <a:lnTo>
                        <a:pt x="1560" y="852"/>
                      </a:lnTo>
                      <a:lnTo>
                        <a:pt x="1566" y="864"/>
                      </a:lnTo>
                      <a:lnTo>
                        <a:pt x="1572" y="876"/>
                      </a:lnTo>
                      <a:lnTo>
                        <a:pt x="1578" y="876"/>
                      </a:lnTo>
                      <a:lnTo>
                        <a:pt x="1578" y="870"/>
                      </a:lnTo>
                      <a:lnTo>
                        <a:pt x="1584" y="858"/>
                      </a:lnTo>
                      <a:lnTo>
                        <a:pt x="1590" y="846"/>
                      </a:lnTo>
                      <a:lnTo>
                        <a:pt x="1590" y="834"/>
                      </a:lnTo>
                      <a:lnTo>
                        <a:pt x="1596" y="816"/>
                      </a:lnTo>
                      <a:lnTo>
                        <a:pt x="1602" y="774"/>
                      </a:lnTo>
                      <a:lnTo>
                        <a:pt x="1602" y="732"/>
                      </a:lnTo>
                      <a:lnTo>
                        <a:pt x="1590" y="690"/>
                      </a:lnTo>
                      <a:lnTo>
                        <a:pt x="1584" y="678"/>
                      </a:lnTo>
                      <a:lnTo>
                        <a:pt x="1584" y="666"/>
                      </a:lnTo>
                      <a:lnTo>
                        <a:pt x="1590" y="660"/>
                      </a:lnTo>
                      <a:lnTo>
                        <a:pt x="1602" y="654"/>
                      </a:lnTo>
                      <a:lnTo>
                        <a:pt x="1608" y="648"/>
                      </a:lnTo>
                      <a:lnTo>
                        <a:pt x="1620" y="654"/>
                      </a:lnTo>
                      <a:lnTo>
                        <a:pt x="1632" y="654"/>
                      </a:lnTo>
                      <a:lnTo>
                        <a:pt x="1644" y="660"/>
                      </a:lnTo>
                      <a:lnTo>
                        <a:pt x="1650" y="660"/>
                      </a:lnTo>
                      <a:lnTo>
                        <a:pt x="1680" y="672"/>
                      </a:lnTo>
                      <a:lnTo>
                        <a:pt x="1716" y="666"/>
                      </a:lnTo>
                      <a:lnTo>
                        <a:pt x="1752" y="654"/>
                      </a:lnTo>
                      <a:lnTo>
                        <a:pt x="1758" y="648"/>
                      </a:lnTo>
                      <a:lnTo>
                        <a:pt x="1758" y="642"/>
                      </a:lnTo>
                      <a:lnTo>
                        <a:pt x="1752" y="636"/>
                      </a:lnTo>
                      <a:lnTo>
                        <a:pt x="1746" y="630"/>
                      </a:lnTo>
                      <a:lnTo>
                        <a:pt x="1734" y="630"/>
                      </a:lnTo>
                      <a:lnTo>
                        <a:pt x="1728" y="624"/>
                      </a:lnTo>
                      <a:lnTo>
                        <a:pt x="1716" y="618"/>
                      </a:lnTo>
                      <a:lnTo>
                        <a:pt x="1710" y="612"/>
                      </a:lnTo>
                      <a:lnTo>
                        <a:pt x="1710" y="594"/>
                      </a:lnTo>
                      <a:lnTo>
                        <a:pt x="1710" y="582"/>
                      </a:lnTo>
                      <a:lnTo>
                        <a:pt x="1722" y="564"/>
                      </a:lnTo>
                      <a:lnTo>
                        <a:pt x="1734" y="546"/>
                      </a:lnTo>
                      <a:lnTo>
                        <a:pt x="1740" y="534"/>
                      </a:lnTo>
                      <a:lnTo>
                        <a:pt x="1752" y="534"/>
                      </a:lnTo>
                      <a:lnTo>
                        <a:pt x="1758" y="534"/>
                      </a:lnTo>
                      <a:lnTo>
                        <a:pt x="1770" y="540"/>
                      </a:lnTo>
                      <a:lnTo>
                        <a:pt x="1782" y="552"/>
                      </a:lnTo>
                      <a:lnTo>
                        <a:pt x="1794" y="564"/>
                      </a:lnTo>
                      <a:lnTo>
                        <a:pt x="1800" y="570"/>
                      </a:lnTo>
                      <a:lnTo>
                        <a:pt x="1806" y="564"/>
                      </a:lnTo>
                      <a:lnTo>
                        <a:pt x="1806" y="558"/>
                      </a:lnTo>
                      <a:lnTo>
                        <a:pt x="1800" y="540"/>
                      </a:lnTo>
                      <a:lnTo>
                        <a:pt x="1800" y="522"/>
                      </a:lnTo>
                      <a:lnTo>
                        <a:pt x="1800" y="504"/>
                      </a:lnTo>
                      <a:lnTo>
                        <a:pt x="1800" y="486"/>
                      </a:lnTo>
                      <a:lnTo>
                        <a:pt x="1812" y="468"/>
                      </a:lnTo>
                      <a:lnTo>
                        <a:pt x="1824" y="450"/>
                      </a:lnTo>
                      <a:lnTo>
                        <a:pt x="1836" y="444"/>
                      </a:lnTo>
                      <a:lnTo>
                        <a:pt x="1848" y="438"/>
                      </a:lnTo>
                      <a:lnTo>
                        <a:pt x="1860" y="438"/>
                      </a:lnTo>
                      <a:lnTo>
                        <a:pt x="1866" y="438"/>
                      </a:lnTo>
                      <a:lnTo>
                        <a:pt x="1866" y="444"/>
                      </a:lnTo>
                      <a:lnTo>
                        <a:pt x="1866" y="456"/>
                      </a:lnTo>
                      <a:lnTo>
                        <a:pt x="1866" y="462"/>
                      </a:lnTo>
                      <a:lnTo>
                        <a:pt x="1872" y="468"/>
                      </a:lnTo>
                      <a:lnTo>
                        <a:pt x="1878" y="468"/>
                      </a:lnTo>
                      <a:lnTo>
                        <a:pt x="1890" y="462"/>
                      </a:lnTo>
                      <a:lnTo>
                        <a:pt x="1902" y="456"/>
                      </a:lnTo>
                      <a:lnTo>
                        <a:pt x="1914" y="450"/>
                      </a:lnTo>
                      <a:lnTo>
                        <a:pt x="1926" y="438"/>
                      </a:lnTo>
                      <a:lnTo>
                        <a:pt x="1932" y="426"/>
                      </a:lnTo>
                      <a:lnTo>
                        <a:pt x="1932" y="408"/>
                      </a:lnTo>
                      <a:lnTo>
                        <a:pt x="1926" y="396"/>
                      </a:lnTo>
                      <a:lnTo>
                        <a:pt x="1926" y="384"/>
                      </a:lnTo>
                      <a:lnTo>
                        <a:pt x="1926" y="378"/>
                      </a:lnTo>
                      <a:lnTo>
                        <a:pt x="1932" y="378"/>
                      </a:lnTo>
                      <a:lnTo>
                        <a:pt x="1938" y="378"/>
                      </a:lnTo>
                      <a:lnTo>
                        <a:pt x="1950" y="384"/>
                      </a:lnTo>
                      <a:lnTo>
                        <a:pt x="1956" y="384"/>
                      </a:lnTo>
                      <a:lnTo>
                        <a:pt x="1956" y="378"/>
                      </a:lnTo>
                      <a:lnTo>
                        <a:pt x="1962" y="372"/>
                      </a:lnTo>
                      <a:lnTo>
                        <a:pt x="1962" y="360"/>
                      </a:lnTo>
                      <a:lnTo>
                        <a:pt x="1968" y="354"/>
                      </a:lnTo>
                      <a:lnTo>
                        <a:pt x="1974" y="348"/>
                      </a:lnTo>
                      <a:lnTo>
                        <a:pt x="1986" y="354"/>
                      </a:lnTo>
                      <a:lnTo>
                        <a:pt x="1998" y="360"/>
                      </a:lnTo>
                      <a:lnTo>
                        <a:pt x="2004" y="366"/>
                      </a:lnTo>
                      <a:lnTo>
                        <a:pt x="2010" y="366"/>
                      </a:lnTo>
                      <a:lnTo>
                        <a:pt x="2010" y="360"/>
                      </a:lnTo>
                      <a:lnTo>
                        <a:pt x="2016" y="348"/>
                      </a:lnTo>
                      <a:lnTo>
                        <a:pt x="2016" y="336"/>
                      </a:lnTo>
                      <a:lnTo>
                        <a:pt x="2016" y="324"/>
                      </a:lnTo>
                      <a:lnTo>
                        <a:pt x="2016" y="312"/>
                      </a:lnTo>
                      <a:lnTo>
                        <a:pt x="2022" y="306"/>
                      </a:lnTo>
                      <a:lnTo>
                        <a:pt x="2028" y="300"/>
                      </a:lnTo>
                      <a:lnTo>
                        <a:pt x="2040" y="306"/>
                      </a:lnTo>
                      <a:lnTo>
                        <a:pt x="2046" y="306"/>
                      </a:lnTo>
                      <a:lnTo>
                        <a:pt x="2058" y="312"/>
                      </a:lnTo>
                      <a:lnTo>
                        <a:pt x="2070" y="324"/>
                      </a:lnTo>
                      <a:lnTo>
                        <a:pt x="2076" y="330"/>
                      </a:lnTo>
                      <a:lnTo>
                        <a:pt x="2076" y="342"/>
                      </a:lnTo>
                      <a:lnTo>
                        <a:pt x="2076" y="354"/>
                      </a:lnTo>
                      <a:lnTo>
                        <a:pt x="2076" y="366"/>
                      </a:lnTo>
                      <a:lnTo>
                        <a:pt x="2076" y="390"/>
                      </a:lnTo>
                      <a:lnTo>
                        <a:pt x="2088" y="408"/>
                      </a:lnTo>
                      <a:lnTo>
                        <a:pt x="2094" y="420"/>
                      </a:lnTo>
                      <a:lnTo>
                        <a:pt x="2106" y="426"/>
                      </a:lnTo>
                      <a:lnTo>
                        <a:pt x="2124" y="438"/>
                      </a:lnTo>
                      <a:lnTo>
                        <a:pt x="2136" y="456"/>
                      </a:lnTo>
                      <a:lnTo>
                        <a:pt x="2142" y="480"/>
                      </a:lnTo>
                      <a:lnTo>
                        <a:pt x="2136" y="510"/>
                      </a:lnTo>
                      <a:lnTo>
                        <a:pt x="2118" y="552"/>
                      </a:lnTo>
                      <a:lnTo>
                        <a:pt x="2100" y="576"/>
                      </a:lnTo>
                      <a:lnTo>
                        <a:pt x="2094" y="588"/>
                      </a:lnTo>
                      <a:lnTo>
                        <a:pt x="2094" y="600"/>
                      </a:lnTo>
                      <a:lnTo>
                        <a:pt x="2100" y="612"/>
                      </a:lnTo>
                      <a:lnTo>
                        <a:pt x="2112" y="618"/>
                      </a:lnTo>
                      <a:lnTo>
                        <a:pt x="2130" y="618"/>
                      </a:lnTo>
                      <a:lnTo>
                        <a:pt x="2142" y="624"/>
                      </a:lnTo>
                      <a:lnTo>
                        <a:pt x="2148" y="618"/>
                      </a:lnTo>
                      <a:lnTo>
                        <a:pt x="2148" y="612"/>
                      </a:lnTo>
                      <a:lnTo>
                        <a:pt x="2148" y="606"/>
                      </a:lnTo>
                      <a:lnTo>
                        <a:pt x="2148" y="594"/>
                      </a:lnTo>
                      <a:lnTo>
                        <a:pt x="2148" y="588"/>
                      </a:lnTo>
                      <a:lnTo>
                        <a:pt x="2154" y="582"/>
                      </a:lnTo>
                      <a:lnTo>
                        <a:pt x="2160" y="582"/>
                      </a:lnTo>
                      <a:lnTo>
                        <a:pt x="2172" y="576"/>
                      </a:lnTo>
                      <a:lnTo>
                        <a:pt x="2178" y="576"/>
                      </a:lnTo>
                      <a:lnTo>
                        <a:pt x="2184" y="570"/>
                      </a:lnTo>
                      <a:lnTo>
                        <a:pt x="2190" y="558"/>
                      </a:lnTo>
                      <a:lnTo>
                        <a:pt x="2190" y="546"/>
                      </a:lnTo>
                      <a:lnTo>
                        <a:pt x="2190" y="534"/>
                      </a:lnTo>
                      <a:lnTo>
                        <a:pt x="2190" y="528"/>
                      </a:lnTo>
                      <a:lnTo>
                        <a:pt x="2196" y="528"/>
                      </a:lnTo>
                      <a:lnTo>
                        <a:pt x="2202" y="528"/>
                      </a:lnTo>
                      <a:lnTo>
                        <a:pt x="2208" y="534"/>
                      </a:lnTo>
                      <a:lnTo>
                        <a:pt x="2214" y="540"/>
                      </a:lnTo>
                      <a:lnTo>
                        <a:pt x="2220" y="552"/>
                      </a:lnTo>
                      <a:lnTo>
                        <a:pt x="2232" y="558"/>
                      </a:lnTo>
                      <a:lnTo>
                        <a:pt x="2238" y="570"/>
                      </a:lnTo>
                      <a:lnTo>
                        <a:pt x="2250" y="576"/>
                      </a:lnTo>
                      <a:lnTo>
                        <a:pt x="2256" y="576"/>
                      </a:lnTo>
                      <a:lnTo>
                        <a:pt x="2262" y="570"/>
                      </a:lnTo>
                      <a:lnTo>
                        <a:pt x="2268" y="564"/>
                      </a:lnTo>
                      <a:lnTo>
                        <a:pt x="2268" y="558"/>
                      </a:lnTo>
                      <a:lnTo>
                        <a:pt x="2280" y="552"/>
                      </a:lnTo>
                      <a:lnTo>
                        <a:pt x="2292" y="552"/>
                      </a:lnTo>
                      <a:lnTo>
                        <a:pt x="2298" y="558"/>
                      </a:lnTo>
                      <a:lnTo>
                        <a:pt x="2310" y="564"/>
                      </a:lnTo>
                      <a:lnTo>
                        <a:pt x="2316" y="570"/>
                      </a:lnTo>
                      <a:lnTo>
                        <a:pt x="2322" y="570"/>
                      </a:lnTo>
                      <a:lnTo>
                        <a:pt x="2328" y="570"/>
                      </a:lnTo>
                      <a:lnTo>
                        <a:pt x="2328" y="564"/>
                      </a:lnTo>
                      <a:lnTo>
                        <a:pt x="2328" y="546"/>
                      </a:lnTo>
                      <a:lnTo>
                        <a:pt x="2322" y="528"/>
                      </a:lnTo>
                      <a:lnTo>
                        <a:pt x="2310" y="498"/>
                      </a:lnTo>
                      <a:lnTo>
                        <a:pt x="2298" y="468"/>
                      </a:lnTo>
                      <a:lnTo>
                        <a:pt x="2286" y="456"/>
                      </a:lnTo>
                      <a:lnTo>
                        <a:pt x="2286" y="438"/>
                      </a:lnTo>
                      <a:lnTo>
                        <a:pt x="2280" y="426"/>
                      </a:lnTo>
                      <a:lnTo>
                        <a:pt x="2286" y="414"/>
                      </a:lnTo>
                      <a:lnTo>
                        <a:pt x="2292" y="396"/>
                      </a:lnTo>
                      <a:lnTo>
                        <a:pt x="2298" y="384"/>
                      </a:lnTo>
                      <a:lnTo>
                        <a:pt x="2310" y="366"/>
                      </a:lnTo>
                      <a:lnTo>
                        <a:pt x="2322" y="354"/>
                      </a:lnTo>
                      <a:lnTo>
                        <a:pt x="2340" y="348"/>
                      </a:lnTo>
                      <a:lnTo>
                        <a:pt x="2358" y="342"/>
                      </a:lnTo>
                      <a:lnTo>
                        <a:pt x="2376" y="336"/>
                      </a:lnTo>
                      <a:lnTo>
                        <a:pt x="2394" y="336"/>
                      </a:lnTo>
                      <a:lnTo>
                        <a:pt x="2412" y="336"/>
                      </a:lnTo>
                      <a:lnTo>
                        <a:pt x="2424" y="330"/>
                      </a:lnTo>
                      <a:lnTo>
                        <a:pt x="2424" y="324"/>
                      </a:lnTo>
                      <a:lnTo>
                        <a:pt x="2424" y="318"/>
                      </a:lnTo>
                      <a:lnTo>
                        <a:pt x="2418" y="306"/>
                      </a:lnTo>
                      <a:lnTo>
                        <a:pt x="2406" y="300"/>
                      </a:lnTo>
                      <a:lnTo>
                        <a:pt x="2400" y="288"/>
                      </a:lnTo>
                      <a:lnTo>
                        <a:pt x="2394" y="282"/>
                      </a:lnTo>
                      <a:lnTo>
                        <a:pt x="2394" y="276"/>
                      </a:lnTo>
                      <a:lnTo>
                        <a:pt x="2394" y="264"/>
                      </a:lnTo>
                      <a:lnTo>
                        <a:pt x="2394" y="252"/>
                      </a:lnTo>
                      <a:lnTo>
                        <a:pt x="2394" y="234"/>
                      </a:lnTo>
                      <a:lnTo>
                        <a:pt x="2400" y="210"/>
                      </a:lnTo>
                      <a:lnTo>
                        <a:pt x="2412" y="198"/>
                      </a:lnTo>
                      <a:lnTo>
                        <a:pt x="2424" y="180"/>
                      </a:lnTo>
                      <a:lnTo>
                        <a:pt x="2442" y="168"/>
                      </a:lnTo>
                      <a:lnTo>
                        <a:pt x="2466" y="162"/>
                      </a:lnTo>
                      <a:lnTo>
                        <a:pt x="2484" y="150"/>
                      </a:lnTo>
                      <a:lnTo>
                        <a:pt x="2502" y="144"/>
                      </a:lnTo>
                      <a:lnTo>
                        <a:pt x="2526" y="132"/>
                      </a:lnTo>
                      <a:lnTo>
                        <a:pt x="2556" y="126"/>
                      </a:lnTo>
                      <a:lnTo>
                        <a:pt x="2592" y="132"/>
                      </a:lnTo>
                      <a:lnTo>
                        <a:pt x="2634" y="138"/>
                      </a:lnTo>
                      <a:lnTo>
                        <a:pt x="2652" y="132"/>
                      </a:lnTo>
                      <a:lnTo>
                        <a:pt x="2670" y="126"/>
                      </a:lnTo>
                      <a:lnTo>
                        <a:pt x="2688" y="120"/>
                      </a:lnTo>
                      <a:lnTo>
                        <a:pt x="2700" y="114"/>
                      </a:lnTo>
                      <a:lnTo>
                        <a:pt x="2712" y="102"/>
                      </a:lnTo>
                      <a:lnTo>
                        <a:pt x="2718" y="96"/>
                      </a:lnTo>
                      <a:lnTo>
                        <a:pt x="2712" y="96"/>
                      </a:lnTo>
                      <a:lnTo>
                        <a:pt x="2706" y="90"/>
                      </a:lnTo>
                      <a:lnTo>
                        <a:pt x="2688" y="84"/>
                      </a:lnTo>
                      <a:lnTo>
                        <a:pt x="2670" y="72"/>
                      </a:lnTo>
                      <a:lnTo>
                        <a:pt x="2652" y="66"/>
                      </a:lnTo>
                      <a:lnTo>
                        <a:pt x="2640" y="60"/>
                      </a:lnTo>
                      <a:lnTo>
                        <a:pt x="2628" y="54"/>
                      </a:lnTo>
                      <a:lnTo>
                        <a:pt x="2622" y="48"/>
                      </a:lnTo>
                      <a:lnTo>
                        <a:pt x="2622" y="42"/>
                      </a:lnTo>
                      <a:lnTo>
                        <a:pt x="2622" y="36"/>
                      </a:lnTo>
                      <a:lnTo>
                        <a:pt x="2622" y="30"/>
                      </a:lnTo>
                      <a:lnTo>
                        <a:pt x="2622" y="24"/>
                      </a:lnTo>
                      <a:lnTo>
                        <a:pt x="2616" y="18"/>
                      </a:lnTo>
                      <a:lnTo>
                        <a:pt x="2622" y="6"/>
                      </a:lnTo>
                      <a:lnTo>
                        <a:pt x="2634" y="6"/>
                      </a:lnTo>
                      <a:lnTo>
                        <a:pt x="2646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7" name="Freeform 400">
                  <a:extLst>
                    <a:ext uri="{FF2B5EF4-FFF2-40B4-BE49-F238E27FC236}">
                      <a16:creationId xmlns:a16="http://schemas.microsoft.com/office/drawing/2014/main" id="{E266B7D6-F26D-4D85-B538-C7BF94C8FE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47" y="8784"/>
                  <a:ext cx="192" cy="102"/>
                </a:xfrm>
                <a:custGeom>
                  <a:avLst/>
                  <a:gdLst>
                    <a:gd name="T0" fmla="*/ 114 w 192"/>
                    <a:gd name="T1" fmla="*/ 0 h 102"/>
                    <a:gd name="T2" fmla="*/ 126 w 192"/>
                    <a:gd name="T3" fmla="*/ 0 h 102"/>
                    <a:gd name="T4" fmla="*/ 138 w 192"/>
                    <a:gd name="T5" fmla="*/ 6 h 102"/>
                    <a:gd name="T6" fmla="*/ 144 w 192"/>
                    <a:gd name="T7" fmla="*/ 12 h 102"/>
                    <a:gd name="T8" fmla="*/ 156 w 192"/>
                    <a:gd name="T9" fmla="*/ 24 h 102"/>
                    <a:gd name="T10" fmla="*/ 168 w 192"/>
                    <a:gd name="T11" fmla="*/ 36 h 102"/>
                    <a:gd name="T12" fmla="*/ 186 w 192"/>
                    <a:gd name="T13" fmla="*/ 42 h 102"/>
                    <a:gd name="T14" fmla="*/ 192 w 192"/>
                    <a:gd name="T15" fmla="*/ 48 h 102"/>
                    <a:gd name="T16" fmla="*/ 192 w 192"/>
                    <a:gd name="T17" fmla="*/ 54 h 102"/>
                    <a:gd name="T18" fmla="*/ 186 w 192"/>
                    <a:gd name="T19" fmla="*/ 60 h 102"/>
                    <a:gd name="T20" fmla="*/ 174 w 192"/>
                    <a:gd name="T21" fmla="*/ 66 h 102"/>
                    <a:gd name="T22" fmla="*/ 162 w 192"/>
                    <a:gd name="T23" fmla="*/ 72 h 102"/>
                    <a:gd name="T24" fmla="*/ 150 w 192"/>
                    <a:gd name="T25" fmla="*/ 72 h 102"/>
                    <a:gd name="T26" fmla="*/ 138 w 192"/>
                    <a:gd name="T27" fmla="*/ 78 h 102"/>
                    <a:gd name="T28" fmla="*/ 126 w 192"/>
                    <a:gd name="T29" fmla="*/ 72 h 102"/>
                    <a:gd name="T30" fmla="*/ 108 w 192"/>
                    <a:gd name="T31" fmla="*/ 78 h 102"/>
                    <a:gd name="T32" fmla="*/ 96 w 192"/>
                    <a:gd name="T33" fmla="*/ 84 h 102"/>
                    <a:gd name="T34" fmla="*/ 84 w 192"/>
                    <a:gd name="T35" fmla="*/ 90 h 102"/>
                    <a:gd name="T36" fmla="*/ 66 w 192"/>
                    <a:gd name="T37" fmla="*/ 96 h 102"/>
                    <a:gd name="T38" fmla="*/ 48 w 192"/>
                    <a:gd name="T39" fmla="*/ 102 h 102"/>
                    <a:gd name="T40" fmla="*/ 30 w 192"/>
                    <a:gd name="T41" fmla="*/ 102 h 102"/>
                    <a:gd name="T42" fmla="*/ 18 w 192"/>
                    <a:gd name="T43" fmla="*/ 96 h 102"/>
                    <a:gd name="T44" fmla="*/ 6 w 192"/>
                    <a:gd name="T45" fmla="*/ 78 h 102"/>
                    <a:gd name="T46" fmla="*/ 0 w 192"/>
                    <a:gd name="T47" fmla="*/ 60 h 102"/>
                    <a:gd name="T48" fmla="*/ 0 w 192"/>
                    <a:gd name="T49" fmla="*/ 42 h 102"/>
                    <a:gd name="T50" fmla="*/ 12 w 192"/>
                    <a:gd name="T51" fmla="*/ 24 h 102"/>
                    <a:gd name="T52" fmla="*/ 36 w 192"/>
                    <a:gd name="T53" fmla="*/ 12 h 102"/>
                    <a:gd name="T54" fmla="*/ 72 w 192"/>
                    <a:gd name="T55" fmla="*/ 6 h 102"/>
                    <a:gd name="T56" fmla="*/ 114 w 192"/>
                    <a:gd name="T5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92" h="102">
                      <a:moveTo>
                        <a:pt x="114" y="0"/>
                      </a:moveTo>
                      <a:lnTo>
                        <a:pt x="126" y="0"/>
                      </a:lnTo>
                      <a:lnTo>
                        <a:pt x="138" y="6"/>
                      </a:lnTo>
                      <a:lnTo>
                        <a:pt x="144" y="12"/>
                      </a:lnTo>
                      <a:lnTo>
                        <a:pt x="156" y="24"/>
                      </a:lnTo>
                      <a:lnTo>
                        <a:pt x="168" y="36"/>
                      </a:lnTo>
                      <a:lnTo>
                        <a:pt x="186" y="42"/>
                      </a:lnTo>
                      <a:lnTo>
                        <a:pt x="192" y="48"/>
                      </a:lnTo>
                      <a:lnTo>
                        <a:pt x="192" y="54"/>
                      </a:lnTo>
                      <a:lnTo>
                        <a:pt x="186" y="60"/>
                      </a:lnTo>
                      <a:lnTo>
                        <a:pt x="174" y="66"/>
                      </a:lnTo>
                      <a:lnTo>
                        <a:pt x="162" y="72"/>
                      </a:lnTo>
                      <a:lnTo>
                        <a:pt x="150" y="72"/>
                      </a:lnTo>
                      <a:lnTo>
                        <a:pt x="138" y="78"/>
                      </a:lnTo>
                      <a:lnTo>
                        <a:pt x="126" y="72"/>
                      </a:lnTo>
                      <a:lnTo>
                        <a:pt x="108" y="78"/>
                      </a:lnTo>
                      <a:lnTo>
                        <a:pt x="96" y="84"/>
                      </a:lnTo>
                      <a:lnTo>
                        <a:pt x="84" y="90"/>
                      </a:lnTo>
                      <a:lnTo>
                        <a:pt x="66" y="96"/>
                      </a:lnTo>
                      <a:lnTo>
                        <a:pt x="48" y="102"/>
                      </a:lnTo>
                      <a:lnTo>
                        <a:pt x="30" y="102"/>
                      </a:lnTo>
                      <a:lnTo>
                        <a:pt x="18" y="96"/>
                      </a:lnTo>
                      <a:lnTo>
                        <a:pt x="6" y="78"/>
                      </a:lnTo>
                      <a:lnTo>
                        <a:pt x="0" y="60"/>
                      </a:lnTo>
                      <a:lnTo>
                        <a:pt x="0" y="42"/>
                      </a:lnTo>
                      <a:lnTo>
                        <a:pt x="12" y="24"/>
                      </a:lnTo>
                      <a:lnTo>
                        <a:pt x="36" y="12"/>
                      </a:lnTo>
                      <a:lnTo>
                        <a:pt x="72" y="6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8" name="Freeform 401">
                  <a:extLst>
                    <a:ext uri="{FF2B5EF4-FFF2-40B4-BE49-F238E27FC236}">
                      <a16:creationId xmlns:a16="http://schemas.microsoft.com/office/drawing/2014/main" id="{B868E771-A312-4E41-92F2-78B35B2FD4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91" y="9726"/>
                  <a:ext cx="456" cy="546"/>
                </a:xfrm>
                <a:custGeom>
                  <a:avLst/>
                  <a:gdLst>
                    <a:gd name="T0" fmla="*/ 90 w 456"/>
                    <a:gd name="T1" fmla="*/ 0 h 546"/>
                    <a:gd name="T2" fmla="*/ 132 w 456"/>
                    <a:gd name="T3" fmla="*/ 18 h 546"/>
                    <a:gd name="T4" fmla="*/ 156 w 456"/>
                    <a:gd name="T5" fmla="*/ 24 h 546"/>
                    <a:gd name="T6" fmla="*/ 192 w 456"/>
                    <a:gd name="T7" fmla="*/ 48 h 546"/>
                    <a:gd name="T8" fmla="*/ 246 w 456"/>
                    <a:gd name="T9" fmla="*/ 90 h 546"/>
                    <a:gd name="T10" fmla="*/ 312 w 456"/>
                    <a:gd name="T11" fmla="*/ 102 h 546"/>
                    <a:gd name="T12" fmla="*/ 336 w 456"/>
                    <a:gd name="T13" fmla="*/ 78 h 546"/>
                    <a:gd name="T14" fmla="*/ 372 w 456"/>
                    <a:gd name="T15" fmla="*/ 66 h 546"/>
                    <a:gd name="T16" fmla="*/ 408 w 456"/>
                    <a:gd name="T17" fmla="*/ 66 h 546"/>
                    <a:gd name="T18" fmla="*/ 426 w 456"/>
                    <a:gd name="T19" fmla="*/ 48 h 546"/>
                    <a:gd name="T20" fmla="*/ 450 w 456"/>
                    <a:gd name="T21" fmla="*/ 42 h 546"/>
                    <a:gd name="T22" fmla="*/ 456 w 456"/>
                    <a:gd name="T23" fmla="*/ 78 h 546"/>
                    <a:gd name="T24" fmla="*/ 426 w 456"/>
                    <a:gd name="T25" fmla="*/ 132 h 546"/>
                    <a:gd name="T26" fmla="*/ 390 w 456"/>
                    <a:gd name="T27" fmla="*/ 216 h 546"/>
                    <a:gd name="T28" fmla="*/ 378 w 456"/>
                    <a:gd name="T29" fmla="*/ 294 h 546"/>
                    <a:gd name="T30" fmla="*/ 360 w 456"/>
                    <a:gd name="T31" fmla="*/ 306 h 546"/>
                    <a:gd name="T32" fmla="*/ 324 w 456"/>
                    <a:gd name="T33" fmla="*/ 318 h 546"/>
                    <a:gd name="T34" fmla="*/ 306 w 456"/>
                    <a:gd name="T35" fmla="*/ 366 h 546"/>
                    <a:gd name="T36" fmla="*/ 312 w 456"/>
                    <a:gd name="T37" fmla="*/ 390 h 546"/>
                    <a:gd name="T38" fmla="*/ 312 w 456"/>
                    <a:gd name="T39" fmla="*/ 426 h 546"/>
                    <a:gd name="T40" fmla="*/ 294 w 456"/>
                    <a:gd name="T41" fmla="*/ 450 h 546"/>
                    <a:gd name="T42" fmla="*/ 276 w 456"/>
                    <a:gd name="T43" fmla="*/ 438 h 546"/>
                    <a:gd name="T44" fmla="*/ 246 w 456"/>
                    <a:gd name="T45" fmla="*/ 420 h 546"/>
                    <a:gd name="T46" fmla="*/ 228 w 456"/>
                    <a:gd name="T47" fmla="*/ 438 h 546"/>
                    <a:gd name="T48" fmla="*/ 198 w 456"/>
                    <a:gd name="T49" fmla="*/ 486 h 546"/>
                    <a:gd name="T50" fmla="*/ 156 w 456"/>
                    <a:gd name="T51" fmla="*/ 522 h 546"/>
                    <a:gd name="T52" fmla="*/ 114 w 456"/>
                    <a:gd name="T53" fmla="*/ 528 h 546"/>
                    <a:gd name="T54" fmla="*/ 66 w 456"/>
                    <a:gd name="T55" fmla="*/ 546 h 546"/>
                    <a:gd name="T56" fmla="*/ 54 w 456"/>
                    <a:gd name="T57" fmla="*/ 534 h 546"/>
                    <a:gd name="T58" fmla="*/ 60 w 456"/>
                    <a:gd name="T59" fmla="*/ 504 h 546"/>
                    <a:gd name="T60" fmla="*/ 72 w 456"/>
                    <a:gd name="T61" fmla="*/ 468 h 546"/>
                    <a:gd name="T62" fmla="*/ 66 w 456"/>
                    <a:gd name="T63" fmla="*/ 444 h 546"/>
                    <a:gd name="T64" fmla="*/ 30 w 456"/>
                    <a:gd name="T65" fmla="*/ 444 h 546"/>
                    <a:gd name="T66" fmla="*/ 24 w 456"/>
                    <a:gd name="T67" fmla="*/ 438 h 546"/>
                    <a:gd name="T68" fmla="*/ 24 w 456"/>
                    <a:gd name="T69" fmla="*/ 408 h 546"/>
                    <a:gd name="T70" fmla="*/ 0 w 456"/>
                    <a:gd name="T71" fmla="*/ 282 h 546"/>
                    <a:gd name="T72" fmla="*/ 18 w 456"/>
                    <a:gd name="T73" fmla="*/ 270 h 546"/>
                    <a:gd name="T74" fmla="*/ 54 w 456"/>
                    <a:gd name="T75" fmla="*/ 276 h 546"/>
                    <a:gd name="T76" fmla="*/ 78 w 456"/>
                    <a:gd name="T77" fmla="*/ 258 h 546"/>
                    <a:gd name="T78" fmla="*/ 72 w 456"/>
                    <a:gd name="T79" fmla="*/ 216 h 546"/>
                    <a:gd name="T80" fmla="*/ 60 w 456"/>
                    <a:gd name="T81" fmla="*/ 150 h 546"/>
                    <a:gd name="T82" fmla="*/ 78 w 456"/>
                    <a:gd name="T83" fmla="*/ 84 h 546"/>
                    <a:gd name="T84" fmla="*/ 66 w 456"/>
                    <a:gd name="T85" fmla="*/ 24 h 546"/>
                    <a:gd name="T86" fmla="*/ 72 w 456"/>
                    <a:gd name="T87" fmla="*/ 0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56" h="546">
                      <a:moveTo>
                        <a:pt x="72" y="0"/>
                      </a:moveTo>
                      <a:lnTo>
                        <a:pt x="78" y="0"/>
                      </a:lnTo>
                      <a:lnTo>
                        <a:pt x="90" y="0"/>
                      </a:lnTo>
                      <a:lnTo>
                        <a:pt x="102" y="6"/>
                      </a:lnTo>
                      <a:lnTo>
                        <a:pt x="120" y="12"/>
                      </a:lnTo>
                      <a:lnTo>
                        <a:pt x="132" y="18"/>
                      </a:lnTo>
                      <a:lnTo>
                        <a:pt x="138" y="18"/>
                      </a:lnTo>
                      <a:lnTo>
                        <a:pt x="150" y="24"/>
                      </a:lnTo>
                      <a:lnTo>
                        <a:pt x="156" y="24"/>
                      </a:lnTo>
                      <a:lnTo>
                        <a:pt x="168" y="30"/>
                      </a:lnTo>
                      <a:lnTo>
                        <a:pt x="180" y="36"/>
                      </a:lnTo>
                      <a:lnTo>
                        <a:pt x="192" y="48"/>
                      </a:lnTo>
                      <a:lnTo>
                        <a:pt x="198" y="66"/>
                      </a:lnTo>
                      <a:lnTo>
                        <a:pt x="216" y="84"/>
                      </a:lnTo>
                      <a:lnTo>
                        <a:pt x="246" y="90"/>
                      </a:lnTo>
                      <a:lnTo>
                        <a:pt x="276" y="96"/>
                      </a:lnTo>
                      <a:lnTo>
                        <a:pt x="300" y="96"/>
                      </a:lnTo>
                      <a:lnTo>
                        <a:pt x="312" y="102"/>
                      </a:lnTo>
                      <a:lnTo>
                        <a:pt x="318" y="96"/>
                      </a:lnTo>
                      <a:lnTo>
                        <a:pt x="330" y="90"/>
                      </a:lnTo>
                      <a:lnTo>
                        <a:pt x="336" y="78"/>
                      </a:lnTo>
                      <a:lnTo>
                        <a:pt x="348" y="66"/>
                      </a:lnTo>
                      <a:lnTo>
                        <a:pt x="360" y="66"/>
                      </a:lnTo>
                      <a:lnTo>
                        <a:pt x="372" y="66"/>
                      </a:lnTo>
                      <a:lnTo>
                        <a:pt x="384" y="66"/>
                      </a:lnTo>
                      <a:lnTo>
                        <a:pt x="396" y="66"/>
                      </a:lnTo>
                      <a:lnTo>
                        <a:pt x="408" y="66"/>
                      </a:lnTo>
                      <a:lnTo>
                        <a:pt x="414" y="60"/>
                      </a:lnTo>
                      <a:lnTo>
                        <a:pt x="420" y="54"/>
                      </a:lnTo>
                      <a:lnTo>
                        <a:pt x="426" y="48"/>
                      </a:lnTo>
                      <a:lnTo>
                        <a:pt x="432" y="48"/>
                      </a:lnTo>
                      <a:lnTo>
                        <a:pt x="444" y="42"/>
                      </a:lnTo>
                      <a:lnTo>
                        <a:pt x="450" y="42"/>
                      </a:lnTo>
                      <a:lnTo>
                        <a:pt x="456" y="48"/>
                      </a:lnTo>
                      <a:lnTo>
                        <a:pt x="456" y="54"/>
                      </a:lnTo>
                      <a:lnTo>
                        <a:pt x="456" y="78"/>
                      </a:lnTo>
                      <a:lnTo>
                        <a:pt x="444" y="96"/>
                      </a:lnTo>
                      <a:lnTo>
                        <a:pt x="438" y="114"/>
                      </a:lnTo>
                      <a:lnTo>
                        <a:pt x="426" y="132"/>
                      </a:lnTo>
                      <a:lnTo>
                        <a:pt x="420" y="144"/>
                      </a:lnTo>
                      <a:lnTo>
                        <a:pt x="408" y="174"/>
                      </a:lnTo>
                      <a:lnTo>
                        <a:pt x="390" y="216"/>
                      </a:lnTo>
                      <a:lnTo>
                        <a:pt x="384" y="270"/>
                      </a:lnTo>
                      <a:lnTo>
                        <a:pt x="384" y="288"/>
                      </a:lnTo>
                      <a:lnTo>
                        <a:pt x="378" y="294"/>
                      </a:lnTo>
                      <a:lnTo>
                        <a:pt x="372" y="300"/>
                      </a:lnTo>
                      <a:lnTo>
                        <a:pt x="366" y="306"/>
                      </a:lnTo>
                      <a:lnTo>
                        <a:pt x="360" y="306"/>
                      </a:lnTo>
                      <a:lnTo>
                        <a:pt x="348" y="306"/>
                      </a:lnTo>
                      <a:lnTo>
                        <a:pt x="336" y="312"/>
                      </a:lnTo>
                      <a:lnTo>
                        <a:pt x="324" y="318"/>
                      </a:lnTo>
                      <a:lnTo>
                        <a:pt x="318" y="336"/>
                      </a:lnTo>
                      <a:lnTo>
                        <a:pt x="312" y="348"/>
                      </a:lnTo>
                      <a:lnTo>
                        <a:pt x="306" y="366"/>
                      </a:lnTo>
                      <a:lnTo>
                        <a:pt x="306" y="378"/>
                      </a:lnTo>
                      <a:lnTo>
                        <a:pt x="306" y="384"/>
                      </a:lnTo>
                      <a:lnTo>
                        <a:pt x="312" y="390"/>
                      </a:lnTo>
                      <a:lnTo>
                        <a:pt x="318" y="402"/>
                      </a:lnTo>
                      <a:lnTo>
                        <a:pt x="318" y="414"/>
                      </a:lnTo>
                      <a:lnTo>
                        <a:pt x="312" y="426"/>
                      </a:lnTo>
                      <a:lnTo>
                        <a:pt x="306" y="438"/>
                      </a:lnTo>
                      <a:lnTo>
                        <a:pt x="300" y="444"/>
                      </a:lnTo>
                      <a:lnTo>
                        <a:pt x="294" y="450"/>
                      </a:lnTo>
                      <a:lnTo>
                        <a:pt x="288" y="450"/>
                      </a:lnTo>
                      <a:lnTo>
                        <a:pt x="282" y="450"/>
                      </a:lnTo>
                      <a:lnTo>
                        <a:pt x="276" y="438"/>
                      </a:lnTo>
                      <a:lnTo>
                        <a:pt x="264" y="426"/>
                      </a:lnTo>
                      <a:lnTo>
                        <a:pt x="258" y="420"/>
                      </a:lnTo>
                      <a:lnTo>
                        <a:pt x="246" y="420"/>
                      </a:lnTo>
                      <a:lnTo>
                        <a:pt x="240" y="420"/>
                      </a:lnTo>
                      <a:lnTo>
                        <a:pt x="234" y="432"/>
                      </a:lnTo>
                      <a:lnTo>
                        <a:pt x="228" y="438"/>
                      </a:lnTo>
                      <a:lnTo>
                        <a:pt x="222" y="456"/>
                      </a:lnTo>
                      <a:lnTo>
                        <a:pt x="210" y="474"/>
                      </a:lnTo>
                      <a:lnTo>
                        <a:pt x="198" y="486"/>
                      </a:lnTo>
                      <a:lnTo>
                        <a:pt x="180" y="498"/>
                      </a:lnTo>
                      <a:lnTo>
                        <a:pt x="168" y="510"/>
                      </a:lnTo>
                      <a:lnTo>
                        <a:pt x="156" y="522"/>
                      </a:lnTo>
                      <a:lnTo>
                        <a:pt x="144" y="528"/>
                      </a:lnTo>
                      <a:lnTo>
                        <a:pt x="132" y="528"/>
                      </a:lnTo>
                      <a:lnTo>
                        <a:pt x="114" y="528"/>
                      </a:lnTo>
                      <a:lnTo>
                        <a:pt x="96" y="534"/>
                      </a:lnTo>
                      <a:lnTo>
                        <a:pt x="78" y="540"/>
                      </a:lnTo>
                      <a:lnTo>
                        <a:pt x="66" y="546"/>
                      </a:lnTo>
                      <a:lnTo>
                        <a:pt x="60" y="546"/>
                      </a:lnTo>
                      <a:lnTo>
                        <a:pt x="54" y="540"/>
                      </a:lnTo>
                      <a:lnTo>
                        <a:pt x="54" y="534"/>
                      </a:lnTo>
                      <a:lnTo>
                        <a:pt x="54" y="522"/>
                      </a:lnTo>
                      <a:lnTo>
                        <a:pt x="54" y="516"/>
                      </a:lnTo>
                      <a:lnTo>
                        <a:pt x="60" y="504"/>
                      </a:lnTo>
                      <a:lnTo>
                        <a:pt x="66" y="492"/>
                      </a:lnTo>
                      <a:lnTo>
                        <a:pt x="66" y="480"/>
                      </a:lnTo>
                      <a:lnTo>
                        <a:pt x="72" y="468"/>
                      </a:lnTo>
                      <a:lnTo>
                        <a:pt x="72" y="462"/>
                      </a:lnTo>
                      <a:lnTo>
                        <a:pt x="72" y="450"/>
                      </a:lnTo>
                      <a:lnTo>
                        <a:pt x="66" y="444"/>
                      </a:lnTo>
                      <a:lnTo>
                        <a:pt x="54" y="444"/>
                      </a:lnTo>
                      <a:lnTo>
                        <a:pt x="42" y="444"/>
                      </a:lnTo>
                      <a:lnTo>
                        <a:pt x="30" y="444"/>
                      </a:lnTo>
                      <a:lnTo>
                        <a:pt x="24" y="444"/>
                      </a:lnTo>
                      <a:lnTo>
                        <a:pt x="24" y="444"/>
                      </a:lnTo>
                      <a:lnTo>
                        <a:pt x="24" y="438"/>
                      </a:lnTo>
                      <a:lnTo>
                        <a:pt x="24" y="432"/>
                      </a:lnTo>
                      <a:lnTo>
                        <a:pt x="24" y="420"/>
                      </a:lnTo>
                      <a:lnTo>
                        <a:pt x="24" y="408"/>
                      </a:lnTo>
                      <a:lnTo>
                        <a:pt x="12" y="354"/>
                      </a:lnTo>
                      <a:lnTo>
                        <a:pt x="6" y="300"/>
                      </a:lnTo>
                      <a:lnTo>
                        <a:pt x="0" y="282"/>
                      </a:lnTo>
                      <a:lnTo>
                        <a:pt x="6" y="276"/>
                      </a:lnTo>
                      <a:lnTo>
                        <a:pt x="12" y="270"/>
                      </a:lnTo>
                      <a:lnTo>
                        <a:pt x="18" y="270"/>
                      </a:lnTo>
                      <a:lnTo>
                        <a:pt x="30" y="276"/>
                      </a:lnTo>
                      <a:lnTo>
                        <a:pt x="42" y="276"/>
                      </a:lnTo>
                      <a:lnTo>
                        <a:pt x="54" y="276"/>
                      </a:lnTo>
                      <a:lnTo>
                        <a:pt x="66" y="276"/>
                      </a:lnTo>
                      <a:lnTo>
                        <a:pt x="72" y="264"/>
                      </a:lnTo>
                      <a:lnTo>
                        <a:pt x="78" y="258"/>
                      </a:lnTo>
                      <a:lnTo>
                        <a:pt x="78" y="246"/>
                      </a:lnTo>
                      <a:lnTo>
                        <a:pt x="78" y="234"/>
                      </a:lnTo>
                      <a:lnTo>
                        <a:pt x="72" y="216"/>
                      </a:lnTo>
                      <a:lnTo>
                        <a:pt x="66" y="198"/>
                      </a:lnTo>
                      <a:lnTo>
                        <a:pt x="66" y="174"/>
                      </a:lnTo>
                      <a:lnTo>
                        <a:pt x="60" y="150"/>
                      </a:lnTo>
                      <a:lnTo>
                        <a:pt x="66" y="126"/>
                      </a:lnTo>
                      <a:lnTo>
                        <a:pt x="72" y="102"/>
                      </a:lnTo>
                      <a:lnTo>
                        <a:pt x="78" y="84"/>
                      </a:lnTo>
                      <a:lnTo>
                        <a:pt x="72" y="66"/>
                      </a:lnTo>
                      <a:lnTo>
                        <a:pt x="72" y="48"/>
                      </a:lnTo>
                      <a:lnTo>
                        <a:pt x="66" y="24"/>
                      </a:lnTo>
                      <a:lnTo>
                        <a:pt x="66" y="6"/>
                      </a:lnTo>
                      <a:lnTo>
                        <a:pt x="66" y="0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39" name="Freeform 402">
                  <a:extLst>
                    <a:ext uri="{FF2B5EF4-FFF2-40B4-BE49-F238E27FC236}">
                      <a16:creationId xmlns:a16="http://schemas.microsoft.com/office/drawing/2014/main" id="{87F6A556-B19F-45CA-9944-0FD84114FF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27" y="9516"/>
                  <a:ext cx="72" cy="102"/>
                </a:xfrm>
                <a:custGeom>
                  <a:avLst/>
                  <a:gdLst>
                    <a:gd name="T0" fmla="*/ 66 w 72"/>
                    <a:gd name="T1" fmla="*/ 0 h 102"/>
                    <a:gd name="T2" fmla="*/ 72 w 72"/>
                    <a:gd name="T3" fmla="*/ 0 h 102"/>
                    <a:gd name="T4" fmla="*/ 72 w 72"/>
                    <a:gd name="T5" fmla="*/ 6 h 102"/>
                    <a:gd name="T6" fmla="*/ 72 w 72"/>
                    <a:gd name="T7" fmla="*/ 18 h 102"/>
                    <a:gd name="T8" fmla="*/ 66 w 72"/>
                    <a:gd name="T9" fmla="*/ 30 h 102"/>
                    <a:gd name="T10" fmla="*/ 60 w 72"/>
                    <a:gd name="T11" fmla="*/ 48 h 102"/>
                    <a:gd name="T12" fmla="*/ 42 w 72"/>
                    <a:gd name="T13" fmla="*/ 66 h 102"/>
                    <a:gd name="T14" fmla="*/ 30 w 72"/>
                    <a:gd name="T15" fmla="*/ 84 h 102"/>
                    <a:gd name="T16" fmla="*/ 18 w 72"/>
                    <a:gd name="T17" fmla="*/ 96 h 102"/>
                    <a:gd name="T18" fmla="*/ 6 w 72"/>
                    <a:gd name="T19" fmla="*/ 102 h 102"/>
                    <a:gd name="T20" fmla="*/ 0 w 72"/>
                    <a:gd name="T21" fmla="*/ 102 h 102"/>
                    <a:gd name="T22" fmla="*/ 0 w 72"/>
                    <a:gd name="T23" fmla="*/ 96 h 102"/>
                    <a:gd name="T24" fmla="*/ 0 w 72"/>
                    <a:gd name="T25" fmla="*/ 90 h 102"/>
                    <a:gd name="T26" fmla="*/ 0 w 72"/>
                    <a:gd name="T27" fmla="*/ 78 h 102"/>
                    <a:gd name="T28" fmla="*/ 0 w 72"/>
                    <a:gd name="T29" fmla="*/ 66 h 102"/>
                    <a:gd name="T30" fmla="*/ 6 w 72"/>
                    <a:gd name="T31" fmla="*/ 48 h 102"/>
                    <a:gd name="T32" fmla="*/ 6 w 72"/>
                    <a:gd name="T33" fmla="*/ 36 h 102"/>
                    <a:gd name="T34" fmla="*/ 12 w 72"/>
                    <a:gd name="T35" fmla="*/ 24 h 102"/>
                    <a:gd name="T36" fmla="*/ 12 w 72"/>
                    <a:gd name="T37" fmla="*/ 18 h 102"/>
                    <a:gd name="T38" fmla="*/ 18 w 72"/>
                    <a:gd name="T39" fmla="*/ 12 h 102"/>
                    <a:gd name="T40" fmla="*/ 18 w 72"/>
                    <a:gd name="T41" fmla="*/ 12 h 102"/>
                    <a:gd name="T42" fmla="*/ 30 w 72"/>
                    <a:gd name="T43" fmla="*/ 12 h 102"/>
                    <a:gd name="T44" fmla="*/ 42 w 72"/>
                    <a:gd name="T45" fmla="*/ 6 h 102"/>
                    <a:gd name="T46" fmla="*/ 54 w 72"/>
                    <a:gd name="T47" fmla="*/ 0 h 102"/>
                    <a:gd name="T48" fmla="*/ 66 w 72"/>
                    <a:gd name="T49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2" h="102">
                      <a:moveTo>
                        <a:pt x="66" y="0"/>
                      </a:moveTo>
                      <a:lnTo>
                        <a:pt x="72" y="0"/>
                      </a:lnTo>
                      <a:lnTo>
                        <a:pt x="72" y="6"/>
                      </a:lnTo>
                      <a:lnTo>
                        <a:pt x="72" y="18"/>
                      </a:lnTo>
                      <a:lnTo>
                        <a:pt x="66" y="30"/>
                      </a:lnTo>
                      <a:lnTo>
                        <a:pt x="60" y="48"/>
                      </a:lnTo>
                      <a:lnTo>
                        <a:pt x="42" y="66"/>
                      </a:lnTo>
                      <a:lnTo>
                        <a:pt x="30" y="84"/>
                      </a:lnTo>
                      <a:lnTo>
                        <a:pt x="18" y="96"/>
                      </a:lnTo>
                      <a:lnTo>
                        <a:pt x="6" y="102"/>
                      </a:lnTo>
                      <a:lnTo>
                        <a:pt x="0" y="102"/>
                      </a:lnTo>
                      <a:lnTo>
                        <a:pt x="0" y="96"/>
                      </a:lnTo>
                      <a:lnTo>
                        <a:pt x="0" y="90"/>
                      </a:lnTo>
                      <a:lnTo>
                        <a:pt x="0" y="78"/>
                      </a:lnTo>
                      <a:lnTo>
                        <a:pt x="0" y="66"/>
                      </a:lnTo>
                      <a:lnTo>
                        <a:pt x="6" y="48"/>
                      </a:lnTo>
                      <a:lnTo>
                        <a:pt x="6" y="36"/>
                      </a:lnTo>
                      <a:lnTo>
                        <a:pt x="12" y="24"/>
                      </a:lnTo>
                      <a:lnTo>
                        <a:pt x="12" y="18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30" y="12"/>
                      </a:lnTo>
                      <a:lnTo>
                        <a:pt x="42" y="6"/>
                      </a:lnTo>
                      <a:lnTo>
                        <a:pt x="54" y="0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40" name="Freeform 403">
                  <a:extLst>
                    <a:ext uri="{FF2B5EF4-FFF2-40B4-BE49-F238E27FC236}">
                      <a16:creationId xmlns:a16="http://schemas.microsoft.com/office/drawing/2014/main" id="{E8B5D6A9-6E86-476A-8369-DCFD57BD24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41" y="9564"/>
                  <a:ext cx="60" cy="78"/>
                </a:xfrm>
                <a:custGeom>
                  <a:avLst/>
                  <a:gdLst>
                    <a:gd name="T0" fmla="*/ 30 w 60"/>
                    <a:gd name="T1" fmla="*/ 0 h 78"/>
                    <a:gd name="T2" fmla="*/ 42 w 60"/>
                    <a:gd name="T3" fmla="*/ 6 h 78"/>
                    <a:gd name="T4" fmla="*/ 48 w 60"/>
                    <a:gd name="T5" fmla="*/ 12 h 78"/>
                    <a:gd name="T6" fmla="*/ 54 w 60"/>
                    <a:gd name="T7" fmla="*/ 24 h 78"/>
                    <a:gd name="T8" fmla="*/ 60 w 60"/>
                    <a:gd name="T9" fmla="*/ 42 h 78"/>
                    <a:gd name="T10" fmla="*/ 60 w 60"/>
                    <a:gd name="T11" fmla="*/ 54 h 78"/>
                    <a:gd name="T12" fmla="*/ 60 w 60"/>
                    <a:gd name="T13" fmla="*/ 66 h 78"/>
                    <a:gd name="T14" fmla="*/ 48 w 60"/>
                    <a:gd name="T15" fmla="*/ 72 h 78"/>
                    <a:gd name="T16" fmla="*/ 36 w 60"/>
                    <a:gd name="T17" fmla="*/ 78 h 78"/>
                    <a:gd name="T18" fmla="*/ 24 w 60"/>
                    <a:gd name="T19" fmla="*/ 78 h 78"/>
                    <a:gd name="T20" fmla="*/ 12 w 60"/>
                    <a:gd name="T21" fmla="*/ 72 h 78"/>
                    <a:gd name="T22" fmla="*/ 6 w 60"/>
                    <a:gd name="T23" fmla="*/ 60 h 78"/>
                    <a:gd name="T24" fmla="*/ 0 w 60"/>
                    <a:gd name="T25" fmla="*/ 48 h 78"/>
                    <a:gd name="T26" fmla="*/ 0 w 60"/>
                    <a:gd name="T27" fmla="*/ 36 h 78"/>
                    <a:gd name="T28" fmla="*/ 6 w 60"/>
                    <a:gd name="T29" fmla="*/ 18 h 78"/>
                    <a:gd name="T30" fmla="*/ 12 w 60"/>
                    <a:gd name="T31" fmla="*/ 12 h 78"/>
                    <a:gd name="T32" fmla="*/ 24 w 60"/>
                    <a:gd name="T33" fmla="*/ 0 h 78"/>
                    <a:gd name="T34" fmla="*/ 30 w 60"/>
                    <a:gd name="T35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0" h="78">
                      <a:moveTo>
                        <a:pt x="30" y="0"/>
                      </a:moveTo>
                      <a:lnTo>
                        <a:pt x="42" y="6"/>
                      </a:lnTo>
                      <a:lnTo>
                        <a:pt x="48" y="12"/>
                      </a:lnTo>
                      <a:lnTo>
                        <a:pt x="54" y="24"/>
                      </a:lnTo>
                      <a:lnTo>
                        <a:pt x="60" y="42"/>
                      </a:lnTo>
                      <a:lnTo>
                        <a:pt x="60" y="54"/>
                      </a:lnTo>
                      <a:lnTo>
                        <a:pt x="60" y="66"/>
                      </a:lnTo>
                      <a:lnTo>
                        <a:pt x="48" y="72"/>
                      </a:lnTo>
                      <a:lnTo>
                        <a:pt x="36" y="78"/>
                      </a:lnTo>
                      <a:lnTo>
                        <a:pt x="24" y="78"/>
                      </a:lnTo>
                      <a:lnTo>
                        <a:pt x="12" y="72"/>
                      </a:lnTo>
                      <a:lnTo>
                        <a:pt x="6" y="60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6" y="18"/>
                      </a:lnTo>
                      <a:lnTo>
                        <a:pt x="12" y="12"/>
                      </a:lnTo>
                      <a:lnTo>
                        <a:pt x="24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41" name="Freeform 404">
                  <a:extLst>
                    <a:ext uri="{FF2B5EF4-FFF2-40B4-BE49-F238E27FC236}">
                      <a16:creationId xmlns:a16="http://schemas.microsoft.com/office/drawing/2014/main" id="{2CA240FF-FF51-41B4-B27C-E832B8EE8A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95" y="10236"/>
                  <a:ext cx="1218" cy="972"/>
                </a:xfrm>
                <a:custGeom>
                  <a:avLst/>
                  <a:gdLst>
                    <a:gd name="T0" fmla="*/ 1092 w 1218"/>
                    <a:gd name="T1" fmla="*/ 24 h 972"/>
                    <a:gd name="T2" fmla="*/ 1092 w 1218"/>
                    <a:gd name="T3" fmla="*/ 66 h 972"/>
                    <a:gd name="T4" fmla="*/ 1134 w 1218"/>
                    <a:gd name="T5" fmla="*/ 66 h 972"/>
                    <a:gd name="T6" fmla="*/ 1140 w 1218"/>
                    <a:gd name="T7" fmla="*/ 84 h 972"/>
                    <a:gd name="T8" fmla="*/ 1116 w 1218"/>
                    <a:gd name="T9" fmla="*/ 144 h 972"/>
                    <a:gd name="T10" fmla="*/ 1140 w 1218"/>
                    <a:gd name="T11" fmla="*/ 156 h 972"/>
                    <a:gd name="T12" fmla="*/ 1182 w 1218"/>
                    <a:gd name="T13" fmla="*/ 120 h 972"/>
                    <a:gd name="T14" fmla="*/ 1212 w 1218"/>
                    <a:gd name="T15" fmla="*/ 102 h 972"/>
                    <a:gd name="T16" fmla="*/ 1218 w 1218"/>
                    <a:gd name="T17" fmla="*/ 174 h 972"/>
                    <a:gd name="T18" fmla="*/ 1188 w 1218"/>
                    <a:gd name="T19" fmla="*/ 234 h 972"/>
                    <a:gd name="T20" fmla="*/ 1110 w 1218"/>
                    <a:gd name="T21" fmla="*/ 270 h 972"/>
                    <a:gd name="T22" fmla="*/ 1014 w 1218"/>
                    <a:gd name="T23" fmla="*/ 372 h 972"/>
                    <a:gd name="T24" fmla="*/ 900 w 1218"/>
                    <a:gd name="T25" fmla="*/ 444 h 972"/>
                    <a:gd name="T26" fmla="*/ 882 w 1218"/>
                    <a:gd name="T27" fmla="*/ 486 h 972"/>
                    <a:gd name="T28" fmla="*/ 840 w 1218"/>
                    <a:gd name="T29" fmla="*/ 546 h 972"/>
                    <a:gd name="T30" fmla="*/ 840 w 1218"/>
                    <a:gd name="T31" fmla="*/ 588 h 972"/>
                    <a:gd name="T32" fmla="*/ 822 w 1218"/>
                    <a:gd name="T33" fmla="*/ 624 h 972"/>
                    <a:gd name="T34" fmla="*/ 786 w 1218"/>
                    <a:gd name="T35" fmla="*/ 630 h 972"/>
                    <a:gd name="T36" fmla="*/ 732 w 1218"/>
                    <a:gd name="T37" fmla="*/ 594 h 972"/>
                    <a:gd name="T38" fmla="*/ 720 w 1218"/>
                    <a:gd name="T39" fmla="*/ 630 h 972"/>
                    <a:gd name="T40" fmla="*/ 690 w 1218"/>
                    <a:gd name="T41" fmla="*/ 624 h 972"/>
                    <a:gd name="T42" fmla="*/ 666 w 1218"/>
                    <a:gd name="T43" fmla="*/ 624 h 972"/>
                    <a:gd name="T44" fmla="*/ 624 w 1218"/>
                    <a:gd name="T45" fmla="*/ 672 h 972"/>
                    <a:gd name="T46" fmla="*/ 558 w 1218"/>
                    <a:gd name="T47" fmla="*/ 720 h 972"/>
                    <a:gd name="T48" fmla="*/ 546 w 1218"/>
                    <a:gd name="T49" fmla="*/ 756 h 972"/>
                    <a:gd name="T50" fmla="*/ 528 w 1218"/>
                    <a:gd name="T51" fmla="*/ 798 h 972"/>
                    <a:gd name="T52" fmla="*/ 486 w 1218"/>
                    <a:gd name="T53" fmla="*/ 822 h 972"/>
                    <a:gd name="T54" fmla="*/ 474 w 1218"/>
                    <a:gd name="T55" fmla="*/ 864 h 972"/>
                    <a:gd name="T56" fmla="*/ 360 w 1218"/>
                    <a:gd name="T57" fmla="*/ 912 h 972"/>
                    <a:gd name="T58" fmla="*/ 324 w 1218"/>
                    <a:gd name="T59" fmla="*/ 936 h 972"/>
                    <a:gd name="T60" fmla="*/ 294 w 1218"/>
                    <a:gd name="T61" fmla="*/ 972 h 972"/>
                    <a:gd name="T62" fmla="*/ 192 w 1218"/>
                    <a:gd name="T63" fmla="*/ 936 h 972"/>
                    <a:gd name="T64" fmla="*/ 168 w 1218"/>
                    <a:gd name="T65" fmla="*/ 912 h 972"/>
                    <a:gd name="T66" fmla="*/ 144 w 1218"/>
                    <a:gd name="T67" fmla="*/ 888 h 972"/>
                    <a:gd name="T68" fmla="*/ 114 w 1218"/>
                    <a:gd name="T69" fmla="*/ 876 h 972"/>
                    <a:gd name="T70" fmla="*/ 78 w 1218"/>
                    <a:gd name="T71" fmla="*/ 870 h 972"/>
                    <a:gd name="T72" fmla="*/ 60 w 1218"/>
                    <a:gd name="T73" fmla="*/ 852 h 972"/>
                    <a:gd name="T74" fmla="*/ 12 w 1218"/>
                    <a:gd name="T75" fmla="*/ 834 h 972"/>
                    <a:gd name="T76" fmla="*/ 12 w 1218"/>
                    <a:gd name="T77" fmla="*/ 810 h 972"/>
                    <a:gd name="T78" fmla="*/ 18 w 1218"/>
                    <a:gd name="T79" fmla="*/ 780 h 972"/>
                    <a:gd name="T80" fmla="*/ 6 w 1218"/>
                    <a:gd name="T81" fmla="*/ 744 h 972"/>
                    <a:gd name="T82" fmla="*/ 66 w 1218"/>
                    <a:gd name="T83" fmla="*/ 720 h 972"/>
                    <a:gd name="T84" fmla="*/ 132 w 1218"/>
                    <a:gd name="T85" fmla="*/ 690 h 972"/>
                    <a:gd name="T86" fmla="*/ 168 w 1218"/>
                    <a:gd name="T87" fmla="*/ 654 h 972"/>
                    <a:gd name="T88" fmla="*/ 192 w 1218"/>
                    <a:gd name="T89" fmla="*/ 654 h 972"/>
                    <a:gd name="T90" fmla="*/ 216 w 1218"/>
                    <a:gd name="T91" fmla="*/ 624 h 972"/>
                    <a:gd name="T92" fmla="*/ 246 w 1218"/>
                    <a:gd name="T93" fmla="*/ 588 h 972"/>
                    <a:gd name="T94" fmla="*/ 402 w 1218"/>
                    <a:gd name="T95" fmla="*/ 504 h 972"/>
                    <a:gd name="T96" fmla="*/ 564 w 1218"/>
                    <a:gd name="T97" fmla="*/ 438 h 972"/>
                    <a:gd name="T98" fmla="*/ 726 w 1218"/>
                    <a:gd name="T99" fmla="*/ 318 h 972"/>
                    <a:gd name="T100" fmla="*/ 816 w 1218"/>
                    <a:gd name="T101" fmla="*/ 258 h 972"/>
                    <a:gd name="T102" fmla="*/ 930 w 1218"/>
                    <a:gd name="T103" fmla="*/ 174 h 972"/>
                    <a:gd name="T104" fmla="*/ 990 w 1218"/>
                    <a:gd name="T105" fmla="*/ 84 h 972"/>
                    <a:gd name="T106" fmla="*/ 1050 w 1218"/>
                    <a:gd name="T107" fmla="*/ 18 h 9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218" h="972">
                      <a:moveTo>
                        <a:pt x="1074" y="0"/>
                      </a:moveTo>
                      <a:lnTo>
                        <a:pt x="1086" y="6"/>
                      </a:lnTo>
                      <a:lnTo>
                        <a:pt x="1086" y="12"/>
                      </a:lnTo>
                      <a:lnTo>
                        <a:pt x="1092" y="24"/>
                      </a:lnTo>
                      <a:lnTo>
                        <a:pt x="1092" y="36"/>
                      </a:lnTo>
                      <a:lnTo>
                        <a:pt x="1092" y="48"/>
                      </a:lnTo>
                      <a:lnTo>
                        <a:pt x="1092" y="60"/>
                      </a:lnTo>
                      <a:lnTo>
                        <a:pt x="1092" y="66"/>
                      </a:lnTo>
                      <a:lnTo>
                        <a:pt x="1098" y="72"/>
                      </a:lnTo>
                      <a:lnTo>
                        <a:pt x="1110" y="72"/>
                      </a:lnTo>
                      <a:lnTo>
                        <a:pt x="1122" y="66"/>
                      </a:lnTo>
                      <a:lnTo>
                        <a:pt x="1134" y="66"/>
                      </a:lnTo>
                      <a:lnTo>
                        <a:pt x="1140" y="66"/>
                      </a:lnTo>
                      <a:lnTo>
                        <a:pt x="1140" y="66"/>
                      </a:lnTo>
                      <a:lnTo>
                        <a:pt x="1140" y="78"/>
                      </a:lnTo>
                      <a:lnTo>
                        <a:pt x="1140" y="84"/>
                      </a:lnTo>
                      <a:lnTo>
                        <a:pt x="1134" y="96"/>
                      </a:lnTo>
                      <a:lnTo>
                        <a:pt x="1128" y="114"/>
                      </a:lnTo>
                      <a:lnTo>
                        <a:pt x="1122" y="126"/>
                      </a:lnTo>
                      <a:lnTo>
                        <a:pt x="1116" y="144"/>
                      </a:lnTo>
                      <a:lnTo>
                        <a:pt x="1116" y="150"/>
                      </a:lnTo>
                      <a:lnTo>
                        <a:pt x="1122" y="156"/>
                      </a:lnTo>
                      <a:lnTo>
                        <a:pt x="1128" y="156"/>
                      </a:lnTo>
                      <a:lnTo>
                        <a:pt x="1140" y="156"/>
                      </a:lnTo>
                      <a:lnTo>
                        <a:pt x="1152" y="150"/>
                      </a:lnTo>
                      <a:lnTo>
                        <a:pt x="1164" y="144"/>
                      </a:lnTo>
                      <a:lnTo>
                        <a:pt x="1170" y="132"/>
                      </a:lnTo>
                      <a:lnTo>
                        <a:pt x="1182" y="120"/>
                      </a:lnTo>
                      <a:lnTo>
                        <a:pt x="1194" y="108"/>
                      </a:lnTo>
                      <a:lnTo>
                        <a:pt x="1200" y="96"/>
                      </a:lnTo>
                      <a:lnTo>
                        <a:pt x="1206" y="96"/>
                      </a:lnTo>
                      <a:lnTo>
                        <a:pt x="1212" y="102"/>
                      </a:lnTo>
                      <a:lnTo>
                        <a:pt x="1218" y="114"/>
                      </a:lnTo>
                      <a:lnTo>
                        <a:pt x="1218" y="144"/>
                      </a:lnTo>
                      <a:lnTo>
                        <a:pt x="1218" y="162"/>
                      </a:lnTo>
                      <a:lnTo>
                        <a:pt x="1218" y="174"/>
                      </a:lnTo>
                      <a:lnTo>
                        <a:pt x="1218" y="192"/>
                      </a:lnTo>
                      <a:lnTo>
                        <a:pt x="1212" y="210"/>
                      </a:lnTo>
                      <a:lnTo>
                        <a:pt x="1200" y="222"/>
                      </a:lnTo>
                      <a:lnTo>
                        <a:pt x="1188" y="234"/>
                      </a:lnTo>
                      <a:lnTo>
                        <a:pt x="1176" y="246"/>
                      </a:lnTo>
                      <a:lnTo>
                        <a:pt x="1158" y="252"/>
                      </a:lnTo>
                      <a:lnTo>
                        <a:pt x="1140" y="258"/>
                      </a:lnTo>
                      <a:lnTo>
                        <a:pt x="1110" y="270"/>
                      </a:lnTo>
                      <a:lnTo>
                        <a:pt x="1086" y="300"/>
                      </a:lnTo>
                      <a:lnTo>
                        <a:pt x="1062" y="336"/>
                      </a:lnTo>
                      <a:lnTo>
                        <a:pt x="1044" y="354"/>
                      </a:lnTo>
                      <a:lnTo>
                        <a:pt x="1014" y="372"/>
                      </a:lnTo>
                      <a:lnTo>
                        <a:pt x="978" y="396"/>
                      </a:lnTo>
                      <a:lnTo>
                        <a:pt x="948" y="426"/>
                      </a:lnTo>
                      <a:lnTo>
                        <a:pt x="912" y="438"/>
                      </a:lnTo>
                      <a:lnTo>
                        <a:pt x="900" y="444"/>
                      </a:lnTo>
                      <a:lnTo>
                        <a:pt x="894" y="450"/>
                      </a:lnTo>
                      <a:lnTo>
                        <a:pt x="888" y="462"/>
                      </a:lnTo>
                      <a:lnTo>
                        <a:pt x="882" y="474"/>
                      </a:lnTo>
                      <a:lnTo>
                        <a:pt x="882" y="486"/>
                      </a:lnTo>
                      <a:lnTo>
                        <a:pt x="876" y="504"/>
                      </a:lnTo>
                      <a:lnTo>
                        <a:pt x="864" y="516"/>
                      </a:lnTo>
                      <a:lnTo>
                        <a:pt x="852" y="534"/>
                      </a:lnTo>
                      <a:lnTo>
                        <a:pt x="840" y="546"/>
                      </a:lnTo>
                      <a:lnTo>
                        <a:pt x="834" y="558"/>
                      </a:lnTo>
                      <a:lnTo>
                        <a:pt x="834" y="564"/>
                      </a:lnTo>
                      <a:lnTo>
                        <a:pt x="834" y="576"/>
                      </a:lnTo>
                      <a:lnTo>
                        <a:pt x="840" y="588"/>
                      </a:lnTo>
                      <a:lnTo>
                        <a:pt x="840" y="594"/>
                      </a:lnTo>
                      <a:lnTo>
                        <a:pt x="840" y="600"/>
                      </a:lnTo>
                      <a:lnTo>
                        <a:pt x="834" y="612"/>
                      </a:lnTo>
                      <a:lnTo>
                        <a:pt x="822" y="624"/>
                      </a:lnTo>
                      <a:lnTo>
                        <a:pt x="816" y="630"/>
                      </a:lnTo>
                      <a:lnTo>
                        <a:pt x="804" y="636"/>
                      </a:lnTo>
                      <a:lnTo>
                        <a:pt x="792" y="636"/>
                      </a:lnTo>
                      <a:lnTo>
                        <a:pt x="786" y="630"/>
                      </a:lnTo>
                      <a:lnTo>
                        <a:pt x="774" y="618"/>
                      </a:lnTo>
                      <a:lnTo>
                        <a:pt x="762" y="606"/>
                      </a:lnTo>
                      <a:lnTo>
                        <a:pt x="744" y="594"/>
                      </a:lnTo>
                      <a:lnTo>
                        <a:pt x="732" y="594"/>
                      </a:lnTo>
                      <a:lnTo>
                        <a:pt x="726" y="594"/>
                      </a:lnTo>
                      <a:lnTo>
                        <a:pt x="720" y="606"/>
                      </a:lnTo>
                      <a:lnTo>
                        <a:pt x="720" y="618"/>
                      </a:lnTo>
                      <a:lnTo>
                        <a:pt x="720" y="630"/>
                      </a:lnTo>
                      <a:lnTo>
                        <a:pt x="714" y="636"/>
                      </a:lnTo>
                      <a:lnTo>
                        <a:pt x="708" y="636"/>
                      </a:lnTo>
                      <a:lnTo>
                        <a:pt x="696" y="636"/>
                      </a:lnTo>
                      <a:lnTo>
                        <a:pt x="690" y="624"/>
                      </a:lnTo>
                      <a:lnTo>
                        <a:pt x="678" y="618"/>
                      </a:lnTo>
                      <a:lnTo>
                        <a:pt x="672" y="618"/>
                      </a:lnTo>
                      <a:lnTo>
                        <a:pt x="666" y="618"/>
                      </a:lnTo>
                      <a:lnTo>
                        <a:pt x="666" y="624"/>
                      </a:lnTo>
                      <a:lnTo>
                        <a:pt x="660" y="636"/>
                      </a:lnTo>
                      <a:lnTo>
                        <a:pt x="654" y="648"/>
                      </a:lnTo>
                      <a:lnTo>
                        <a:pt x="642" y="654"/>
                      </a:lnTo>
                      <a:lnTo>
                        <a:pt x="624" y="672"/>
                      </a:lnTo>
                      <a:lnTo>
                        <a:pt x="606" y="690"/>
                      </a:lnTo>
                      <a:lnTo>
                        <a:pt x="594" y="702"/>
                      </a:lnTo>
                      <a:lnTo>
                        <a:pt x="576" y="714"/>
                      </a:lnTo>
                      <a:lnTo>
                        <a:pt x="558" y="720"/>
                      </a:lnTo>
                      <a:lnTo>
                        <a:pt x="552" y="726"/>
                      </a:lnTo>
                      <a:lnTo>
                        <a:pt x="546" y="732"/>
                      </a:lnTo>
                      <a:lnTo>
                        <a:pt x="546" y="744"/>
                      </a:lnTo>
                      <a:lnTo>
                        <a:pt x="546" y="756"/>
                      </a:lnTo>
                      <a:lnTo>
                        <a:pt x="540" y="768"/>
                      </a:lnTo>
                      <a:lnTo>
                        <a:pt x="540" y="780"/>
                      </a:lnTo>
                      <a:lnTo>
                        <a:pt x="534" y="792"/>
                      </a:lnTo>
                      <a:lnTo>
                        <a:pt x="528" y="798"/>
                      </a:lnTo>
                      <a:lnTo>
                        <a:pt x="516" y="804"/>
                      </a:lnTo>
                      <a:lnTo>
                        <a:pt x="498" y="804"/>
                      </a:lnTo>
                      <a:lnTo>
                        <a:pt x="492" y="810"/>
                      </a:lnTo>
                      <a:lnTo>
                        <a:pt x="486" y="822"/>
                      </a:lnTo>
                      <a:lnTo>
                        <a:pt x="480" y="828"/>
                      </a:lnTo>
                      <a:lnTo>
                        <a:pt x="480" y="840"/>
                      </a:lnTo>
                      <a:lnTo>
                        <a:pt x="474" y="852"/>
                      </a:lnTo>
                      <a:lnTo>
                        <a:pt x="474" y="864"/>
                      </a:lnTo>
                      <a:lnTo>
                        <a:pt x="462" y="876"/>
                      </a:lnTo>
                      <a:lnTo>
                        <a:pt x="432" y="900"/>
                      </a:lnTo>
                      <a:lnTo>
                        <a:pt x="402" y="912"/>
                      </a:lnTo>
                      <a:lnTo>
                        <a:pt x="360" y="912"/>
                      </a:lnTo>
                      <a:lnTo>
                        <a:pt x="348" y="918"/>
                      </a:lnTo>
                      <a:lnTo>
                        <a:pt x="336" y="918"/>
                      </a:lnTo>
                      <a:lnTo>
                        <a:pt x="330" y="930"/>
                      </a:lnTo>
                      <a:lnTo>
                        <a:pt x="324" y="936"/>
                      </a:lnTo>
                      <a:lnTo>
                        <a:pt x="324" y="948"/>
                      </a:lnTo>
                      <a:lnTo>
                        <a:pt x="318" y="960"/>
                      </a:lnTo>
                      <a:lnTo>
                        <a:pt x="306" y="966"/>
                      </a:lnTo>
                      <a:lnTo>
                        <a:pt x="294" y="972"/>
                      </a:lnTo>
                      <a:lnTo>
                        <a:pt x="264" y="972"/>
                      </a:lnTo>
                      <a:lnTo>
                        <a:pt x="240" y="960"/>
                      </a:lnTo>
                      <a:lnTo>
                        <a:pt x="216" y="942"/>
                      </a:lnTo>
                      <a:lnTo>
                        <a:pt x="192" y="936"/>
                      </a:lnTo>
                      <a:lnTo>
                        <a:pt x="180" y="936"/>
                      </a:lnTo>
                      <a:lnTo>
                        <a:pt x="174" y="930"/>
                      </a:lnTo>
                      <a:lnTo>
                        <a:pt x="168" y="918"/>
                      </a:lnTo>
                      <a:lnTo>
                        <a:pt x="168" y="912"/>
                      </a:lnTo>
                      <a:lnTo>
                        <a:pt x="162" y="906"/>
                      </a:lnTo>
                      <a:lnTo>
                        <a:pt x="162" y="894"/>
                      </a:lnTo>
                      <a:lnTo>
                        <a:pt x="156" y="894"/>
                      </a:lnTo>
                      <a:lnTo>
                        <a:pt x="144" y="888"/>
                      </a:lnTo>
                      <a:lnTo>
                        <a:pt x="132" y="888"/>
                      </a:lnTo>
                      <a:lnTo>
                        <a:pt x="126" y="888"/>
                      </a:lnTo>
                      <a:lnTo>
                        <a:pt x="120" y="882"/>
                      </a:lnTo>
                      <a:lnTo>
                        <a:pt x="114" y="876"/>
                      </a:lnTo>
                      <a:lnTo>
                        <a:pt x="114" y="870"/>
                      </a:lnTo>
                      <a:lnTo>
                        <a:pt x="102" y="864"/>
                      </a:lnTo>
                      <a:lnTo>
                        <a:pt x="90" y="864"/>
                      </a:lnTo>
                      <a:lnTo>
                        <a:pt x="78" y="870"/>
                      </a:lnTo>
                      <a:lnTo>
                        <a:pt x="72" y="864"/>
                      </a:lnTo>
                      <a:lnTo>
                        <a:pt x="66" y="864"/>
                      </a:lnTo>
                      <a:lnTo>
                        <a:pt x="66" y="858"/>
                      </a:lnTo>
                      <a:lnTo>
                        <a:pt x="60" y="852"/>
                      </a:lnTo>
                      <a:lnTo>
                        <a:pt x="54" y="846"/>
                      </a:lnTo>
                      <a:lnTo>
                        <a:pt x="42" y="840"/>
                      </a:lnTo>
                      <a:lnTo>
                        <a:pt x="24" y="840"/>
                      </a:lnTo>
                      <a:lnTo>
                        <a:pt x="12" y="834"/>
                      </a:lnTo>
                      <a:lnTo>
                        <a:pt x="6" y="834"/>
                      </a:lnTo>
                      <a:lnTo>
                        <a:pt x="6" y="828"/>
                      </a:lnTo>
                      <a:lnTo>
                        <a:pt x="6" y="816"/>
                      </a:lnTo>
                      <a:lnTo>
                        <a:pt x="12" y="810"/>
                      </a:lnTo>
                      <a:lnTo>
                        <a:pt x="12" y="804"/>
                      </a:lnTo>
                      <a:lnTo>
                        <a:pt x="18" y="792"/>
                      </a:lnTo>
                      <a:lnTo>
                        <a:pt x="18" y="786"/>
                      </a:lnTo>
                      <a:lnTo>
                        <a:pt x="18" y="780"/>
                      </a:lnTo>
                      <a:lnTo>
                        <a:pt x="12" y="774"/>
                      </a:lnTo>
                      <a:lnTo>
                        <a:pt x="0" y="762"/>
                      </a:lnTo>
                      <a:lnTo>
                        <a:pt x="0" y="756"/>
                      </a:lnTo>
                      <a:lnTo>
                        <a:pt x="6" y="744"/>
                      </a:lnTo>
                      <a:lnTo>
                        <a:pt x="18" y="738"/>
                      </a:lnTo>
                      <a:lnTo>
                        <a:pt x="30" y="732"/>
                      </a:lnTo>
                      <a:lnTo>
                        <a:pt x="48" y="726"/>
                      </a:lnTo>
                      <a:lnTo>
                        <a:pt x="66" y="720"/>
                      </a:lnTo>
                      <a:lnTo>
                        <a:pt x="90" y="714"/>
                      </a:lnTo>
                      <a:lnTo>
                        <a:pt x="108" y="708"/>
                      </a:lnTo>
                      <a:lnTo>
                        <a:pt x="120" y="702"/>
                      </a:lnTo>
                      <a:lnTo>
                        <a:pt x="132" y="690"/>
                      </a:lnTo>
                      <a:lnTo>
                        <a:pt x="144" y="678"/>
                      </a:lnTo>
                      <a:lnTo>
                        <a:pt x="156" y="666"/>
                      </a:lnTo>
                      <a:lnTo>
                        <a:pt x="162" y="660"/>
                      </a:lnTo>
                      <a:lnTo>
                        <a:pt x="168" y="654"/>
                      </a:lnTo>
                      <a:lnTo>
                        <a:pt x="168" y="654"/>
                      </a:lnTo>
                      <a:lnTo>
                        <a:pt x="174" y="648"/>
                      </a:lnTo>
                      <a:lnTo>
                        <a:pt x="180" y="654"/>
                      </a:lnTo>
                      <a:lnTo>
                        <a:pt x="192" y="654"/>
                      </a:lnTo>
                      <a:lnTo>
                        <a:pt x="204" y="654"/>
                      </a:lnTo>
                      <a:lnTo>
                        <a:pt x="210" y="654"/>
                      </a:lnTo>
                      <a:lnTo>
                        <a:pt x="216" y="636"/>
                      </a:lnTo>
                      <a:lnTo>
                        <a:pt x="216" y="624"/>
                      </a:lnTo>
                      <a:lnTo>
                        <a:pt x="222" y="612"/>
                      </a:lnTo>
                      <a:lnTo>
                        <a:pt x="222" y="606"/>
                      </a:lnTo>
                      <a:lnTo>
                        <a:pt x="234" y="594"/>
                      </a:lnTo>
                      <a:lnTo>
                        <a:pt x="246" y="588"/>
                      </a:lnTo>
                      <a:lnTo>
                        <a:pt x="276" y="570"/>
                      </a:lnTo>
                      <a:lnTo>
                        <a:pt x="312" y="552"/>
                      </a:lnTo>
                      <a:lnTo>
                        <a:pt x="360" y="528"/>
                      </a:lnTo>
                      <a:lnTo>
                        <a:pt x="402" y="504"/>
                      </a:lnTo>
                      <a:lnTo>
                        <a:pt x="438" y="486"/>
                      </a:lnTo>
                      <a:lnTo>
                        <a:pt x="474" y="474"/>
                      </a:lnTo>
                      <a:lnTo>
                        <a:pt x="516" y="462"/>
                      </a:lnTo>
                      <a:lnTo>
                        <a:pt x="564" y="438"/>
                      </a:lnTo>
                      <a:lnTo>
                        <a:pt x="618" y="402"/>
                      </a:lnTo>
                      <a:lnTo>
                        <a:pt x="666" y="360"/>
                      </a:lnTo>
                      <a:lnTo>
                        <a:pt x="702" y="330"/>
                      </a:lnTo>
                      <a:lnTo>
                        <a:pt x="726" y="318"/>
                      </a:lnTo>
                      <a:lnTo>
                        <a:pt x="750" y="306"/>
                      </a:lnTo>
                      <a:lnTo>
                        <a:pt x="774" y="294"/>
                      </a:lnTo>
                      <a:lnTo>
                        <a:pt x="792" y="282"/>
                      </a:lnTo>
                      <a:lnTo>
                        <a:pt x="816" y="258"/>
                      </a:lnTo>
                      <a:lnTo>
                        <a:pt x="846" y="234"/>
                      </a:lnTo>
                      <a:lnTo>
                        <a:pt x="882" y="210"/>
                      </a:lnTo>
                      <a:lnTo>
                        <a:pt x="912" y="186"/>
                      </a:lnTo>
                      <a:lnTo>
                        <a:pt x="930" y="174"/>
                      </a:lnTo>
                      <a:lnTo>
                        <a:pt x="942" y="150"/>
                      </a:lnTo>
                      <a:lnTo>
                        <a:pt x="954" y="132"/>
                      </a:lnTo>
                      <a:lnTo>
                        <a:pt x="972" y="102"/>
                      </a:lnTo>
                      <a:lnTo>
                        <a:pt x="990" y="84"/>
                      </a:lnTo>
                      <a:lnTo>
                        <a:pt x="1008" y="66"/>
                      </a:lnTo>
                      <a:lnTo>
                        <a:pt x="1026" y="48"/>
                      </a:lnTo>
                      <a:lnTo>
                        <a:pt x="1038" y="30"/>
                      </a:lnTo>
                      <a:lnTo>
                        <a:pt x="1050" y="18"/>
                      </a:lnTo>
                      <a:lnTo>
                        <a:pt x="1062" y="6"/>
                      </a:lnTo>
                      <a:lnTo>
                        <a:pt x="1068" y="6"/>
                      </a:lnTo>
                      <a:lnTo>
                        <a:pt x="107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42" name="Freeform 405">
                  <a:extLst>
                    <a:ext uri="{FF2B5EF4-FFF2-40B4-BE49-F238E27FC236}">
                      <a16:creationId xmlns:a16="http://schemas.microsoft.com/office/drawing/2014/main" id="{96EBFC3E-4F5E-4BE6-9246-21B492423A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99" y="11274"/>
                  <a:ext cx="120" cy="114"/>
                </a:xfrm>
                <a:custGeom>
                  <a:avLst/>
                  <a:gdLst>
                    <a:gd name="T0" fmla="*/ 72 w 120"/>
                    <a:gd name="T1" fmla="*/ 0 h 114"/>
                    <a:gd name="T2" fmla="*/ 84 w 120"/>
                    <a:gd name="T3" fmla="*/ 0 h 114"/>
                    <a:gd name="T4" fmla="*/ 90 w 120"/>
                    <a:gd name="T5" fmla="*/ 0 h 114"/>
                    <a:gd name="T6" fmla="*/ 108 w 120"/>
                    <a:gd name="T7" fmla="*/ 6 h 114"/>
                    <a:gd name="T8" fmla="*/ 120 w 120"/>
                    <a:gd name="T9" fmla="*/ 12 h 114"/>
                    <a:gd name="T10" fmla="*/ 120 w 120"/>
                    <a:gd name="T11" fmla="*/ 18 h 114"/>
                    <a:gd name="T12" fmla="*/ 120 w 120"/>
                    <a:gd name="T13" fmla="*/ 24 h 114"/>
                    <a:gd name="T14" fmla="*/ 114 w 120"/>
                    <a:gd name="T15" fmla="*/ 30 h 114"/>
                    <a:gd name="T16" fmla="*/ 108 w 120"/>
                    <a:gd name="T17" fmla="*/ 36 h 114"/>
                    <a:gd name="T18" fmla="*/ 102 w 120"/>
                    <a:gd name="T19" fmla="*/ 42 h 114"/>
                    <a:gd name="T20" fmla="*/ 102 w 120"/>
                    <a:gd name="T21" fmla="*/ 54 h 114"/>
                    <a:gd name="T22" fmla="*/ 108 w 120"/>
                    <a:gd name="T23" fmla="*/ 60 h 114"/>
                    <a:gd name="T24" fmla="*/ 108 w 120"/>
                    <a:gd name="T25" fmla="*/ 66 h 114"/>
                    <a:gd name="T26" fmla="*/ 102 w 120"/>
                    <a:gd name="T27" fmla="*/ 72 h 114"/>
                    <a:gd name="T28" fmla="*/ 96 w 120"/>
                    <a:gd name="T29" fmla="*/ 78 h 114"/>
                    <a:gd name="T30" fmla="*/ 84 w 120"/>
                    <a:gd name="T31" fmla="*/ 84 h 114"/>
                    <a:gd name="T32" fmla="*/ 66 w 120"/>
                    <a:gd name="T33" fmla="*/ 90 h 114"/>
                    <a:gd name="T34" fmla="*/ 54 w 120"/>
                    <a:gd name="T35" fmla="*/ 96 h 114"/>
                    <a:gd name="T36" fmla="*/ 36 w 120"/>
                    <a:gd name="T37" fmla="*/ 108 h 114"/>
                    <a:gd name="T38" fmla="*/ 18 w 120"/>
                    <a:gd name="T39" fmla="*/ 114 h 114"/>
                    <a:gd name="T40" fmla="*/ 6 w 120"/>
                    <a:gd name="T41" fmla="*/ 114 h 114"/>
                    <a:gd name="T42" fmla="*/ 0 w 120"/>
                    <a:gd name="T43" fmla="*/ 114 h 114"/>
                    <a:gd name="T44" fmla="*/ 0 w 120"/>
                    <a:gd name="T45" fmla="*/ 108 h 114"/>
                    <a:gd name="T46" fmla="*/ 0 w 120"/>
                    <a:gd name="T47" fmla="*/ 96 h 114"/>
                    <a:gd name="T48" fmla="*/ 6 w 120"/>
                    <a:gd name="T49" fmla="*/ 90 h 114"/>
                    <a:gd name="T50" fmla="*/ 12 w 120"/>
                    <a:gd name="T51" fmla="*/ 84 h 114"/>
                    <a:gd name="T52" fmla="*/ 24 w 120"/>
                    <a:gd name="T53" fmla="*/ 72 h 114"/>
                    <a:gd name="T54" fmla="*/ 30 w 120"/>
                    <a:gd name="T55" fmla="*/ 60 h 114"/>
                    <a:gd name="T56" fmla="*/ 30 w 120"/>
                    <a:gd name="T57" fmla="*/ 54 h 114"/>
                    <a:gd name="T58" fmla="*/ 30 w 120"/>
                    <a:gd name="T59" fmla="*/ 42 h 114"/>
                    <a:gd name="T60" fmla="*/ 24 w 120"/>
                    <a:gd name="T61" fmla="*/ 36 h 114"/>
                    <a:gd name="T62" fmla="*/ 24 w 120"/>
                    <a:gd name="T63" fmla="*/ 24 h 114"/>
                    <a:gd name="T64" fmla="*/ 36 w 120"/>
                    <a:gd name="T65" fmla="*/ 18 h 114"/>
                    <a:gd name="T66" fmla="*/ 54 w 120"/>
                    <a:gd name="T67" fmla="*/ 6 h 114"/>
                    <a:gd name="T68" fmla="*/ 66 w 120"/>
                    <a:gd name="T69" fmla="*/ 0 h 114"/>
                    <a:gd name="T70" fmla="*/ 72 w 120"/>
                    <a:gd name="T71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20" h="114">
                      <a:moveTo>
                        <a:pt x="72" y="0"/>
                      </a:moveTo>
                      <a:lnTo>
                        <a:pt x="84" y="0"/>
                      </a:lnTo>
                      <a:lnTo>
                        <a:pt x="90" y="0"/>
                      </a:lnTo>
                      <a:lnTo>
                        <a:pt x="108" y="6"/>
                      </a:lnTo>
                      <a:lnTo>
                        <a:pt x="120" y="12"/>
                      </a:lnTo>
                      <a:lnTo>
                        <a:pt x="120" y="18"/>
                      </a:lnTo>
                      <a:lnTo>
                        <a:pt x="120" y="24"/>
                      </a:lnTo>
                      <a:lnTo>
                        <a:pt x="114" y="30"/>
                      </a:lnTo>
                      <a:lnTo>
                        <a:pt x="108" y="36"/>
                      </a:lnTo>
                      <a:lnTo>
                        <a:pt x="102" y="42"/>
                      </a:lnTo>
                      <a:lnTo>
                        <a:pt x="102" y="54"/>
                      </a:lnTo>
                      <a:lnTo>
                        <a:pt x="108" y="60"/>
                      </a:lnTo>
                      <a:lnTo>
                        <a:pt x="108" y="66"/>
                      </a:lnTo>
                      <a:lnTo>
                        <a:pt x="102" y="72"/>
                      </a:lnTo>
                      <a:lnTo>
                        <a:pt x="96" y="78"/>
                      </a:lnTo>
                      <a:lnTo>
                        <a:pt x="84" y="84"/>
                      </a:lnTo>
                      <a:lnTo>
                        <a:pt x="66" y="90"/>
                      </a:lnTo>
                      <a:lnTo>
                        <a:pt x="54" y="96"/>
                      </a:lnTo>
                      <a:lnTo>
                        <a:pt x="36" y="108"/>
                      </a:lnTo>
                      <a:lnTo>
                        <a:pt x="18" y="114"/>
                      </a:lnTo>
                      <a:lnTo>
                        <a:pt x="6" y="114"/>
                      </a:lnTo>
                      <a:lnTo>
                        <a:pt x="0" y="114"/>
                      </a:lnTo>
                      <a:lnTo>
                        <a:pt x="0" y="108"/>
                      </a:lnTo>
                      <a:lnTo>
                        <a:pt x="0" y="96"/>
                      </a:lnTo>
                      <a:lnTo>
                        <a:pt x="6" y="90"/>
                      </a:lnTo>
                      <a:lnTo>
                        <a:pt x="12" y="84"/>
                      </a:lnTo>
                      <a:lnTo>
                        <a:pt x="24" y="72"/>
                      </a:lnTo>
                      <a:lnTo>
                        <a:pt x="30" y="60"/>
                      </a:lnTo>
                      <a:lnTo>
                        <a:pt x="30" y="54"/>
                      </a:lnTo>
                      <a:lnTo>
                        <a:pt x="30" y="42"/>
                      </a:lnTo>
                      <a:lnTo>
                        <a:pt x="24" y="36"/>
                      </a:lnTo>
                      <a:lnTo>
                        <a:pt x="24" y="24"/>
                      </a:lnTo>
                      <a:lnTo>
                        <a:pt x="36" y="18"/>
                      </a:lnTo>
                      <a:lnTo>
                        <a:pt x="54" y="6"/>
                      </a:lnTo>
                      <a:lnTo>
                        <a:pt x="66" y="0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343" name="Freeform 406">
                  <a:extLst>
                    <a:ext uri="{FF2B5EF4-FFF2-40B4-BE49-F238E27FC236}">
                      <a16:creationId xmlns:a16="http://schemas.microsoft.com/office/drawing/2014/main" id="{F7DDD0F8-2C61-4CD8-917D-726C966D9F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185" y="9168"/>
                  <a:ext cx="660" cy="1326"/>
                </a:xfrm>
                <a:custGeom>
                  <a:avLst/>
                  <a:gdLst>
                    <a:gd name="T0" fmla="*/ 294 w 660"/>
                    <a:gd name="T1" fmla="*/ 24 h 1326"/>
                    <a:gd name="T2" fmla="*/ 306 w 660"/>
                    <a:gd name="T3" fmla="*/ 66 h 1326"/>
                    <a:gd name="T4" fmla="*/ 348 w 660"/>
                    <a:gd name="T5" fmla="*/ 102 h 1326"/>
                    <a:gd name="T6" fmla="*/ 348 w 660"/>
                    <a:gd name="T7" fmla="*/ 156 h 1326"/>
                    <a:gd name="T8" fmla="*/ 402 w 660"/>
                    <a:gd name="T9" fmla="*/ 192 h 1326"/>
                    <a:gd name="T10" fmla="*/ 396 w 660"/>
                    <a:gd name="T11" fmla="*/ 324 h 1326"/>
                    <a:gd name="T12" fmla="*/ 366 w 660"/>
                    <a:gd name="T13" fmla="*/ 390 h 1326"/>
                    <a:gd name="T14" fmla="*/ 372 w 660"/>
                    <a:gd name="T15" fmla="*/ 426 h 1326"/>
                    <a:gd name="T16" fmla="*/ 408 w 660"/>
                    <a:gd name="T17" fmla="*/ 468 h 1326"/>
                    <a:gd name="T18" fmla="*/ 420 w 660"/>
                    <a:gd name="T19" fmla="*/ 426 h 1326"/>
                    <a:gd name="T20" fmla="*/ 444 w 660"/>
                    <a:gd name="T21" fmla="*/ 372 h 1326"/>
                    <a:gd name="T22" fmla="*/ 474 w 660"/>
                    <a:gd name="T23" fmla="*/ 396 h 1326"/>
                    <a:gd name="T24" fmla="*/ 456 w 660"/>
                    <a:gd name="T25" fmla="*/ 480 h 1326"/>
                    <a:gd name="T26" fmla="*/ 462 w 660"/>
                    <a:gd name="T27" fmla="*/ 606 h 1326"/>
                    <a:gd name="T28" fmla="*/ 486 w 660"/>
                    <a:gd name="T29" fmla="*/ 696 h 1326"/>
                    <a:gd name="T30" fmla="*/ 540 w 660"/>
                    <a:gd name="T31" fmla="*/ 672 h 1326"/>
                    <a:gd name="T32" fmla="*/ 582 w 660"/>
                    <a:gd name="T33" fmla="*/ 678 h 1326"/>
                    <a:gd name="T34" fmla="*/ 648 w 660"/>
                    <a:gd name="T35" fmla="*/ 654 h 1326"/>
                    <a:gd name="T36" fmla="*/ 660 w 660"/>
                    <a:gd name="T37" fmla="*/ 726 h 1326"/>
                    <a:gd name="T38" fmla="*/ 588 w 660"/>
                    <a:gd name="T39" fmla="*/ 792 h 1326"/>
                    <a:gd name="T40" fmla="*/ 558 w 660"/>
                    <a:gd name="T41" fmla="*/ 840 h 1326"/>
                    <a:gd name="T42" fmla="*/ 510 w 660"/>
                    <a:gd name="T43" fmla="*/ 876 h 1326"/>
                    <a:gd name="T44" fmla="*/ 492 w 660"/>
                    <a:gd name="T45" fmla="*/ 942 h 1326"/>
                    <a:gd name="T46" fmla="*/ 438 w 660"/>
                    <a:gd name="T47" fmla="*/ 954 h 1326"/>
                    <a:gd name="T48" fmla="*/ 372 w 660"/>
                    <a:gd name="T49" fmla="*/ 948 h 1326"/>
                    <a:gd name="T50" fmla="*/ 324 w 660"/>
                    <a:gd name="T51" fmla="*/ 1044 h 1326"/>
                    <a:gd name="T52" fmla="*/ 150 w 660"/>
                    <a:gd name="T53" fmla="*/ 1188 h 1326"/>
                    <a:gd name="T54" fmla="*/ 36 w 660"/>
                    <a:gd name="T55" fmla="*/ 1314 h 1326"/>
                    <a:gd name="T56" fmla="*/ 6 w 660"/>
                    <a:gd name="T57" fmla="*/ 1314 h 1326"/>
                    <a:gd name="T58" fmla="*/ 6 w 660"/>
                    <a:gd name="T59" fmla="*/ 1278 h 1326"/>
                    <a:gd name="T60" fmla="*/ 6 w 660"/>
                    <a:gd name="T61" fmla="*/ 1230 h 1326"/>
                    <a:gd name="T62" fmla="*/ 48 w 660"/>
                    <a:gd name="T63" fmla="*/ 1194 h 1326"/>
                    <a:gd name="T64" fmla="*/ 78 w 660"/>
                    <a:gd name="T65" fmla="*/ 1086 h 1326"/>
                    <a:gd name="T66" fmla="*/ 84 w 660"/>
                    <a:gd name="T67" fmla="*/ 1032 h 1326"/>
                    <a:gd name="T68" fmla="*/ 60 w 660"/>
                    <a:gd name="T69" fmla="*/ 996 h 1326"/>
                    <a:gd name="T70" fmla="*/ 6 w 660"/>
                    <a:gd name="T71" fmla="*/ 948 h 1326"/>
                    <a:gd name="T72" fmla="*/ 60 w 660"/>
                    <a:gd name="T73" fmla="*/ 810 h 1326"/>
                    <a:gd name="T74" fmla="*/ 144 w 660"/>
                    <a:gd name="T75" fmla="*/ 756 h 1326"/>
                    <a:gd name="T76" fmla="*/ 204 w 660"/>
                    <a:gd name="T77" fmla="*/ 690 h 1326"/>
                    <a:gd name="T78" fmla="*/ 264 w 660"/>
                    <a:gd name="T79" fmla="*/ 678 h 1326"/>
                    <a:gd name="T80" fmla="*/ 258 w 660"/>
                    <a:gd name="T81" fmla="*/ 636 h 1326"/>
                    <a:gd name="T82" fmla="*/ 264 w 660"/>
                    <a:gd name="T83" fmla="*/ 576 h 1326"/>
                    <a:gd name="T84" fmla="*/ 300 w 660"/>
                    <a:gd name="T85" fmla="*/ 534 h 1326"/>
                    <a:gd name="T86" fmla="*/ 288 w 660"/>
                    <a:gd name="T87" fmla="*/ 474 h 1326"/>
                    <a:gd name="T88" fmla="*/ 312 w 660"/>
                    <a:gd name="T89" fmla="*/ 444 h 1326"/>
                    <a:gd name="T90" fmla="*/ 300 w 660"/>
                    <a:gd name="T91" fmla="*/ 408 h 1326"/>
                    <a:gd name="T92" fmla="*/ 282 w 660"/>
                    <a:gd name="T93" fmla="*/ 360 h 1326"/>
                    <a:gd name="T94" fmla="*/ 294 w 660"/>
                    <a:gd name="T95" fmla="*/ 318 h 1326"/>
                    <a:gd name="T96" fmla="*/ 276 w 660"/>
                    <a:gd name="T97" fmla="*/ 288 h 1326"/>
                    <a:gd name="T98" fmla="*/ 282 w 660"/>
                    <a:gd name="T99" fmla="*/ 240 h 1326"/>
                    <a:gd name="T100" fmla="*/ 264 w 660"/>
                    <a:gd name="T101" fmla="*/ 210 h 1326"/>
                    <a:gd name="T102" fmla="*/ 258 w 660"/>
                    <a:gd name="T103" fmla="*/ 114 h 1326"/>
                    <a:gd name="T104" fmla="*/ 276 w 660"/>
                    <a:gd name="T105" fmla="*/ 0 h 1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60" h="1326">
                      <a:moveTo>
                        <a:pt x="282" y="0"/>
                      </a:moveTo>
                      <a:lnTo>
                        <a:pt x="288" y="0"/>
                      </a:lnTo>
                      <a:lnTo>
                        <a:pt x="294" y="12"/>
                      </a:lnTo>
                      <a:lnTo>
                        <a:pt x="294" y="24"/>
                      </a:lnTo>
                      <a:lnTo>
                        <a:pt x="288" y="42"/>
                      </a:lnTo>
                      <a:lnTo>
                        <a:pt x="294" y="54"/>
                      </a:lnTo>
                      <a:lnTo>
                        <a:pt x="300" y="60"/>
                      </a:lnTo>
                      <a:lnTo>
                        <a:pt x="306" y="66"/>
                      </a:lnTo>
                      <a:lnTo>
                        <a:pt x="318" y="72"/>
                      </a:lnTo>
                      <a:lnTo>
                        <a:pt x="324" y="84"/>
                      </a:lnTo>
                      <a:lnTo>
                        <a:pt x="336" y="90"/>
                      </a:lnTo>
                      <a:lnTo>
                        <a:pt x="348" y="102"/>
                      </a:lnTo>
                      <a:lnTo>
                        <a:pt x="348" y="120"/>
                      </a:lnTo>
                      <a:lnTo>
                        <a:pt x="348" y="132"/>
                      </a:lnTo>
                      <a:lnTo>
                        <a:pt x="342" y="144"/>
                      </a:lnTo>
                      <a:lnTo>
                        <a:pt x="348" y="156"/>
                      </a:lnTo>
                      <a:lnTo>
                        <a:pt x="360" y="162"/>
                      </a:lnTo>
                      <a:lnTo>
                        <a:pt x="372" y="174"/>
                      </a:lnTo>
                      <a:lnTo>
                        <a:pt x="384" y="180"/>
                      </a:lnTo>
                      <a:lnTo>
                        <a:pt x="402" y="192"/>
                      </a:lnTo>
                      <a:lnTo>
                        <a:pt x="408" y="204"/>
                      </a:lnTo>
                      <a:lnTo>
                        <a:pt x="414" y="246"/>
                      </a:lnTo>
                      <a:lnTo>
                        <a:pt x="402" y="288"/>
                      </a:lnTo>
                      <a:lnTo>
                        <a:pt x="396" y="324"/>
                      </a:lnTo>
                      <a:lnTo>
                        <a:pt x="390" y="342"/>
                      </a:lnTo>
                      <a:lnTo>
                        <a:pt x="384" y="366"/>
                      </a:lnTo>
                      <a:lnTo>
                        <a:pt x="372" y="378"/>
                      </a:lnTo>
                      <a:lnTo>
                        <a:pt x="366" y="390"/>
                      </a:lnTo>
                      <a:lnTo>
                        <a:pt x="360" y="396"/>
                      </a:lnTo>
                      <a:lnTo>
                        <a:pt x="360" y="402"/>
                      </a:lnTo>
                      <a:lnTo>
                        <a:pt x="366" y="414"/>
                      </a:lnTo>
                      <a:lnTo>
                        <a:pt x="372" y="426"/>
                      </a:lnTo>
                      <a:lnTo>
                        <a:pt x="378" y="444"/>
                      </a:lnTo>
                      <a:lnTo>
                        <a:pt x="390" y="456"/>
                      </a:lnTo>
                      <a:lnTo>
                        <a:pt x="402" y="468"/>
                      </a:lnTo>
                      <a:lnTo>
                        <a:pt x="408" y="468"/>
                      </a:lnTo>
                      <a:lnTo>
                        <a:pt x="408" y="462"/>
                      </a:lnTo>
                      <a:lnTo>
                        <a:pt x="414" y="450"/>
                      </a:lnTo>
                      <a:lnTo>
                        <a:pt x="414" y="438"/>
                      </a:lnTo>
                      <a:lnTo>
                        <a:pt x="420" y="426"/>
                      </a:lnTo>
                      <a:lnTo>
                        <a:pt x="420" y="408"/>
                      </a:lnTo>
                      <a:lnTo>
                        <a:pt x="426" y="396"/>
                      </a:lnTo>
                      <a:lnTo>
                        <a:pt x="432" y="384"/>
                      </a:lnTo>
                      <a:lnTo>
                        <a:pt x="444" y="372"/>
                      </a:lnTo>
                      <a:lnTo>
                        <a:pt x="456" y="366"/>
                      </a:lnTo>
                      <a:lnTo>
                        <a:pt x="462" y="366"/>
                      </a:lnTo>
                      <a:lnTo>
                        <a:pt x="474" y="378"/>
                      </a:lnTo>
                      <a:lnTo>
                        <a:pt x="474" y="396"/>
                      </a:lnTo>
                      <a:lnTo>
                        <a:pt x="474" y="414"/>
                      </a:lnTo>
                      <a:lnTo>
                        <a:pt x="468" y="432"/>
                      </a:lnTo>
                      <a:lnTo>
                        <a:pt x="462" y="450"/>
                      </a:lnTo>
                      <a:lnTo>
                        <a:pt x="456" y="480"/>
                      </a:lnTo>
                      <a:lnTo>
                        <a:pt x="456" y="504"/>
                      </a:lnTo>
                      <a:lnTo>
                        <a:pt x="456" y="528"/>
                      </a:lnTo>
                      <a:lnTo>
                        <a:pt x="462" y="558"/>
                      </a:lnTo>
                      <a:lnTo>
                        <a:pt x="462" y="606"/>
                      </a:lnTo>
                      <a:lnTo>
                        <a:pt x="468" y="648"/>
                      </a:lnTo>
                      <a:lnTo>
                        <a:pt x="468" y="672"/>
                      </a:lnTo>
                      <a:lnTo>
                        <a:pt x="474" y="684"/>
                      </a:lnTo>
                      <a:lnTo>
                        <a:pt x="486" y="696"/>
                      </a:lnTo>
                      <a:lnTo>
                        <a:pt x="504" y="690"/>
                      </a:lnTo>
                      <a:lnTo>
                        <a:pt x="522" y="684"/>
                      </a:lnTo>
                      <a:lnTo>
                        <a:pt x="534" y="678"/>
                      </a:lnTo>
                      <a:lnTo>
                        <a:pt x="540" y="672"/>
                      </a:lnTo>
                      <a:lnTo>
                        <a:pt x="552" y="672"/>
                      </a:lnTo>
                      <a:lnTo>
                        <a:pt x="564" y="678"/>
                      </a:lnTo>
                      <a:lnTo>
                        <a:pt x="570" y="678"/>
                      </a:lnTo>
                      <a:lnTo>
                        <a:pt x="582" y="678"/>
                      </a:lnTo>
                      <a:lnTo>
                        <a:pt x="600" y="666"/>
                      </a:lnTo>
                      <a:lnTo>
                        <a:pt x="618" y="660"/>
                      </a:lnTo>
                      <a:lnTo>
                        <a:pt x="636" y="654"/>
                      </a:lnTo>
                      <a:lnTo>
                        <a:pt x="648" y="654"/>
                      </a:lnTo>
                      <a:lnTo>
                        <a:pt x="654" y="660"/>
                      </a:lnTo>
                      <a:lnTo>
                        <a:pt x="660" y="666"/>
                      </a:lnTo>
                      <a:lnTo>
                        <a:pt x="660" y="696"/>
                      </a:lnTo>
                      <a:lnTo>
                        <a:pt x="660" y="726"/>
                      </a:lnTo>
                      <a:lnTo>
                        <a:pt x="648" y="756"/>
                      </a:lnTo>
                      <a:lnTo>
                        <a:pt x="618" y="774"/>
                      </a:lnTo>
                      <a:lnTo>
                        <a:pt x="600" y="786"/>
                      </a:lnTo>
                      <a:lnTo>
                        <a:pt x="588" y="792"/>
                      </a:lnTo>
                      <a:lnTo>
                        <a:pt x="576" y="804"/>
                      </a:lnTo>
                      <a:lnTo>
                        <a:pt x="570" y="822"/>
                      </a:lnTo>
                      <a:lnTo>
                        <a:pt x="564" y="834"/>
                      </a:lnTo>
                      <a:lnTo>
                        <a:pt x="558" y="840"/>
                      </a:lnTo>
                      <a:lnTo>
                        <a:pt x="552" y="852"/>
                      </a:lnTo>
                      <a:lnTo>
                        <a:pt x="540" y="858"/>
                      </a:lnTo>
                      <a:lnTo>
                        <a:pt x="522" y="864"/>
                      </a:lnTo>
                      <a:lnTo>
                        <a:pt x="510" y="876"/>
                      </a:lnTo>
                      <a:lnTo>
                        <a:pt x="504" y="888"/>
                      </a:lnTo>
                      <a:lnTo>
                        <a:pt x="498" y="906"/>
                      </a:lnTo>
                      <a:lnTo>
                        <a:pt x="498" y="924"/>
                      </a:lnTo>
                      <a:lnTo>
                        <a:pt x="492" y="942"/>
                      </a:lnTo>
                      <a:lnTo>
                        <a:pt x="480" y="954"/>
                      </a:lnTo>
                      <a:lnTo>
                        <a:pt x="468" y="960"/>
                      </a:lnTo>
                      <a:lnTo>
                        <a:pt x="456" y="960"/>
                      </a:lnTo>
                      <a:lnTo>
                        <a:pt x="438" y="954"/>
                      </a:lnTo>
                      <a:lnTo>
                        <a:pt x="426" y="942"/>
                      </a:lnTo>
                      <a:lnTo>
                        <a:pt x="408" y="936"/>
                      </a:lnTo>
                      <a:lnTo>
                        <a:pt x="390" y="936"/>
                      </a:lnTo>
                      <a:lnTo>
                        <a:pt x="372" y="948"/>
                      </a:lnTo>
                      <a:lnTo>
                        <a:pt x="354" y="960"/>
                      </a:lnTo>
                      <a:lnTo>
                        <a:pt x="348" y="984"/>
                      </a:lnTo>
                      <a:lnTo>
                        <a:pt x="342" y="1002"/>
                      </a:lnTo>
                      <a:lnTo>
                        <a:pt x="324" y="1044"/>
                      </a:lnTo>
                      <a:lnTo>
                        <a:pt x="294" y="1092"/>
                      </a:lnTo>
                      <a:lnTo>
                        <a:pt x="252" y="1128"/>
                      </a:lnTo>
                      <a:lnTo>
                        <a:pt x="198" y="1158"/>
                      </a:lnTo>
                      <a:lnTo>
                        <a:pt x="150" y="1188"/>
                      </a:lnTo>
                      <a:lnTo>
                        <a:pt x="120" y="1224"/>
                      </a:lnTo>
                      <a:lnTo>
                        <a:pt x="96" y="1260"/>
                      </a:lnTo>
                      <a:lnTo>
                        <a:pt x="48" y="1302"/>
                      </a:lnTo>
                      <a:lnTo>
                        <a:pt x="36" y="1314"/>
                      </a:lnTo>
                      <a:lnTo>
                        <a:pt x="24" y="1320"/>
                      </a:lnTo>
                      <a:lnTo>
                        <a:pt x="12" y="1326"/>
                      </a:lnTo>
                      <a:lnTo>
                        <a:pt x="6" y="1320"/>
                      </a:lnTo>
                      <a:lnTo>
                        <a:pt x="6" y="1314"/>
                      </a:lnTo>
                      <a:lnTo>
                        <a:pt x="0" y="1308"/>
                      </a:lnTo>
                      <a:lnTo>
                        <a:pt x="0" y="1296"/>
                      </a:lnTo>
                      <a:lnTo>
                        <a:pt x="0" y="1284"/>
                      </a:lnTo>
                      <a:lnTo>
                        <a:pt x="6" y="1278"/>
                      </a:lnTo>
                      <a:lnTo>
                        <a:pt x="6" y="1266"/>
                      </a:lnTo>
                      <a:lnTo>
                        <a:pt x="6" y="1254"/>
                      </a:lnTo>
                      <a:lnTo>
                        <a:pt x="6" y="1242"/>
                      </a:lnTo>
                      <a:lnTo>
                        <a:pt x="6" y="1230"/>
                      </a:lnTo>
                      <a:lnTo>
                        <a:pt x="6" y="1218"/>
                      </a:lnTo>
                      <a:lnTo>
                        <a:pt x="18" y="1206"/>
                      </a:lnTo>
                      <a:lnTo>
                        <a:pt x="30" y="1200"/>
                      </a:lnTo>
                      <a:lnTo>
                        <a:pt x="48" y="1194"/>
                      </a:lnTo>
                      <a:lnTo>
                        <a:pt x="72" y="1182"/>
                      </a:lnTo>
                      <a:lnTo>
                        <a:pt x="78" y="1158"/>
                      </a:lnTo>
                      <a:lnTo>
                        <a:pt x="78" y="1122"/>
                      </a:lnTo>
                      <a:lnTo>
                        <a:pt x="78" y="1086"/>
                      </a:lnTo>
                      <a:lnTo>
                        <a:pt x="78" y="1074"/>
                      </a:lnTo>
                      <a:lnTo>
                        <a:pt x="84" y="1062"/>
                      </a:lnTo>
                      <a:lnTo>
                        <a:pt x="84" y="1044"/>
                      </a:lnTo>
                      <a:lnTo>
                        <a:pt x="84" y="1032"/>
                      </a:lnTo>
                      <a:lnTo>
                        <a:pt x="84" y="1020"/>
                      </a:lnTo>
                      <a:lnTo>
                        <a:pt x="78" y="1014"/>
                      </a:lnTo>
                      <a:lnTo>
                        <a:pt x="72" y="1002"/>
                      </a:lnTo>
                      <a:lnTo>
                        <a:pt x="60" y="996"/>
                      </a:lnTo>
                      <a:lnTo>
                        <a:pt x="48" y="996"/>
                      </a:lnTo>
                      <a:lnTo>
                        <a:pt x="18" y="996"/>
                      </a:lnTo>
                      <a:lnTo>
                        <a:pt x="6" y="978"/>
                      </a:lnTo>
                      <a:lnTo>
                        <a:pt x="6" y="948"/>
                      </a:lnTo>
                      <a:lnTo>
                        <a:pt x="12" y="900"/>
                      </a:lnTo>
                      <a:lnTo>
                        <a:pt x="18" y="852"/>
                      </a:lnTo>
                      <a:lnTo>
                        <a:pt x="36" y="828"/>
                      </a:lnTo>
                      <a:lnTo>
                        <a:pt x="60" y="810"/>
                      </a:lnTo>
                      <a:lnTo>
                        <a:pt x="96" y="792"/>
                      </a:lnTo>
                      <a:lnTo>
                        <a:pt x="114" y="780"/>
                      </a:lnTo>
                      <a:lnTo>
                        <a:pt x="132" y="768"/>
                      </a:lnTo>
                      <a:lnTo>
                        <a:pt x="144" y="756"/>
                      </a:lnTo>
                      <a:lnTo>
                        <a:pt x="156" y="732"/>
                      </a:lnTo>
                      <a:lnTo>
                        <a:pt x="168" y="720"/>
                      </a:lnTo>
                      <a:lnTo>
                        <a:pt x="186" y="702"/>
                      </a:lnTo>
                      <a:lnTo>
                        <a:pt x="204" y="690"/>
                      </a:lnTo>
                      <a:lnTo>
                        <a:pt x="222" y="684"/>
                      </a:lnTo>
                      <a:lnTo>
                        <a:pt x="246" y="684"/>
                      </a:lnTo>
                      <a:lnTo>
                        <a:pt x="258" y="684"/>
                      </a:lnTo>
                      <a:lnTo>
                        <a:pt x="264" y="678"/>
                      </a:lnTo>
                      <a:lnTo>
                        <a:pt x="270" y="672"/>
                      </a:lnTo>
                      <a:lnTo>
                        <a:pt x="270" y="660"/>
                      </a:lnTo>
                      <a:lnTo>
                        <a:pt x="264" y="648"/>
                      </a:lnTo>
                      <a:lnTo>
                        <a:pt x="258" y="636"/>
                      </a:lnTo>
                      <a:lnTo>
                        <a:pt x="252" y="624"/>
                      </a:lnTo>
                      <a:lnTo>
                        <a:pt x="252" y="612"/>
                      </a:lnTo>
                      <a:lnTo>
                        <a:pt x="258" y="594"/>
                      </a:lnTo>
                      <a:lnTo>
                        <a:pt x="264" y="576"/>
                      </a:lnTo>
                      <a:lnTo>
                        <a:pt x="270" y="564"/>
                      </a:lnTo>
                      <a:lnTo>
                        <a:pt x="282" y="558"/>
                      </a:lnTo>
                      <a:lnTo>
                        <a:pt x="294" y="546"/>
                      </a:lnTo>
                      <a:lnTo>
                        <a:pt x="300" y="534"/>
                      </a:lnTo>
                      <a:lnTo>
                        <a:pt x="300" y="516"/>
                      </a:lnTo>
                      <a:lnTo>
                        <a:pt x="294" y="498"/>
                      </a:lnTo>
                      <a:lnTo>
                        <a:pt x="288" y="486"/>
                      </a:lnTo>
                      <a:lnTo>
                        <a:pt x="288" y="474"/>
                      </a:lnTo>
                      <a:lnTo>
                        <a:pt x="294" y="468"/>
                      </a:lnTo>
                      <a:lnTo>
                        <a:pt x="300" y="456"/>
                      </a:lnTo>
                      <a:lnTo>
                        <a:pt x="306" y="450"/>
                      </a:lnTo>
                      <a:lnTo>
                        <a:pt x="312" y="444"/>
                      </a:lnTo>
                      <a:lnTo>
                        <a:pt x="312" y="438"/>
                      </a:lnTo>
                      <a:lnTo>
                        <a:pt x="306" y="426"/>
                      </a:lnTo>
                      <a:lnTo>
                        <a:pt x="306" y="414"/>
                      </a:lnTo>
                      <a:lnTo>
                        <a:pt x="300" y="408"/>
                      </a:lnTo>
                      <a:lnTo>
                        <a:pt x="300" y="402"/>
                      </a:lnTo>
                      <a:lnTo>
                        <a:pt x="294" y="390"/>
                      </a:lnTo>
                      <a:lnTo>
                        <a:pt x="288" y="372"/>
                      </a:lnTo>
                      <a:lnTo>
                        <a:pt x="282" y="360"/>
                      </a:lnTo>
                      <a:lnTo>
                        <a:pt x="282" y="342"/>
                      </a:lnTo>
                      <a:lnTo>
                        <a:pt x="288" y="336"/>
                      </a:lnTo>
                      <a:lnTo>
                        <a:pt x="294" y="324"/>
                      </a:lnTo>
                      <a:lnTo>
                        <a:pt x="294" y="318"/>
                      </a:lnTo>
                      <a:lnTo>
                        <a:pt x="300" y="306"/>
                      </a:lnTo>
                      <a:lnTo>
                        <a:pt x="294" y="300"/>
                      </a:lnTo>
                      <a:lnTo>
                        <a:pt x="288" y="294"/>
                      </a:lnTo>
                      <a:lnTo>
                        <a:pt x="276" y="288"/>
                      </a:lnTo>
                      <a:lnTo>
                        <a:pt x="276" y="276"/>
                      </a:lnTo>
                      <a:lnTo>
                        <a:pt x="270" y="264"/>
                      </a:lnTo>
                      <a:lnTo>
                        <a:pt x="276" y="252"/>
                      </a:lnTo>
                      <a:lnTo>
                        <a:pt x="282" y="240"/>
                      </a:lnTo>
                      <a:lnTo>
                        <a:pt x="288" y="234"/>
                      </a:lnTo>
                      <a:lnTo>
                        <a:pt x="282" y="222"/>
                      </a:lnTo>
                      <a:lnTo>
                        <a:pt x="276" y="216"/>
                      </a:lnTo>
                      <a:lnTo>
                        <a:pt x="264" y="210"/>
                      </a:lnTo>
                      <a:lnTo>
                        <a:pt x="258" y="198"/>
                      </a:lnTo>
                      <a:lnTo>
                        <a:pt x="258" y="174"/>
                      </a:lnTo>
                      <a:lnTo>
                        <a:pt x="258" y="144"/>
                      </a:lnTo>
                      <a:lnTo>
                        <a:pt x="258" y="114"/>
                      </a:lnTo>
                      <a:lnTo>
                        <a:pt x="252" y="78"/>
                      </a:lnTo>
                      <a:lnTo>
                        <a:pt x="252" y="42"/>
                      </a:lnTo>
                      <a:lnTo>
                        <a:pt x="264" y="12"/>
                      </a:lnTo>
                      <a:lnTo>
                        <a:pt x="276" y="0"/>
                      </a:lnTo>
                      <a:lnTo>
                        <a:pt x="28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</p:grpSp>
          <p:grpSp>
            <p:nvGrpSpPr>
              <p:cNvPr id="947" name="Group 206">
                <a:extLst>
                  <a:ext uri="{FF2B5EF4-FFF2-40B4-BE49-F238E27FC236}">
                    <a16:creationId xmlns:a16="http://schemas.microsoft.com/office/drawing/2014/main" id="{FF90D1E8-0EEC-4B10-8366-50B0E65D702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-2706686" y="-15268575"/>
                <a:ext cx="29470355" cy="21574123"/>
                <a:chOff x="-1705" y="-9618"/>
                <a:chExt cx="18564" cy="13590"/>
              </a:xfrm>
              <a:grpFill/>
            </p:grpSpPr>
            <p:sp>
              <p:nvSpPr>
                <p:cNvPr id="948" name="Freeform 8">
                  <a:extLst>
                    <a:ext uri="{FF2B5EF4-FFF2-40B4-BE49-F238E27FC236}">
                      <a16:creationId xmlns:a16="http://schemas.microsoft.com/office/drawing/2014/main" id="{9902DA7D-7DFA-4C9B-9F14-AC285678DE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1" y="-6078"/>
                  <a:ext cx="2124" cy="2268"/>
                </a:xfrm>
                <a:custGeom>
                  <a:avLst/>
                  <a:gdLst>
                    <a:gd name="T0" fmla="*/ 1896 w 2124"/>
                    <a:gd name="T1" fmla="*/ 12 h 2268"/>
                    <a:gd name="T2" fmla="*/ 1914 w 2124"/>
                    <a:gd name="T3" fmla="*/ 90 h 2268"/>
                    <a:gd name="T4" fmla="*/ 2028 w 2124"/>
                    <a:gd name="T5" fmla="*/ 54 h 2268"/>
                    <a:gd name="T6" fmla="*/ 1992 w 2124"/>
                    <a:gd name="T7" fmla="*/ 138 h 2268"/>
                    <a:gd name="T8" fmla="*/ 2124 w 2124"/>
                    <a:gd name="T9" fmla="*/ 186 h 2268"/>
                    <a:gd name="T10" fmla="*/ 1716 w 2124"/>
                    <a:gd name="T11" fmla="*/ 216 h 2268"/>
                    <a:gd name="T12" fmla="*/ 1266 w 2124"/>
                    <a:gd name="T13" fmla="*/ 498 h 2268"/>
                    <a:gd name="T14" fmla="*/ 828 w 2124"/>
                    <a:gd name="T15" fmla="*/ 1092 h 2268"/>
                    <a:gd name="T16" fmla="*/ 672 w 2124"/>
                    <a:gd name="T17" fmla="*/ 1752 h 2268"/>
                    <a:gd name="T18" fmla="*/ 576 w 2124"/>
                    <a:gd name="T19" fmla="*/ 2046 h 2268"/>
                    <a:gd name="T20" fmla="*/ 534 w 2124"/>
                    <a:gd name="T21" fmla="*/ 1950 h 2268"/>
                    <a:gd name="T22" fmla="*/ 516 w 2124"/>
                    <a:gd name="T23" fmla="*/ 2088 h 2268"/>
                    <a:gd name="T24" fmla="*/ 444 w 2124"/>
                    <a:gd name="T25" fmla="*/ 2160 h 2268"/>
                    <a:gd name="T26" fmla="*/ 216 w 2124"/>
                    <a:gd name="T27" fmla="*/ 2250 h 2268"/>
                    <a:gd name="T28" fmla="*/ 72 w 2124"/>
                    <a:gd name="T29" fmla="*/ 2118 h 2268"/>
                    <a:gd name="T30" fmla="*/ 132 w 2124"/>
                    <a:gd name="T31" fmla="*/ 2034 h 2268"/>
                    <a:gd name="T32" fmla="*/ 66 w 2124"/>
                    <a:gd name="T33" fmla="*/ 2004 h 2268"/>
                    <a:gd name="T34" fmla="*/ 84 w 2124"/>
                    <a:gd name="T35" fmla="*/ 1920 h 2268"/>
                    <a:gd name="T36" fmla="*/ 42 w 2124"/>
                    <a:gd name="T37" fmla="*/ 1836 h 2268"/>
                    <a:gd name="T38" fmla="*/ 60 w 2124"/>
                    <a:gd name="T39" fmla="*/ 1782 h 2268"/>
                    <a:gd name="T40" fmla="*/ 12 w 2124"/>
                    <a:gd name="T41" fmla="*/ 1716 h 2268"/>
                    <a:gd name="T42" fmla="*/ 108 w 2124"/>
                    <a:gd name="T43" fmla="*/ 1632 h 2268"/>
                    <a:gd name="T44" fmla="*/ 48 w 2124"/>
                    <a:gd name="T45" fmla="*/ 1584 h 2268"/>
                    <a:gd name="T46" fmla="*/ 210 w 2124"/>
                    <a:gd name="T47" fmla="*/ 1572 h 2268"/>
                    <a:gd name="T48" fmla="*/ 96 w 2124"/>
                    <a:gd name="T49" fmla="*/ 1524 h 2268"/>
                    <a:gd name="T50" fmla="*/ 162 w 2124"/>
                    <a:gd name="T51" fmla="*/ 1470 h 2268"/>
                    <a:gd name="T52" fmla="*/ 222 w 2124"/>
                    <a:gd name="T53" fmla="*/ 1464 h 2268"/>
                    <a:gd name="T54" fmla="*/ 264 w 2124"/>
                    <a:gd name="T55" fmla="*/ 1428 h 2268"/>
                    <a:gd name="T56" fmla="*/ 336 w 2124"/>
                    <a:gd name="T57" fmla="*/ 1398 h 2268"/>
                    <a:gd name="T58" fmla="*/ 360 w 2124"/>
                    <a:gd name="T59" fmla="*/ 1308 h 2268"/>
                    <a:gd name="T60" fmla="*/ 486 w 2124"/>
                    <a:gd name="T61" fmla="*/ 1320 h 2268"/>
                    <a:gd name="T62" fmla="*/ 462 w 2124"/>
                    <a:gd name="T63" fmla="*/ 1224 h 2268"/>
                    <a:gd name="T64" fmla="*/ 570 w 2124"/>
                    <a:gd name="T65" fmla="*/ 1254 h 2268"/>
                    <a:gd name="T66" fmla="*/ 684 w 2124"/>
                    <a:gd name="T67" fmla="*/ 1158 h 2268"/>
                    <a:gd name="T68" fmla="*/ 762 w 2124"/>
                    <a:gd name="T69" fmla="*/ 1182 h 2268"/>
                    <a:gd name="T70" fmla="*/ 744 w 2124"/>
                    <a:gd name="T71" fmla="*/ 1104 h 2268"/>
                    <a:gd name="T72" fmla="*/ 570 w 2124"/>
                    <a:gd name="T73" fmla="*/ 1176 h 2268"/>
                    <a:gd name="T74" fmla="*/ 594 w 2124"/>
                    <a:gd name="T75" fmla="*/ 1050 h 2268"/>
                    <a:gd name="T76" fmla="*/ 660 w 2124"/>
                    <a:gd name="T77" fmla="*/ 960 h 2268"/>
                    <a:gd name="T78" fmla="*/ 708 w 2124"/>
                    <a:gd name="T79" fmla="*/ 888 h 2268"/>
                    <a:gd name="T80" fmla="*/ 798 w 2124"/>
                    <a:gd name="T81" fmla="*/ 912 h 2268"/>
                    <a:gd name="T82" fmla="*/ 732 w 2124"/>
                    <a:gd name="T83" fmla="*/ 834 h 2268"/>
                    <a:gd name="T84" fmla="*/ 768 w 2124"/>
                    <a:gd name="T85" fmla="*/ 750 h 2268"/>
                    <a:gd name="T86" fmla="*/ 828 w 2124"/>
                    <a:gd name="T87" fmla="*/ 702 h 2268"/>
                    <a:gd name="T88" fmla="*/ 858 w 2124"/>
                    <a:gd name="T89" fmla="*/ 666 h 2268"/>
                    <a:gd name="T90" fmla="*/ 828 w 2124"/>
                    <a:gd name="T91" fmla="*/ 606 h 2268"/>
                    <a:gd name="T92" fmla="*/ 900 w 2124"/>
                    <a:gd name="T93" fmla="*/ 540 h 2268"/>
                    <a:gd name="T94" fmla="*/ 948 w 2124"/>
                    <a:gd name="T95" fmla="*/ 486 h 2268"/>
                    <a:gd name="T96" fmla="*/ 1002 w 2124"/>
                    <a:gd name="T97" fmla="*/ 474 h 2268"/>
                    <a:gd name="T98" fmla="*/ 948 w 2124"/>
                    <a:gd name="T99" fmla="*/ 402 h 2268"/>
                    <a:gd name="T100" fmla="*/ 1026 w 2124"/>
                    <a:gd name="T101" fmla="*/ 318 h 2268"/>
                    <a:gd name="T102" fmla="*/ 1128 w 2124"/>
                    <a:gd name="T103" fmla="*/ 240 h 2268"/>
                    <a:gd name="T104" fmla="*/ 1206 w 2124"/>
                    <a:gd name="T105" fmla="*/ 228 h 2268"/>
                    <a:gd name="T106" fmla="*/ 1290 w 2124"/>
                    <a:gd name="T107" fmla="*/ 222 h 2268"/>
                    <a:gd name="T108" fmla="*/ 1350 w 2124"/>
                    <a:gd name="T109" fmla="*/ 156 h 2268"/>
                    <a:gd name="T110" fmla="*/ 1434 w 2124"/>
                    <a:gd name="T111" fmla="*/ 120 h 2268"/>
                    <a:gd name="T112" fmla="*/ 1530 w 2124"/>
                    <a:gd name="T113" fmla="*/ 186 h 2268"/>
                    <a:gd name="T114" fmla="*/ 1554 w 2124"/>
                    <a:gd name="T115" fmla="*/ 90 h 2268"/>
                    <a:gd name="T116" fmla="*/ 1614 w 2124"/>
                    <a:gd name="T117" fmla="*/ 60 h 2268"/>
                    <a:gd name="T118" fmla="*/ 1644 w 2124"/>
                    <a:gd name="T119" fmla="*/ 12 h 2268"/>
                    <a:gd name="T120" fmla="*/ 1686 w 2124"/>
                    <a:gd name="T121" fmla="*/ 78 h 2268"/>
                    <a:gd name="T122" fmla="*/ 1752 w 2124"/>
                    <a:gd name="T123" fmla="*/ 54 h 2268"/>
                    <a:gd name="T124" fmla="*/ 1818 w 2124"/>
                    <a:gd name="T125" fmla="*/ 72 h 22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124" h="2268">
                      <a:moveTo>
                        <a:pt x="606" y="2094"/>
                      </a:moveTo>
                      <a:lnTo>
                        <a:pt x="606" y="2094"/>
                      </a:lnTo>
                      <a:lnTo>
                        <a:pt x="600" y="2100"/>
                      </a:lnTo>
                      <a:lnTo>
                        <a:pt x="606" y="2094"/>
                      </a:lnTo>
                      <a:close/>
                      <a:moveTo>
                        <a:pt x="1848" y="0"/>
                      </a:moveTo>
                      <a:lnTo>
                        <a:pt x="1866" y="0"/>
                      </a:lnTo>
                      <a:lnTo>
                        <a:pt x="1872" y="6"/>
                      </a:lnTo>
                      <a:lnTo>
                        <a:pt x="1884" y="6"/>
                      </a:lnTo>
                      <a:lnTo>
                        <a:pt x="1890" y="12"/>
                      </a:lnTo>
                      <a:lnTo>
                        <a:pt x="1896" y="12"/>
                      </a:lnTo>
                      <a:lnTo>
                        <a:pt x="1902" y="18"/>
                      </a:lnTo>
                      <a:lnTo>
                        <a:pt x="1896" y="24"/>
                      </a:lnTo>
                      <a:lnTo>
                        <a:pt x="1890" y="30"/>
                      </a:lnTo>
                      <a:lnTo>
                        <a:pt x="1884" y="42"/>
                      </a:lnTo>
                      <a:lnTo>
                        <a:pt x="1878" y="48"/>
                      </a:lnTo>
                      <a:lnTo>
                        <a:pt x="1884" y="60"/>
                      </a:lnTo>
                      <a:lnTo>
                        <a:pt x="1890" y="78"/>
                      </a:lnTo>
                      <a:lnTo>
                        <a:pt x="1896" y="90"/>
                      </a:lnTo>
                      <a:lnTo>
                        <a:pt x="1902" y="90"/>
                      </a:lnTo>
                      <a:lnTo>
                        <a:pt x="1914" y="90"/>
                      </a:lnTo>
                      <a:lnTo>
                        <a:pt x="1920" y="84"/>
                      </a:lnTo>
                      <a:lnTo>
                        <a:pt x="1932" y="78"/>
                      </a:lnTo>
                      <a:lnTo>
                        <a:pt x="1938" y="66"/>
                      </a:lnTo>
                      <a:lnTo>
                        <a:pt x="1944" y="60"/>
                      </a:lnTo>
                      <a:lnTo>
                        <a:pt x="1956" y="60"/>
                      </a:lnTo>
                      <a:lnTo>
                        <a:pt x="1968" y="54"/>
                      </a:lnTo>
                      <a:lnTo>
                        <a:pt x="1986" y="48"/>
                      </a:lnTo>
                      <a:lnTo>
                        <a:pt x="2004" y="48"/>
                      </a:lnTo>
                      <a:lnTo>
                        <a:pt x="2016" y="54"/>
                      </a:lnTo>
                      <a:lnTo>
                        <a:pt x="2028" y="54"/>
                      </a:lnTo>
                      <a:lnTo>
                        <a:pt x="2028" y="66"/>
                      </a:lnTo>
                      <a:lnTo>
                        <a:pt x="2034" y="78"/>
                      </a:lnTo>
                      <a:lnTo>
                        <a:pt x="2034" y="90"/>
                      </a:lnTo>
                      <a:lnTo>
                        <a:pt x="2034" y="102"/>
                      </a:lnTo>
                      <a:lnTo>
                        <a:pt x="2034" y="114"/>
                      </a:lnTo>
                      <a:lnTo>
                        <a:pt x="2028" y="120"/>
                      </a:lnTo>
                      <a:lnTo>
                        <a:pt x="2022" y="126"/>
                      </a:lnTo>
                      <a:lnTo>
                        <a:pt x="2016" y="132"/>
                      </a:lnTo>
                      <a:lnTo>
                        <a:pt x="2004" y="138"/>
                      </a:lnTo>
                      <a:lnTo>
                        <a:pt x="1992" y="138"/>
                      </a:lnTo>
                      <a:lnTo>
                        <a:pt x="1980" y="150"/>
                      </a:lnTo>
                      <a:lnTo>
                        <a:pt x="1968" y="162"/>
                      </a:lnTo>
                      <a:lnTo>
                        <a:pt x="1968" y="168"/>
                      </a:lnTo>
                      <a:lnTo>
                        <a:pt x="1974" y="168"/>
                      </a:lnTo>
                      <a:lnTo>
                        <a:pt x="1986" y="174"/>
                      </a:lnTo>
                      <a:lnTo>
                        <a:pt x="2004" y="174"/>
                      </a:lnTo>
                      <a:lnTo>
                        <a:pt x="2028" y="174"/>
                      </a:lnTo>
                      <a:lnTo>
                        <a:pt x="2064" y="174"/>
                      </a:lnTo>
                      <a:lnTo>
                        <a:pt x="2094" y="174"/>
                      </a:lnTo>
                      <a:lnTo>
                        <a:pt x="2124" y="186"/>
                      </a:lnTo>
                      <a:lnTo>
                        <a:pt x="2124" y="186"/>
                      </a:lnTo>
                      <a:lnTo>
                        <a:pt x="2034" y="264"/>
                      </a:lnTo>
                      <a:lnTo>
                        <a:pt x="2046" y="348"/>
                      </a:lnTo>
                      <a:lnTo>
                        <a:pt x="2010" y="366"/>
                      </a:lnTo>
                      <a:lnTo>
                        <a:pt x="1974" y="342"/>
                      </a:lnTo>
                      <a:lnTo>
                        <a:pt x="1974" y="252"/>
                      </a:lnTo>
                      <a:lnTo>
                        <a:pt x="1950" y="240"/>
                      </a:lnTo>
                      <a:lnTo>
                        <a:pt x="1896" y="168"/>
                      </a:lnTo>
                      <a:lnTo>
                        <a:pt x="1830" y="162"/>
                      </a:lnTo>
                      <a:lnTo>
                        <a:pt x="1716" y="216"/>
                      </a:lnTo>
                      <a:lnTo>
                        <a:pt x="1716" y="378"/>
                      </a:lnTo>
                      <a:lnTo>
                        <a:pt x="1668" y="408"/>
                      </a:lnTo>
                      <a:lnTo>
                        <a:pt x="1590" y="384"/>
                      </a:lnTo>
                      <a:lnTo>
                        <a:pt x="1506" y="414"/>
                      </a:lnTo>
                      <a:lnTo>
                        <a:pt x="1422" y="354"/>
                      </a:lnTo>
                      <a:lnTo>
                        <a:pt x="1320" y="318"/>
                      </a:lnTo>
                      <a:lnTo>
                        <a:pt x="1284" y="360"/>
                      </a:lnTo>
                      <a:lnTo>
                        <a:pt x="1254" y="366"/>
                      </a:lnTo>
                      <a:lnTo>
                        <a:pt x="1260" y="444"/>
                      </a:lnTo>
                      <a:lnTo>
                        <a:pt x="1266" y="498"/>
                      </a:lnTo>
                      <a:lnTo>
                        <a:pt x="1176" y="474"/>
                      </a:lnTo>
                      <a:lnTo>
                        <a:pt x="1068" y="480"/>
                      </a:lnTo>
                      <a:lnTo>
                        <a:pt x="1080" y="546"/>
                      </a:lnTo>
                      <a:lnTo>
                        <a:pt x="990" y="576"/>
                      </a:lnTo>
                      <a:lnTo>
                        <a:pt x="960" y="678"/>
                      </a:lnTo>
                      <a:lnTo>
                        <a:pt x="900" y="774"/>
                      </a:lnTo>
                      <a:lnTo>
                        <a:pt x="900" y="846"/>
                      </a:lnTo>
                      <a:lnTo>
                        <a:pt x="852" y="948"/>
                      </a:lnTo>
                      <a:lnTo>
                        <a:pt x="846" y="1038"/>
                      </a:lnTo>
                      <a:lnTo>
                        <a:pt x="828" y="1092"/>
                      </a:lnTo>
                      <a:lnTo>
                        <a:pt x="840" y="1158"/>
                      </a:lnTo>
                      <a:lnTo>
                        <a:pt x="816" y="1254"/>
                      </a:lnTo>
                      <a:lnTo>
                        <a:pt x="732" y="1278"/>
                      </a:lnTo>
                      <a:lnTo>
                        <a:pt x="690" y="1278"/>
                      </a:lnTo>
                      <a:lnTo>
                        <a:pt x="666" y="1350"/>
                      </a:lnTo>
                      <a:lnTo>
                        <a:pt x="678" y="1524"/>
                      </a:lnTo>
                      <a:lnTo>
                        <a:pt x="690" y="1662"/>
                      </a:lnTo>
                      <a:lnTo>
                        <a:pt x="726" y="1716"/>
                      </a:lnTo>
                      <a:lnTo>
                        <a:pt x="720" y="1746"/>
                      </a:lnTo>
                      <a:lnTo>
                        <a:pt x="672" y="1752"/>
                      </a:lnTo>
                      <a:lnTo>
                        <a:pt x="672" y="1806"/>
                      </a:lnTo>
                      <a:lnTo>
                        <a:pt x="702" y="1854"/>
                      </a:lnTo>
                      <a:lnTo>
                        <a:pt x="690" y="1920"/>
                      </a:lnTo>
                      <a:lnTo>
                        <a:pt x="642" y="1992"/>
                      </a:lnTo>
                      <a:lnTo>
                        <a:pt x="642" y="2070"/>
                      </a:lnTo>
                      <a:lnTo>
                        <a:pt x="606" y="2094"/>
                      </a:lnTo>
                      <a:lnTo>
                        <a:pt x="606" y="2082"/>
                      </a:lnTo>
                      <a:lnTo>
                        <a:pt x="600" y="2070"/>
                      </a:lnTo>
                      <a:lnTo>
                        <a:pt x="588" y="2052"/>
                      </a:lnTo>
                      <a:lnTo>
                        <a:pt x="576" y="2046"/>
                      </a:lnTo>
                      <a:lnTo>
                        <a:pt x="570" y="2034"/>
                      </a:lnTo>
                      <a:lnTo>
                        <a:pt x="564" y="2022"/>
                      </a:lnTo>
                      <a:lnTo>
                        <a:pt x="558" y="2004"/>
                      </a:lnTo>
                      <a:lnTo>
                        <a:pt x="552" y="1986"/>
                      </a:lnTo>
                      <a:lnTo>
                        <a:pt x="552" y="1968"/>
                      </a:lnTo>
                      <a:lnTo>
                        <a:pt x="552" y="1950"/>
                      </a:lnTo>
                      <a:lnTo>
                        <a:pt x="546" y="1944"/>
                      </a:lnTo>
                      <a:lnTo>
                        <a:pt x="540" y="1938"/>
                      </a:lnTo>
                      <a:lnTo>
                        <a:pt x="540" y="1944"/>
                      </a:lnTo>
                      <a:lnTo>
                        <a:pt x="534" y="1950"/>
                      </a:lnTo>
                      <a:lnTo>
                        <a:pt x="528" y="1962"/>
                      </a:lnTo>
                      <a:lnTo>
                        <a:pt x="522" y="1974"/>
                      </a:lnTo>
                      <a:lnTo>
                        <a:pt x="516" y="1986"/>
                      </a:lnTo>
                      <a:lnTo>
                        <a:pt x="510" y="2004"/>
                      </a:lnTo>
                      <a:lnTo>
                        <a:pt x="510" y="2016"/>
                      </a:lnTo>
                      <a:lnTo>
                        <a:pt x="516" y="2034"/>
                      </a:lnTo>
                      <a:lnTo>
                        <a:pt x="528" y="2052"/>
                      </a:lnTo>
                      <a:lnTo>
                        <a:pt x="528" y="2070"/>
                      </a:lnTo>
                      <a:lnTo>
                        <a:pt x="528" y="2076"/>
                      </a:lnTo>
                      <a:lnTo>
                        <a:pt x="516" y="2088"/>
                      </a:lnTo>
                      <a:lnTo>
                        <a:pt x="504" y="2094"/>
                      </a:lnTo>
                      <a:lnTo>
                        <a:pt x="492" y="2094"/>
                      </a:lnTo>
                      <a:lnTo>
                        <a:pt x="480" y="2088"/>
                      </a:lnTo>
                      <a:lnTo>
                        <a:pt x="474" y="2082"/>
                      </a:lnTo>
                      <a:lnTo>
                        <a:pt x="468" y="2088"/>
                      </a:lnTo>
                      <a:lnTo>
                        <a:pt x="462" y="2094"/>
                      </a:lnTo>
                      <a:lnTo>
                        <a:pt x="456" y="2106"/>
                      </a:lnTo>
                      <a:lnTo>
                        <a:pt x="456" y="2124"/>
                      </a:lnTo>
                      <a:lnTo>
                        <a:pt x="450" y="2142"/>
                      </a:lnTo>
                      <a:lnTo>
                        <a:pt x="444" y="2160"/>
                      </a:lnTo>
                      <a:lnTo>
                        <a:pt x="426" y="2178"/>
                      </a:lnTo>
                      <a:lnTo>
                        <a:pt x="414" y="2196"/>
                      </a:lnTo>
                      <a:lnTo>
                        <a:pt x="402" y="2202"/>
                      </a:lnTo>
                      <a:lnTo>
                        <a:pt x="384" y="2214"/>
                      </a:lnTo>
                      <a:lnTo>
                        <a:pt x="366" y="2226"/>
                      </a:lnTo>
                      <a:lnTo>
                        <a:pt x="336" y="2238"/>
                      </a:lnTo>
                      <a:lnTo>
                        <a:pt x="300" y="2256"/>
                      </a:lnTo>
                      <a:lnTo>
                        <a:pt x="264" y="2268"/>
                      </a:lnTo>
                      <a:lnTo>
                        <a:pt x="246" y="2262"/>
                      </a:lnTo>
                      <a:lnTo>
                        <a:pt x="216" y="2250"/>
                      </a:lnTo>
                      <a:lnTo>
                        <a:pt x="168" y="2238"/>
                      </a:lnTo>
                      <a:lnTo>
                        <a:pt x="114" y="2214"/>
                      </a:lnTo>
                      <a:lnTo>
                        <a:pt x="96" y="2202"/>
                      </a:lnTo>
                      <a:lnTo>
                        <a:pt x="84" y="2190"/>
                      </a:lnTo>
                      <a:lnTo>
                        <a:pt x="78" y="2178"/>
                      </a:lnTo>
                      <a:lnTo>
                        <a:pt x="78" y="2172"/>
                      </a:lnTo>
                      <a:lnTo>
                        <a:pt x="78" y="2160"/>
                      </a:lnTo>
                      <a:lnTo>
                        <a:pt x="72" y="2148"/>
                      </a:lnTo>
                      <a:lnTo>
                        <a:pt x="72" y="2136"/>
                      </a:lnTo>
                      <a:lnTo>
                        <a:pt x="72" y="2118"/>
                      </a:lnTo>
                      <a:lnTo>
                        <a:pt x="66" y="2106"/>
                      </a:lnTo>
                      <a:lnTo>
                        <a:pt x="72" y="2100"/>
                      </a:lnTo>
                      <a:lnTo>
                        <a:pt x="78" y="2094"/>
                      </a:lnTo>
                      <a:lnTo>
                        <a:pt x="90" y="2088"/>
                      </a:lnTo>
                      <a:lnTo>
                        <a:pt x="102" y="2088"/>
                      </a:lnTo>
                      <a:lnTo>
                        <a:pt x="108" y="2082"/>
                      </a:lnTo>
                      <a:lnTo>
                        <a:pt x="120" y="2076"/>
                      </a:lnTo>
                      <a:lnTo>
                        <a:pt x="126" y="2064"/>
                      </a:lnTo>
                      <a:lnTo>
                        <a:pt x="132" y="2046"/>
                      </a:lnTo>
                      <a:lnTo>
                        <a:pt x="132" y="2034"/>
                      </a:lnTo>
                      <a:lnTo>
                        <a:pt x="132" y="2034"/>
                      </a:lnTo>
                      <a:lnTo>
                        <a:pt x="120" y="2028"/>
                      </a:lnTo>
                      <a:lnTo>
                        <a:pt x="114" y="2028"/>
                      </a:lnTo>
                      <a:lnTo>
                        <a:pt x="102" y="2028"/>
                      </a:lnTo>
                      <a:lnTo>
                        <a:pt x="84" y="2028"/>
                      </a:lnTo>
                      <a:lnTo>
                        <a:pt x="72" y="2028"/>
                      </a:lnTo>
                      <a:lnTo>
                        <a:pt x="60" y="2022"/>
                      </a:lnTo>
                      <a:lnTo>
                        <a:pt x="54" y="2016"/>
                      </a:lnTo>
                      <a:lnTo>
                        <a:pt x="60" y="2010"/>
                      </a:lnTo>
                      <a:lnTo>
                        <a:pt x="66" y="2004"/>
                      </a:lnTo>
                      <a:lnTo>
                        <a:pt x="78" y="1992"/>
                      </a:lnTo>
                      <a:lnTo>
                        <a:pt x="90" y="1986"/>
                      </a:lnTo>
                      <a:lnTo>
                        <a:pt x="96" y="1980"/>
                      </a:lnTo>
                      <a:lnTo>
                        <a:pt x="102" y="1974"/>
                      </a:lnTo>
                      <a:lnTo>
                        <a:pt x="96" y="1962"/>
                      </a:lnTo>
                      <a:lnTo>
                        <a:pt x="90" y="1956"/>
                      </a:lnTo>
                      <a:lnTo>
                        <a:pt x="84" y="1944"/>
                      </a:lnTo>
                      <a:lnTo>
                        <a:pt x="84" y="1938"/>
                      </a:lnTo>
                      <a:lnTo>
                        <a:pt x="84" y="1926"/>
                      </a:lnTo>
                      <a:lnTo>
                        <a:pt x="84" y="1920"/>
                      </a:lnTo>
                      <a:lnTo>
                        <a:pt x="90" y="1902"/>
                      </a:lnTo>
                      <a:lnTo>
                        <a:pt x="90" y="1890"/>
                      </a:lnTo>
                      <a:lnTo>
                        <a:pt x="84" y="1878"/>
                      </a:lnTo>
                      <a:lnTo>
                        <a:pt x="78" y="1866"/>
                      </a:lnTo>
                      <a:lnTo>
                        <a:pt x="72" y="1860"/>
                      </a:lnTo>
                      <a:lnTo>
                        <a:pt x="60" y="1854"/>
                      </a:lnTo>
                      <a:lnTo>
                        <a:pt x="48" y="1854"/>
                      </a:lnTo>
                      <a:lnTo>
                        <a:pt x="42" y="1848"/>
                      </a:lnTo>
                      <a:lnTo>
                        <a:pt x="42" y="1842"/>
                      </a:lnTo>
                      <a:lnTo>
                        <a:pt x="42" y="1836"/>
                      </a:lnTo>
                      <a:lnTo>
                        <a:pt x="42" y="1824"/>
                      </a:lnTo>
                      <a:lnTo>
                        <a:pt x="36" y="1818"/>
                      </a:lnTo>
                      <a:lnTo>
                        <a:pt x="30" y="1812"/>
                      </a:lnTo>
                      <a:lnTo>
                        <a:pt x="24" y="1806"/>
                      </a:lnTo>
                      <a:lnTo>
                        <a:pt x="18" y="1800"/>
                      </a:lnTo>
                      <a:lnTo>
                        <a:pt x="18" y="1794"/>
                      </a:lnTo>
                      <a:lnTo>
                        <a:pt x="18" y="1788"/>
                      </a:lnTo>
                      <a:lnTo>
                        <a:pt x="30" y="1788"/>
                      </a:lnTo>
                      <a:lnTo>
                        <a:pt x="42" y="1782"/>
                      </a:lnTo>
                      <a:lnTo>
                        <a:pt x="60" y="1782"/>
                      </a:lnTo>
                      <a:lnTo>
                        <a:pt x="78" y="1776"/>
                      </a:lnTo>
                      <a:lnTo>
                        <a:pt x="90" y="1770"/>
                      </a:lnTo>
                      <a:lnTo>
                        <a:pt x="102" y="1764"/>
                      </a:lnTo>
                      <a:lnTo>
                        <a:pt x="108" y="1758"/>
                      </a:lnTo>
                      <a:lnTo>
                        <a:pt x="108" y="1752"/>
                      </a:lnTo>
                      <a:lnTo>
                        <a:pt x="96" y="1740"/>
                      </a:lnTo>
                      <a:lnTo>
                        <a:pt x="78" y="1734"/>
                      </a:lnTo>
                      <a:lnTo>
                        <a:pt x="54" y="1728"/>
                      </a:lnTo>
                      <a:lnTo>
                        <a:pt x="30" y="1722"/>
                      </a:lnTo>
                      <a:lnTo>
                        <a:pt x="12" y="1716"/>
                      </a:lnTo>
                      <a:lnTo>
                        <a:pt x="6" y="1710"/>
                      </a:lnTo>
                      <a:lnTo>
                        <a:pt x="0" y="1704"/>
                      </a:lnTo>
                      <a:lnTo>
                        <a:pt x="0" y="1692"/>
                      </a:lnTo>
                      <a:lnTo>
                        <a:pt x="6" y="1680"/>
                      </a:lnTo>
                      <a:lnTo>
                        <a:pt x="12" y="1674"/>
                      </a:lnTo>
                      <a:lnTo>
                        <a:pt x="30" y="1662"/>
                      </a:lnTo>
                      <a:lnTo>
                        <a:pt x="60" y="1656"/>
                      </a:lnTo>
                      <a:lnTo>
                        <a:pt x="90" y="1650"/>
                      </a:lnTo>
                      <a:lnTo>
                        <a:pt x="108" y="1644"/>
                      </a:lnTo>
                      <a:lnTo>
                        <a:pt x="108" y="1632"/>
                      </a:lnTo>
                      <a:lnTo>
                        <a:pt x="96" y="1626"/>
                      </a:lnTo>
                      <a:lnTo>
                        <a:pt x="78" y="1620"/>
                      </a:lnTo>
                      <a:lnTo>
                        <a:pt x="66" y="1614"/>
                      </a:lnTo>
                      <a:lnTo>
                        <a:pt x="48" y="1614"/>
                      </a:lnTo>
                      <a:lnTo>
                        <a:pt x="36" y="1614"/>
                      </a:lnTo>
                      <a:lnTo>
                        <a:pt x="30" y="1608"/>
                      </a:lnTo>
                      <a:lnTo>
                        <a:pt x="30" y="1596"/>
                      </a:lnTo>
                      <a:lnTo>
                        <a:pt x="30" y="1590"/>
                      </a:lnTo>
                      <a:lnTo>
                        <a:pt x="42" y="1584"/>
                      </a:lnTo>
                      <a:lnTo>
                        <a:pt x="48" y="1584"/>
                      </a:lnTo>
                      <a:lnTo>
                        <a:pt x="66" y="1578"/>
                      </a:lnTo>
                      <a:lnTo>
                        <a:pt x="78" y="1578"/>
                      </a:lnTo>
                      <a:lnTo>
                        <a:pt x="90" y="1584"/>
                      </a:lnTo>
                      <a:lnTo>
                        <a:pt x="102" y="1584"/>
                      </a:lnTo>
                      <a:lnTo>
                        <a:pt x="156" y="1590"/>
                      </a:lnTo>
                      <a:lnTo>
                        <a:pt x="210" y="1590"/>
                      </a:lnTo>
                      <a:lnTo>
                        <a:pt x="216" y="1590"/>
                      </a:lnTo>
                      <a:lnTo>
                        <a:pt x="216" y="1584"/>
                      </a:lnTo>
                      <a:lnTo>
                        <a:pt x="216" y="1578"/>
                      </a:lnTo>
                      <a:lnTo>
                        <a:pt x="210" y="1572"/>
                      </a:lnTo>
                      <a:lnTo>
                        <a:pt x="204" y="1560"/>
                      </a:lnTo>
                      <a:lnTo>
                        <a:pt x="198" y="1554"/>
                      </a:lnTo>
                      <a:lnTo>
                        <a:pt x="192" y="1548"/>
                      </a:lnTo>
                      <a:lnTo>
                        <a:pt x="180" y="1542"/>
                      </a:lnTo>
                      <a:lnTo>
                        <a:pt x="162" y="1536"/>
                      </a:lnTo>
                      <a:lnTo>
                        <a:pt x="138" y="1536"/>
                      </a:lnTo>
                      <a:lnTo>
                        <a:pt x="114" y="1536"/>
                      </a:lnTo>
                      <a:lnTo>
                        <a:pt x="102" y="1536"/>
                      </a:lnTo>
                      <a:lnTo>
                        <a:pt x="96" y="1530"/>
                      </a:lnTo>
                      <a:lnTo>
                        <a:pt x="96" y="1524"/>
                      </a:lnTo>
                      <a:lnTo>
                        <a:pt x="96" y="1518"/>
                      </a:lnTo>
                      <a:lnTo>
                        <a:pt x="102" y="1512"/>
                      </a:lnTo>
                      <a:lnTo>
                        <a:pt x="108" y="1506"/>
                      </a:lnTo>
                      <a:lnTo>
                        <a:pt x="114" y="1500"/>
                      </a:lnTo>
                      <a:lnTo>
                        <a:pt x="126" y="1494"/>
                      </a:lnTo>
                      <a:lnTo>
                        <a:pt x="132" y="1482"/>
                      </a:lnTo>
                      <a:lnTo>
                        <a:pt x="138" y="1476"/>
                      </a:lnTo>
                      <a:lnTo>
                        <a:pt x="144" y="1470"/>
                      </a:lnTo>
                      <a:lnTo>
                        <a:pt x="156" y="1470"/>
                      </a:lnTo>
                      <a:lnTo>
                        <a:pt x="162" y="1470"/>
                      </a:lnTo>
                      <a:lnTo>
                        <a:pt x="174" y="1476"/>
                      </a:lnTo>
                      <a:lnTo>
                        <a:pt x="180" y="1482"/>
                      </a:lnTo>
                      <a:lnTo>
                        <a:pt x="192" y="1488"/>
                      </a:lnTo>
                      <a:lnTo>
                        <a:pt x="198" y="1494"/>
                      </a:lnTo>
                      <a:lnTo>
                        <a:pt x="210" y="1500"/>
                      </a:lnTo>
                      <a:lnTo>
                        <a:pt x="216" y="1500"/>
                      </a:lnTo>
                      <a:lnTo>
                        <a:pt x="216" y="1494"/>
                      </a:lnTo>
                      <a:lnTo>
                        <a:pt x="216" y="1488"/>
                      </a:lnTo>
                      <a:lnTo>
                        <a:pt x="216" y="1470"/>
                      </a:lnTo>
                      <a:lnTo>
                        <a:pt x="222" y="1464"/>
                      </a:lnTo>
                      <a:lnTo>
                        <a:pt x="222" y="1458"/>
                      </a:lnTo>
                      <a:lnTo>
                        <a:pt x="228" y="1458"/>
                      </a:lnTo>
                      <a:lnTo>
                        <a:pt x="234" y="1458"/>
                      </a:lnTo>
                      <a:lnTo>
                        <a:pt x="246" y="1458"/>
                      </a:lnTo>
                      <a:lnTo>
                        <a:pt x="252" y="1458"/>
                      </a:lnTo>
                      <a:lnTo>
                        <a:pt x="258" y="1458"/>
                      </a:lnTo>
                      <a:lnTo>
                        <a:pt x="258" y="1452"/>
                      </a:lnTo>
                      <a:lnTo>
                        <a:pt x="258" y="1446"/>
                      </a:lnTo>
                      <a:lnTo>
                        <a:pt x="258" y="1434"/>
                      </a:lnTo>
                      <a:lnTo>
                        <a:pt x="264" y="1428"/>
                      </a:lnTo>
                      <a:lnTo>
                        <a:pt x="270" y="1416"/>
                      </a:lnTo>
                      <a:lnTo>
                        <a:pt x="270" y="1416"/>
                      </a:lnTo>
                      <a:lnTo>
                        <a:pt x="276" y="1410"/>
                      </a:lnTo>
                      <a:lnTo>
                        <a:pt x="288" y="1410"/>
                      </a:lnTo>
                      <a:lnTo>
                        <a:pt x="300" y="1416"/>
                      </a:lnTo>
                      <a:lnTo>
                        <a:pt x="318" y="1416"/>
                      </a:lnTo>
                      <a:lnTo>
                        <a:pt x="330" y="1416"/>
                      </a:lnTo>
                      <a:lnTo>
                        <a:pt x="336" y="1410"/>
                      </a:lnTo>
                      <a:lnTo>
                        <a:pt x="336" y="1404"/>
                      </a:lnTo>
                      <a:lnTo>
                        <a:pt x="336" y="1398"/>
                      </a:lnTo>
                      <a:lnTo>
                        <a:pt x="330" y="1392"/>
                      </a:lnTo>
                      <a:lnTo>
                        <a:pt x="330" y="1380"/>
                      </a:lnTo>
                      <a:lnTo>
                        <a:pt x="324" y="1374"/>
                      </a:lnTo>
                      <a:lnTo>
                        <a:pt x="318" y="1362"/>
                      </a:lnTo>
                      <a:lnTo>
                        <a:pt x="318" y="1356"/>
                      </a:lnTo>
                      <a:lnTo>
                        <a:pt x="318" y="1344"/>
                      </a:lnTo>
                      <a:lnTo>
                        <a:pt x="324" y="1332"/>
                      </a:lnTo>
                      <a:lnTo>
                        <a:pt x="336" y="1320"/>
                      </a:lnTo>
                      <a:lnTo>
                        <a:pt x="348" y="1314"/>
                      </a:lnTo>
                      <a:lnTo>
                        <a:pt x="360" y="1308"/>
                      </a:lnTo>
                      <a:lnTo>
                        <a:pt x="372" y="1308"/>
                      </a:lnTo>
                      <a:lnTo>
                        <a:pt x="384" y="1308"/>
                      </a:lnTo>
                      <a:lnTo>
                        <a:pt x="390" y="1308"/>
                      </a:lnTo>
                      <a:lnTo>
                        <a:pt x="396" y="1314"/>
                      </a:lnTo>
                      <a:lnTo>
                        <a:pt x="408" y="1320"/>
                      </a:lnTo>
                      <a:lnTo>
                        <a:pt x="426" y="1320"/>
                      </a:lnTo>
                      <a:lnTo>
                        <a:pt x="456" y="1326"/>
                      </a:lnTo>
                      <a:lnTo>
                        <a:pt x="474" y="1326"/>
                      </a:lnTo>
                      <a:lnTo>
                        <a:pt x="486" y="1326"/>
                      </a:lnTo>
                      <a:lnTo>
                        <a:pt x="486" y="1320"/>
                      </a:lnTo>
                      <a:lnTo>
                        <a:pt x="486" y="1320"/>
                      </a:lnTo>
                      <a:lnTo>
                        <a:pt x="480" y="1308"/>
                      </a:lnTo>
                      <a:lnTo>
                        <a:pt x="474" y="1302"/>
                      </a:lnTo>
                      <a:lnTo>
                        <a:pt x="462" y="1290"/>
                      </a:lnTo>
                      <a:lnTo>
                        <a:pt x="444" y="1278"/>
                      </a:lnTo>
                      <a:lnTo>
                        <a:pt x="438" y="1266"/>
                      </a:lnTo>
                      <a:lnTo>
                        <a:pt x="438" y="1254"/>
                      </a:lnTo>
                      <a:lnTo>
                        <a:pt x="438" y="1242"/>
                      </a:lnTo>
                      <a:lnTo>
                        <a:pt x="450" y="1230"/>
                      </a:lnTo>
                      <a:lnTo>
                        <a:pt x="462" y="1224"/>
                      </a:lnTo>
                      <a:lnTo>
                        <a:pt x="474" y="1212"/>
                      </a:lnTo>
                      <a:lnTo>
                        <a:pt x="486" y="1206"/>
                      </a:lnTo>
                      <a:lnTo>
                        <a:pt x="498" y="1200"/>
                      </a:lnTo>
                      <a:lnTo>
                        <a:pt x="510" y="1200"/>
                      </a:lnTo>
                      <a:lnTo>
                        <a:pt x="522" y="1206"/>
                      </a:lnTo>
                      <a:lnTo>
                        <a:pt x="528" y="1218"/>
                      </a:lnTo>
                      <a:lnTo>
                        <a:pt x="540" y="1230"/>
                      </a:lnTo>
                      <a:lnTo>
                        <a:pt x="552" y="1242"/>
                      </a:lnTo>
                      <a:lnTo>
                        <a:pt x="558" y="1254"/>
                      </a:lnTo>
                      <a:lnTo>
                        <a:pt x="570" y="1254"/>
                      </a:lnTo>
                      <a:lnTo>
                        <a:pt x="582" y="1254"/>
                      </a:lnTo>
                      <a:lnTo>
                        <a:pt x="594" y="1248"/>
                      </a:lnTo>
                      <a:lnTo>
                        <a:pt x="600" y="1236"/>
                      </a:lnTo>
                      <a:lnTo>
                        <a:pt x="612" y="1224"/>
                      </a:lnTo>
                      <a:lnTo>
                        <a:pt x="618" y="1218"/>
                      </a:lnTo>
                      <a:lnTo>
                        <a:pt x="630" y="1212"/>
                      </a:lnTo>
                      <a:lnTo>
                        <a:pt x="642" y="1200"/>
                      </a:lnTo>
                      <a:lnTo>
                        <a:pt x="660" y="1188"/>
                      </a:lnTo>
                      <a:lnTo>
                        <a:pt x="672" y="1170"/>
                      </a:lnTo>
                      <a:lnTo>
                        <a:pt x="684" y="1158"/>
                      </a:lnTo>
                      <a:lnTo>
                        <a:pt x="690" y="1152"/>
                      </a:lnTo>
                      <a:lnTo>
                        <a:pt x="702" y="1152"/>
                      </a:lnTo>
                      <a:lnTo>
                        <a:pt x="708" y="1158"/>
                      </a:lnTo>
                      <a:lnTo>
                        <a:pt x="714" y="1164"/>
                      </a:lnTo>
                      <a:lnTo>
                        <a:pt x="726" y="1176"/>
                      </a:lnTo>
                      <a:lnTo>
                        <a:pt x="732" y="1182"/>
                      </a:lnTo>
                      <a:lnTo>
                        <a:pt x="738" y="1188"/>
                      </a:lnTo>
                      <a:lnTo>
                        <a:pt x="750" y="1188"/>
                      </a:lnTo>
                      <a:lnTo>
                        <a:pt x="756" y="1188"/>
                      </a:lnTo>
                      <a:lnTo>
                        <a:pt x="762" y="1182"/>
                      </a:lnTo>
                      <a:lnTo>
                        <a:pt x="780" y="1170"/>
                      </a:lnTo>
                      <a:lnTo>
                        <a:pt x="786" y="1158"/>
                      </a:lnTo>
                      <a:lnTo>
                        <a:pt x="786" y="1152"/>
                      </a:lnTo>
                      <a:lnTo>
                        <a:pt x="780" y="1140"/>
                      </a:lnTo>
                      <a:lnTo>
                        <a:pt x="768" y="1134"/>
                      </a:lnTo>
                      <a:lnTo>
                        <a:pt x="762" y="1128"/>
                      </a:lnTo>
                      <a:lnTo>
                        <a:pt x="750" y="1122"/>
                      </a:lnTo>
                      <a:lnTo>
                        <a:pt x="744" y="1116"/>
                      </a:lnTo>
                      <a:lnTo>
                        <a:pt x="744" y="1110"/>
                      </a:lnTo>
                      <a:lnTo>
                        <a:pt x="744" y="1104"/>
                      </a:lnTo>
                      <a:lnTo>
                        <a:pt x="744" y="1098"/>
                      </a:lnTo>
                      <a:lnTo>
                        <a:pt x="738" y="1092"/>
                      </a:lnTo>
                      <a:lnTo>
                        <a:pt x="726" y="1086"/>
                      </a:lnTo>
                      <a:lnTo>
                        <a:pt x="708" y="1092"/>
                      </a:lnTo>
                      <a:lnTo>
                        <a:pt x="678" y="1098"/>
                      </a:lnTo>
                      <a:lnTo>
                        <a:pt x="642" y="1116"/>
                      </a:lnTo>
                      <a:lnTo>
                        <a:pt x="612" y="1152"/>
                      </a:lnTo>
                      <a:lnTo>
                        <a:pt x="600" y="1170"/>
                      </a:lnTo>
                      <a:lnTo>
                        <a:pt x="588" y="1176"/>
                      </a:lnTo>
                      <a:lnTo>
                        <a:pt x="570" y="1176"/>
                      </a:lnTo>
                      <a:lnTo>
                        <a:pt x="564" y="1170"/>
                      </a:lnTo>
                      <a:lnTo>
                        <a:pt x="552" y="1164"/>
                      </a:lnTo>
                      <a:lnTo>
                        <a:pt x="546" y="1152"/>
                      </a:lnTo>
                      <a:lnTo>
                        <a:pt x="534" y="1146"/>
                      </a:lnTo>
                      <a:lnTo>
                        <a:pt x="528" y="1134"/>
                      </a:lnTo>
                      <a:lnTo>
                        <a:pt x="528" y="1122"/>
                      </a:lnTo>
                      <a:lnTo>
                        <a:pt x="534" y="1110"/>
                      </a:lnTo>
                      <a:lnTo>
                        <a:pt x="540" y="1098"/>
                      </a:lnTo>
                      <a:lnTo>
                        <a:pt x="552" y="1086"/>
                      </a:lnTo>
                      <a:lnTo>
                        <a:pt x="594" y="1050"/>
                      </a:lnTo>
                      <a:lnTo>
                        <a:pt x="654" y="1020"/>
                      </a:lnTo>
                      <a:lnTo>
                        <a:pt x="666" y="1014"/>
                      </a:lnTo>
                      <a:lnTo>
                        <a:pt x="672" y="1008"/>
                      </a:lnTo>
                      <a:lnTo>
                        <a:pt x="672" y="1002"/>
                      </a:lnTo>
                      <a:lnTo>
                        <a:pt x="666" y="996"/>
                      </a:lnTo>
                      <a:lnTo>
                        <a:pt x="660" y="996"/>
                      </a:lnTo>
                      <a:lnTo>
                        <a:pt x="654" y="990"/>
                      </a:lnTo>
                      <a:lnTo>
                        <a:pt x="654" y="984"/>
                      </a:lnTo>
                      <a:lnTo>
                        <a:pt x="654" y="978"/>
                      </a:lnTo>
                      <a:lnTo>
                        <a:pt x="660" y="960"/>
                      </a:lnTo>
                      <a:lnTo>
                        <a:pt x="666" y="948"/>
                      </a:lnTo>
                      <a:lnTo>
                        <a:pt x="684" y="942"/>
                      </a:lnTo>
                      <a:lnTo>
                        <a:pt x="696" y="942"/>
                      </a:lnTo>
                      <a:lnTo>
                        <a:pt x="702" y="936"/>
                      </a:lnTo>
                      <a:lnTo>
                        <a:pt x="708" y="930"/>
                      </a:lnTo>
                      <a:lnTo>
                        <a:pt x="702" y="918"/>
                      </a:lnTo>
                      <a:lnTo>
                        <a:pt x="702" y="900"/>
                      </a:lnTo>
                      <a:lnTo>
                        <a:pt x="702" y="894"/>
                      </a:lnTo>
                      <a:lnTo>
                        <a:pt x="702" y="888"/>
                      </a:lnTo>
                      <a:lnTo>
                        <a:pt x="708" y="888"/>
                      </a:lnTo>
                      <a:lnTo>
                        <a:pt x="714" y="894"/>
                      </a:lnTo>
                      <a:lnTo>
                        <a:pt x="726" y="900"/>
                      </a:lnTo>
                      <a:lnTo>
                        <a:pt x="738" y="912"/>
                      </a:lnTo>
                      <a:lnTo>
                        <a:pt x="750" y="918"/>
                      </a:lnTo>
                      <a:lnTo>
                        <a:pt x="762" y="924"/>
                      </a:lnTo>
                      <a:lnTo>
                        <a:pt x="774" y="930"/>
                      </a:lnTo>
                      <a:lnTo>
                        <a:pt x="786" y="930"/>
                      </a:lnTo>
                      <a:lnTo>
                        <a:pt x="792" y="924"/>
                      </a:lnTo>
                      <a:lnTo>
                        <a:pt x="792" y="918"/>
                      </a:lnTo>
                      <a:lnTo>
                        <a:pt x="798" y="912"/>
                      </a:lnTo>
                      <a:lnTo>
                        <a:pt x="798" y="900"/>
                      </a:lnTo>
                      <a:lnTo>
                        <a:pt x="798" y="888"/>
                      </a:lnTo>
                      <a:lnTo>
                        <a:pt x="786" y="882"/>
                      </a:lnTo>
                      <a:lnTo>
                        <a:pt x="774" y="876"/>
                      </a:lnTo>
                      <a:lnTo>
                        <a:pt x="756" y="864"/>
                      </a:lnTo>
                      <a:lnTo>
                        <a:pt x="738" y="858"/>
                      </a:lnTo>
                      <a:lnTo>
                        <a:pt x="732" y="846"/>
                      </a:lnTo>
                      <a:lnTo>
                        <a:pt x="726" y="840"/>
                      </a:lnTo>
                      <a:lnTo>
                        <a:pt x="732" y="834"/>
                      </a:lnTo>
                      <a:lnTo>
                        <a:pt x="732" y="834"/>
                      </a:lnTo>
                      <a:lnTo>
                        <a:pt x="744" y="828"/>
                      </a:lnTo>
                      <a:lnTo>
                        <a:pt x="750" y="822"/>
                      </a:lnTo>
                      <a:lnTo>
                        <a:pt x="750" y="816"/>
                      </a:lnTo>
                      <a:lnTo>
                        <a:pt x="750" y="810"/>
                      </a:lnTo>
                      <a:lnTo>
                        <a:pt x="744" y="798"/>
                      </a:lnTo>
                      <a:lnTo>
                        <a:pt x="738" y="792"/>
                      </a:lnTo>
                      <a:lnTo>
                        <a:pt x="738" y="786"/>
                      </a:lnTo>
                      <a:lnTo>
                        <a:pt x="744" y="774"/>
                      </a:lnTo>
                      <a:lnTo>
                        <a:pt x="756" y="762"/>
                      </a:lnTo>
                      <a:lnTo>
                        <a:pt x="768" y="750"/>
                      </a:lnTo>
                      <a:lnTo>
                        <a:pt x="774" y="744"/>
                      </a:lnTo>
                      <a:lnTo>
                        <a:pt x="786" y="738"/>
                      </a:lnTo>
                      <a:lnTo>
                        <a:pt x="798" y="732"/>
                      </a:lnTo>
                      <a:lnTo>
                        <a:pt x="822" y="732"/>
                      </a:lnTo>
                      <a:lnTo>
                        <a:pt x="834" y="732"/>
                      </a:lnTo>
                      <a:lnTo>
                        <a:pt x="840" y="726"/>
                      </a:lnTo>
                      <a:lnTo>
                        <a:pt x="840" y="720"/>
                      </a:lnTo>
                      <a:lnTo>
                        <a:pt x="840" y="714"/>
                      </a:lnTo>
                      <a:lnTo>
                        <a:pt x="834" y="708"/>
                      </a:lnTo>
                      <a:lnTo>
                        <a:pt x="828" y="702"/>
                      </a:lnTo>
                      <a:lnTo>
                        <a:pt x="822" y="690"/>
                      </a:lnTo>
                      <a:lnTo>
                        <a:pt x="822" y="678"/>
                      </a:lnTo>
                      <a:lnTo>
                        <a:pt x="816" y="666"/>
                      </a:lnTo>
                      <a:lnTo>
                        <a:pt x="810" y="660"/>
                      </a:lnTo>
                      <a:lnTo>
                        <a:pt x="810" y="654"/>
                      </a:lnTo>
                      <a:lnTo>
                        <a:pt x="816" y="654"/>
                      </a:lnTo>
                      <a:lnTo>
                        <a:pt x="822" y="660"/>
                      </a:lnTo>
                      <a:lnTo>
                        <a:pt x="840" y="660"/>
                      </a:lnTo>
                      <a:lnTo>
                        <a:pt x="852" y="666"/>
                      </a:lnTo>
                      <a:lnTo>
                        <a:pt x="858" y="666"/>
                      </a:lnTo>
                      <a:lnTo>
                        <a:pt x="864" y="660"/>
                      </a:lnTo>
                      <a:lnTo>
                        <a:pt x="870" y="642"/>
                      </a:lnTo>
                      <a:lnTo>
                        <a:pt x="870" y="636"/>
                      </a:lnTo>
                      <a:lnTo>
                        <a:pt x="870" y="624"/>
                      </a:lnTo>
                      <a:lnTo>
                        <a:pt x="864" y="624"/>
                      </a:lnTo>
                      <a:lnTo>
                        <a:pt x="852" y="618"/>
                      </a:lnTo>
                      <a:lnTo>
                        <a:pt x="846" y="618"/>
                      </a:lnTo>
                      <a:lnTo>
                        <a:pt x="834" y="612"/>
                      </a:lnTo>
                      <a:lnTo>
                        <a:pt x="828" y="612"/>
                      </a:lnTo>
                      <a:lnTo>
                        <a:pt x="828" y="606"/>
                      </a:lnTo>
                      <a:lnTo>
                        <a:pt x="822" y="594"/>
                      </a:lnTo>
                      <a:lnTo>
                        <a:pt x="828" y="582"/>
                      </a:lnTo>
                      <a:lnTo>
                        <a:pt x="834" y="570"/>
                      </a:lnTo>
                      <a:lnTo>
                        <a:pt x="840" y="564"/>
                      </a:lnTo>
                      <a:lnTo>
                        <a:pt x="858" y="552"/>
                      </a:lnTo>
                      <a:lnTo>
                        <a:pt x="870" y="546"/>
                      </a:lnTo>
                      <a:lnTo>
                        <a:pt x="876" y="546"/>
                      </a:lnTo>
                      <a:lnTo>
                        <a:pt x="882" y="540"/>
                      </a:lnTo>
                      <a:lnTo>
                        <a:pt x="888" y="540"/>
                      </a:lnTo>
                      <a:lnTo>
                        <a:pt x="900" y="540"/>
                      </a:lnTo>
                      <a:lnTo>
                        <a:pt x="912" y="546"/>
                      </a:lnTo>
                      <a:lnTo>
                        <a:pt x="924" y="546"/>
                      </a:lnTo>
                      <a:lnTo>
                        <a:pt x="924" y="546"/>
                      </a:lnTo>
                      <a:lnTo>
                        <a:pt x="930" y="540"/>
                      </a:lnTo>
                      <a:lnTo>
                        <a:pt x="930" y="534"/>
                      </a:lnTo>
                      <a:lnTo>
                        <a:pt x="930" y="522"/>
                      </a:lnTo>
                      <a:lnTo>
                        <a:pt x="930" y="510"/>
                      </a:lnTo>
                      <a:lnTo>
                        <a:pt x="930" y="504"/>
                      </a:lnTo>
                      <a:lnTo>
                        <a:pt x="936" y="492"/>
                      </a:lnTo>
                      <a:lnTo>
                        <a:pt x="948" y="486"/>
                      </a:lnTo>
                      <a:lnTo>
                        <a:pt x="954" y="480"/>
                      </a:lnTo>
                      <a:lnTo>
                        <a:pt x="960" y="486"/>
                      </a:lnTo>
                      <a:lnTo>
                        <a:pt x="972" y="492"/>
                      </a:lnTo>
                      <a:lnTo>
                        <a:pt x="984" y="498"/>
                      </a:lnTo>
                      <a:lnTo>
                        <a:pt x="996" y="504"/>
                      </a:lnTo>
                      <a:lnTo>
                        <a:pt x="1002" y="504"/>
                      </a:lnTo>
                      <a:lnTo>
                        <a:pt x="1008" y="498"/>
                      </a:lnTo>
                      <a:lnTo>
                        <a:pt x="1008" y="492"/>
                      </a:lnTo>
                      <a:lnTo>
                        <a:pt x="1008" y="486"/>
                      </a:lnTo>
                      <a:lnTo>
                        <a:pt x="1002" y="474"/>
                      </a:lnTo>
                      <a:lnTo>
                        <a:pt x="1002" y="462"/>
                      </a:lnTo>
                      <a:lnTo>
                        <a:pt x="996" y="456"/>
                      </a:lnTo>
                      <a:lnTo>
                        <a:pt x="984" y="444"/>
                      </a:lnTo>
                      <a:lnTo>
                        <a:pt x="972" y="438"/>
                      </a:lnTo>
                      <a:lnTo>
                        <a:pt x="966" y="438"/>
                      </a:lnTo>
                      <a:lnTo>
                        <a:pt x="954" y="432"/>
                      </a:lnTo>
                      <a:lnTo>
                        <a:pt x="948" y="432"/>
                      </a:lnTo>
                      <a:lnTo>
                        <a:pt x="942" y="420"/>
                      </a:lnTo>
                      <a:lnTo>
                        <a:pt x="942" y="408"/>
                      </a:lnTo>
                      <a:lnTo>
                        <a:pt x="948" y="402"/>
                      </a:lnTo>
                      <a:lnTo>
                        <a:pt x="954" y="396"/>
                      </a:lnTo>
                      <a:lnTo>
                        <a:pt x="966" y="390"/>
                      </a:lnTo>
                      <a:lnTo>
                        <a:pt x="978" y="390"/>
                      </a:lnTo>
                      <a:lnTo>
                        <a:pt x="984" y="384"/>
                      </a:lnTo>
                      <a:lnTo>
                        <a:pt x="996" y="378"/>
                      </a:lnTo>
                      <a:lnTo>
                        <a:pt x="1002" y="366"/>
                      </a:lnTo>
                      <a:lnTo>
                        <a:pt x="1008" y="354"/>
                      </a:lnTo>
                      <a:lnTo>
                        <a:pt x="1008" y="342"/>
                      </a:lnTo>
                      <a:lnTo>
                        <a:pt x="1014" y="330"/>
                      </a:lnTo>
                      <a:lnTo>
                        <a:pt x="1026" y="318"/>
                      </a:lnTo>
                      <a:lnTo>
                        <a:pt x="1038" y="312"/>
                      </a:lnTo>
                      <a:lnTo>
                        <a:pt x="1056" y="306"/>
                      </a:lnTo>
                      <a:lnTo>
                        <a:pt x="1074" y="300"/>
                      </a:lnTo>
                      <a:lnTo>
                        <a:pt x="1086" y="294"/>
                      </a:lnTo>
                      <a:lnTo>
                        <a:pt x="1086" y="288"/>
                      </a:lnTo>
                      <a:lnTo>
                        <a:pt x="1092" y="276"/>
                      </a:lnTo>
                      <a:lnTo>
                        <a:pt x="1098" y="258"/>
                      </a:lnTo>
                      <a:lnTo>
                        <a:pt x="1104" y="252"/>
                      </a:lnTo>
                      <a:lnTo>
                        <a:pt x="1116" y="246"/>
                      </a:lnTo>
                      <a:lnTo>
                        <a:pt x="1128" y="240"/>
                      </a:lnTo>
                      <a:lnTo>
                        <a:pt x="1140" y="240"/>
                      </a:lnTo>
                      <a:lnTo>
                        <a:pt x="1152" y="240"/>
                      </a:lnTo>
                      <a:lnTo>
                        <a:pt x="1158" y="228"/>
                      </a:lnTo>
                      <a:lnTo>
                        <a:pt x="1170" y="222"/>
                      </a:lnTo>
                      <a:lnTo>
                        <a:pt x="1176" y="216"/>
                      </a:lnTo>
                      <a:lnTo>
                        <a:pt x="1176" y="210"/>
                      </a:lnTo>
                      <a:lnTo>
                        <a:pt x="1182" y="204"/>
                      </a:lnTo>
                      <a:lnTo>
                        <a:pt x="1188" y="210"/>
                      </a:lnTo>
                      <a:lnTo>
                        <a:pt x="1200" y="216"/>
                      </a:lnTo>
                      <a:lnTo>
                        <a:pt x="1206" y="228"/>
                      </a:lnTo>
                      <a:lnTo>
                        <a:pt x="1212" y="234"/>
                      </a:lnTo>
                      <a:lnTo>
                        <a:pt x="1212" y="246"/>
                      </a:lnTo>
                      <a:lnTo>
                        <a:pt x="1218" y="258"/>
                      </a:lnTo>
                      <a:lnTo>
                        <a:pt x="1230" y="264"/>
                      </a:lnTo>
                      <a:lnTo>
                        <a:pt x="1242" y="270"/>
                      </a:lnTo>
                      <a:lnTo>
                        <a:pt x="1254" y="264"/>
                      </a:lnTo>
                      <a:lnTo>
                        <a:pt x="1260" y="258"/>
                      </a:lnTo>
                      <a:lnTo>
                        <a:pt x="1272" y="246"/>
                      </a:lnTo>
                      <a:lnTo>
                        <a:pt x="1278" y="234"/>
                      </a:lnTo>
                      <a:lnTo>
                        <a:pt x="1290" y="222"/>
                      </a:lnTo>
                      <a:lnTo>
                        <a:pt x="1296" y="204"/>
                      </a:lnTo>
                      <a:lnTo>
                        <a:pt x="1308" y="198"/>
                      </a:lnTo>
                      <a:lnTo>
                        <a:pt x="1320" y="192"/>
                      </a:lnTo>
                      <a:lnTo>
                        <a:pt x="1338" y="186"/>
                      </a:lnTo>
                      <a:lnTo>
                        <a:pt x="1356" y="186"/>
                      </a:lnTo>
                      <a:lnTo>
                        <a:pt x="1362" y="180"/>
                      </a:lnTo>
                      <a:lnTo>
                        <a:pt x="1368" y="174"/>
                      </a:lnTo>
                      <a:lnTo>
                        <a:pt x="1368" y="168"/>
                      </a:lnTo>
                      <a:lnTo>
                        <a:pt x="1362" y="162"/>
                      </a:lnTo>
                      <a:lnTo>
                        <a:pt x="1350" y="156"/>
                      </a:lnTo>
                      <a:lnTo>
                        <a:pt x="1344" y="150"/>
                      </a:lnTo>
                      <a:lnTo>
                        <a:pt x="1332" y="144"/>
                      </a:lnTo>
                      <a:lnTo>
                        <a:pt x="1320" y="138"/>
                      </a:lnTo>
                      <a:lnTo>
                        <a:pt x="1320" y="132"/>
                      </a:lnTo>
                      <a:lnTo>
                        <a:pt x="1320" y="120"/>
                      </a:lnTo>
                      <a:lnTo>
                        <a:pt x="1320" y="114"/>
                      </a:lnTo>
                      <a:lnTo>
                        <a:pt x="1344" y="108"/>
                      </a:lnTo>
                      <a:lnTo>
                        <a:pt x="1380" y="108"/>
                      </a:lnTo>
                      <a:lnTo>
                        <a:pt x="1422" y="114"/>
                      </a:lnTo>
                      <a:lnTo>
                        <a:pt x="1434" y="120"/>
                      </a:lnTo>
                      <a:lnTo>
                        <a:pt x="1446" y="120"/>
                      </a:lnTo>
                      <a:lnTo>
                        <a:pt x="1452" y="126"/>
                      </a:lnTo>
                      <a:lnTo>
                        <a:pt x="1452" y="132"/>
                      </a:lnTo>
                      <a:lnTo>
                        <a:pt x="1458" y="138"/>
                      </a:lnTo>
                      <a:lnTo>
                        <a:pt x="1464" y="150"/>
                      </a:lnTo>
                      <a:lnTo>
                        <a:pt x="1470" y="168"/>
                      </a:lnTo>
                      <a:lnTo>
                        <a:pt x="1482" y="180"/>
                      </a:lnTo>
                      <a:lnTo>
                        <a:pt x="1500" y="186"/>
                      </a:lnTo>
                      <a:lnTo>
                        <a:pt x="1518" y="192"/>
                      </a:lnTo>
                      <a:lnTo>
                        <a:pt x="1530" y="186"/>
                      </a:lnTo>
                      <a:lnTo>
                        <a:pt x="1548" y="180"/>
                      </a:lnTo>
                      <a:lnTo>
                        <a:pt x="1554" y="168"/>
                      </a:lnTo>
                      <a:lnTo>
                        <a:pt x="1554" y="150"/>
                      </a:lnTo>
                      <a:lnTo>
                        <a:pt x="1548" y="138"/>
                      </a:lnTo>
                      <a:lnTo>
                        <a:pt x="1536" y="126"/>
                      </a:lnTo>
                      <a:lnTo>
                        <a:pt x="1530" y="114"/>
                      </a:lnTo>
                      <a:lnTo>
                        <a:pt x="1530" y="108"/>
                      </a:lnTo>
                      <a:lnTo>
                        <a:pt x="1536" y="96"/>
                      </a:lnTo>
                      <a:lnTo>
                        <a:pt x="1548" y="90"/>
                      </a:lnTo>
                      <a:lnTo>
                        <a:pt x="1554" y="90"/>
                      </a:lnTo>
                      <a:lnTo>
                        <a:pt x="1566" y="96"/>
                      </a:lnTo>
                      <a:lnTo>
                        <a:pt x="1578" y="102"/>
                      </a:lnTo>
                      <a:lnTo>
                        <a:pt x="1590" y="102"/>
                      </a:lnTo>
                      <a:lnTo>
                        <a:pt x="1602" y="102"/>
                      </a:lnTo>
                      <a:lnTo>
                        <a:pt x="1608" y="102"/>
                      </a:lnTo>
                      <a:lnTo>
                        <a:pt x="1614" y="96"/>
                      </a:lnTo>
                      <a:lnTo>
                        <a:pt x="1620" y="84"/>
                      </a:lnTo>
                      <a:lnTo>
                        <a:pt x="1620" y="72"/>
                      </a:lnTo>
                      <a:lnTo>
                        <a:pt x="1620" y="66"/>
                      </a:lnTo>
                      <a:lnTo>
                        <a:pt x="1614" y="60"/>
                      </a:lnTo>
                      <a:lnTo>
                        <a:pt x="1608" y="54"/>
                      </a:lnTo>
                      <a:lnTo>
                        <a:pt x="1602" y="48"/>
                      </a:lnTo>
                      <a:lnTo>
                        <a:pt x="1596" y="48"/>
                      </a:lnTo>
                      <a:lnTo>
                        <a:pt x="1590" y="42"/>
                      </a:lnTo>
                      <a:lnTo>
                        <a:pt x="1596" y="36"/>
                      </a:lnTo>
                      <a:lnTo>
                        <a:pt x="1596" y="24"/>
                      </a:lnTo>
                      <a:lnTo>
                        <a:pt x="1608" y="18"/>
                      </a:lnTo>
                      <a:lnTo>
                        <a:pt x="1614" y="12"/>
                      </a:lnTo>
                      <a:lnTo>
                        <a:pt x="1626" y="12"/>
                      </a:lnTo>
                      <a:lnTo>
                        <a:pt x="1644" y="12"/>
                      </a:lnTo>
                      <a:lnTo>
                        <a:pt x="1656" y="18"/>
                      </a:lnTo>
                      <a:lnTo>
                        <a:pt x="1668" y="18"/>
                      </a:lnTo>
                      <a:lnTo>
                        <a:pt x="1674" y="24"/>
                      </a:lnTo>
                      <a:lnTo>
                        <a:pt x="1680" y="30"/>
                      </a:lnTo>
                      <a:lnTo>
                        <a:pt x="1674" y="36"/>
                      </a:lnTo>
                      <a:lnTo>
                        <a:pt x="1674" y="48"/>
                      </a:lnTo>
                      <a:lnTo>
                        <a:pt x="1668" y="54"/>
                      </a:lnTo>
                      <a:lnTo>
                        <a:pt x="1668" y="66"/>
                      </a:lnTo>
                      <a:lnTo>
                        <a:pt x="1674" y="72"/>
                      </a:lnTo>
                      <a:lnTo>
                        <a:pt x="1686" y="78"/>
                      </a:lnTo>
                      <a:lnTo>
                        <a:pt x="1698" y="78"/>
                      </a:lnTo>
                      <a:lnTo>
                        <a:pt x="1710" y="66"/>
                      </a:lnTo>
                      <a:lnTo>
                        <a:pt x="1722" y="54"/>
                      </a:lnTo>
                      <a:lnTo>
                        <a:pt x="1740" y="36"/>
                      </a:lnTo>
                      <a:lnTo>
                        <a:pt x="1746" y="24"/>
                      </a:lnTo>
                      <a:lnTo>
                        <a:pt x="1746" y="24"/>
                      </a:lnTo>
                      <a:lnTo>
                        <a:pt x="1752" y="24"/>
                      </a:lnTo>
                      <a:lnTo>
                        <a:pt x="1752" y="36"/>
                      </a:lnTo>
                      <a:lnTo>
                        <a:pt x="1752" y="42"/>
                      </a:lnTo>
                      <a:lnTo>
                        <a:pt x="1752" y="54"/>
                      </a:lnTo>
                      <a:lnTo>
                        <a:pt x="1752" y="66"/>
                      </a:lnTo>
                      <a:lnTo>
                        <a:pt x="1752" y="78"/>
                      </a:lnTo>
                      <a:lnTo>
                        <a:pt x="1752" y="90"/>
                      </a:lnTo>
                      <a:lnTo>
                        <a:pt x="1758" y="96"/>
                      </a:lnTo>
                      <a:lnTo>
                        <a:pt x="1770" y="96"/>
                      </a:lnTo>
                      <a:lnTo>
                        <a:pt x="1776" y="96"/>
                      </a:lnTo>
                      <a:lnTo>
                        <a:pt x="1788" y="90"/>
                      </a:lnTo>
                      <a:lnTo>
                        <a:pt x="1800" y="84"/>
                      </a:lnTo>
                      <a:lnTo>
                        <a:pt x="1812" y="78"/>
                      </a:lnTo>
                      <a:lnTo>
                        <a:pt x="1818" y="72"/>
                      </a:lnTo>
                      <a:lnTo>
                        <a:pt x="1818" y="66"/>
                      </a:lnTo>
                      <a:lnTo>
                        <a:pt x="1818" y="60"/>
                      </a:lnTo>
                      <a:lnTo>
                        <a:pt x="1812" y="54"/>
                      </a:lnTo>
                      <a:lnTo>
                        <a:pt x="1812" y="42"/>
                      </a:lnTo>
                      <a:lnTo>
                        <a:pt x="1812" y="36"/>
                      </a:lnTo>
                      <a:lnTo>
                        <a:pt x="1818" y="24"/>
                      </a:lnTo>
                      <a:lnTo>
                        <a:pt x="1824" y="18"/>
                      </a:lnTo>
                      <a:lnTo>
                        <a:pt x="1836" y="6"/>
                      </a:lnTo>
                      <a:lnTo>
                        <a:pt x="184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49" name="Freeform 9">
                  <a:extLst>
                    <a:ext uri="{FF2B5EF4-FFF2-40B4-BE49-F238E27FC236}">
                      <a16:creationId xmlns:a16="http://schemas.microsoft.com/office/drawing/2014/main" id="{DBAB7C70-94F6-4166-AF6D-D303D7DB17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53" y="-5718"/>
                  <a:ext cx="1056" cy="2328"/>
                </a:xfrm>
                <a:custGeom>
                  <a:avLst/>
                  <a:gdLst>
                    <a:gd name="T0" fmla="*/ 1050 w 1056"/>
                    <a:gd name="T1" fmla="*/ 546 h 2328"/>
                    <a:gd name="T2" fmla="*/ 906 w 1056"/>
                    <a:gd name="T3" fmla="*/ 126 h 2328"/>
                    <a:gd name="T4" fmla="*/ 1008 w 1056"/>
                    <a:gd name="T5" fmla="*/ 252 h 2328"/>
                    <a:gd name="T6" fmla="*/ 1032 w 1056"/>
                    <a:gd name="T7" fmla="*/ 336 h 2328"/>
                    <a:gd name="T8" fmla="*/ 1050 w 1056"/>
                    <a:gd name="T9" fmla="*/ 546 h 2328"/>
                    <a:gd name="T10" fmla="*/ 984 w 1056"/>
                    <a:gd name="T11" fmla="*/ 552 h 2328"/>
                    <a:gd name="T12" fmla="*/ 942 w 1056"/>
                    <a:gd name="T13" fmla="*/ 594 h 2328"/>
                    <a:gd name="T14" fmla="*/ 894 w 1056"/>
                    <a:gd name="T15" fmla="*/ 594 h 2328"/>
                    <a:gd name="T16" fmla="*/ 912 w 1056"/>
                    <a:gd name="T17" fmla="*/ 624 h 2328"/>
                    <a:gd name="T18" fmla="*/ 870 w 1056"/>
                    <a:gd name="T19" fmla="*/ 642 h 2328"/>
                    <a:gd name="T20" fmla="*/ 840 w 1056"/>
                    <a:gd name="T21" fmla="*/ 654 h 2328"/>
                    <a:gd name="T22" fmla="*/ 864 w 1056"/>
                    <a:gd name="T23" fmla="*/ 690 h 2328"/>
                    <a:gd name="T24" fmla="*/ 834 w 1056"/>
                    <a:gd name="T25" fmla="*/ 726 h 2328"/>
                    <a:gd name="T26" fmla="*/ 852 w 1056"/>
                    <a:gd name="T27" fmla="*/ 780 h 2328"/>
                    <a:gd name="T28" fmla="*/ 852 w 1056"/>
                    <a:gd name="T29" fmla="*/ 852 h 2328"/>
                    <a:gd name="T30" fmla="*/ 780 w 1056"/>
                    <a:gd name="T31" fmla="*/ 918 h 2328"/>
                    <a:gd name="T32" fmla="*/ 756 w 1056"/>
                    <a:gd name="T33" fmla="*/ 972 h 2328"/>
                    <a:gd name="T34" fmla="*/ 678 w 1056"/>
                    <a:gd name="T35" fmla="*/ 990 h 2328"/>
                    <a:gd name="T36" fmla="*/ 558 w 1056"/>
                    <a:gd name="T37" fmla="*/ 1128 h 2328"/>
                    <a:gd name="T38" fmla="*/ 534 w 1056"/>
                    <a:gd name="T39" fmla="*/ 1368 h 2328"/>
                    <a:gd name="T40" fmla="*/ 552 w 1056"/>
                    <a:gd name="T41" fmla="*/ 1410 h 2328"/>
                    <a:gd name="T42" fmla="*/ 600 w 1056"/>
                    <a:gd name="T43" fmla="*/ 1422 h 2328"/>
                    <a:gd name="T44" fmla="*/ 666 w 1056"/>
                    <a:gd name="T45" fmla="*/ 1470 h 2328"/>
                    <a:gd name="T46" fmla="*/ 708 w 1056"/>
                    <a:gd name="T47" fmla="*/ 1524 h 2328"/>
                    <a:gd name="T48" fmla="*/ 714 w 1056"/>
                    <a:gd name="T49" fmla="*/ 1584 h 2328"/>
                    <a:gd name="T50" fmla="*/ 660 w 1056"/>
                    <a:gd name="T51" fmla="*/ 1626 h 2328"/>
                    <a:gd name="T52" fmla="*/ 582 w 1056"/>
                    <a:gd name="T53" fmla="*/ 1620 h 2328"/>
                    <a:gd name="T54" fmla="*/ 510 w 1056"/>
                    <a:gd name="T55" fmla="*/ 1626 h 2328"/>
                    <a:gd name="T56" fmla="*/ 492 w 1056"/>
                    <a:gd name="T57" fmla="*/ 1656 h 2328"/>
                    <a:gd name="T58" fmla="*/ 576 w 1056"/>
                    <a:gd name="T59" fmla="*/ 1686 h 2328"/>
                    <a:gd name="T60" fmla="*/ 630 w 1056"/>
                    <a:gd name="T61" fmla="*/ 1674 h 2328"/>
                    <a:gd name="T62" fmla="*/ 666 w 1056"/>
                    <a:gd name="T63" fmla="*/ 1692 h 2328"/>
                    <a:gd name="T64" fmla="*/ 642 w 1056"/>
                    <a:gd name="T65" fmla="*/ 1728 h 2328"/>
                    <a:gd name="T66" fmla="*/ 552 w 1056"/>
                    <a:gd name="T67" fmla="*/ 1776 h 2328"/>
                    <a:gd name="T68" fmla="*/ 528 w 1056"/>
                    <a:gd name="T69" fmla="*/ 1806 h 2328"/>
                    <a:gd name="T70" fmla="*/ 540 w 1056"/>
                    <a:gd name="T71" fmla="*/ 1908 h 2328"/>
                    <a:gd name="T72" fmla="*/ 540 w 1056"/>
                    <a:gd name="T73" fmla="*/ 1974 h 2328"/>
                    <a:gd name="T74" fmla="*/ 552 w 1056"/>
                    <a:gd name="T75" fmla="*/ 2040 h 2328"/>
                    <a:gd name="T76" fmla="*/ 474 w 1056"/>
                    <a:gd name="T77" fmla="*/ 2148 h 2328"/>
                    <a:gd name="T78" fmla="*/ 420 w 1056"/>
                    <a:gd name="T79" fmla="*/ 2190 h 2328"/>
                    <a:gd name="T80" fmla="*/ 384 w 1056"/>
                    <a:gd name="T81" fmla="*/ 2190 h 2328"/>
                    <a:gd name="T82" fmla="*/ 336 w 1056"/>
                    <a:gd name="T83" fmla="*/ 2226 h 2328"/>
                    <a:gd name="T84" fmla="*/ 318 w 1056"/>
                    <a:gd name="T85" fmla="*/ 2322 h 2328"/>
                    <a:gd name="T86" fmla="*/ 270 w 1056"/>
                    <a:gd name="T87" fmla="*/ 2322 h 2328"/>
                    <a:gd name="T88" fmla="*/ 216 w 1056"/>
                    <a:gd name="T89" fmla="*/ 2322 h 2328"/>
                    <a:gd name="T90" fmla="*/ 198 w 1056"/>
                    <a:gd name="T91" fmla="*/ 2298 h 2328"/>
                    <a:gd name="T92" fmla="*/ 192 w 1056"/>
                    <a:gd name="T93" fmla="*/ 2232 h 2328"/>
                    <a:gd name="T94" fmla="*/ 168 w 1056"/>
                    <a:gd name="T95" fmla="*/ 2190 h 2328"/>
                    <a:gd name="T96" fmla="*/ 198 w 1056"/>
                    <a:gd name="T97" fmla="*/ 2166 h 2328"/>
                    <a:gd name="T98" fmla="*/ 180 w 1056"/>
                    <a:gd name="T99" fmla="*/ 2136 h 2328"/>
                    <a:gd name="T100" fmla="*/ 144 w 1056"/>
                    <a:gd name="T101" fmla="*/ 2058 h 2328"/>
                    <a:gd name="T102" fmla="*/ 138 w 1056"/>
                    <a:gd name="T103" fmla="*/ 2028 h 2328"/>
                    <a:gd name="T104" fmla="*/ 84 w 1056"/>
                    <a:gd name="T105" fmla="*/ 1968 h 2328"/>
                    <a:gd name="T106" fmla="*/ 6 w 1056"/>
                    <a:gd name="T107" fmla="*/ 1788 h 2328"/>
                    <a:gd name="T108" fmla="*/ 12 w 1056"/>
                    <a:gd name="T109" fmla="*/ 1752 h 2328"/>
                    <a:gd name="T110" fmla="*/ 60 w 1056"/>
                    <a:gd name="T111" fmla="*/ 1710 h 2328"/>
                    <a:gd name="T112" fmla="*/ 90 w 1056"/>
                    <a:gd name="T113" fmla="*/ 1446 h 2328"/>
                    <a:gd name="T114" fmla="*/ 108 w 1056"/>
                    <a:gd name="T115" fmla="*/ 1302 h 2328"/>
                    <a:gd name="T116" fmla="*/ 150 w 1056"/>
                    <a:gd name="T117" fmla="*/ 918 h 2328"/>
                    <a:gd name="T118" fmla="*/ 264 w 1056"/>
                    <a:gd name="T119" fmla="*/ 678 h 2328"/>
                    <a:gd name="T120" fmla="*/ 378 w 1056"/>
                    <a:gd name="T121" fmla="*/ 318 h 2328"/>
                    <a:gd name="T122" fmla="*/ 594 w 1056"/>
                    <a:gd name="T123" fmla="*/ 114 h 2328"/>
                    <a:gd name="T124" fmla="*/ 702 w 1056"/>
                    <a:gd name="T125" fmla="*/ 0 h 2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56" h="2328">
                      <a:moveTo>
                        <a:pt x="1050" y="546"/>
                      </a:moveTo>
                      <a:lnTo>
                        <a:pt x="1056" y="546"/>
                      </a:lnTo>
                      <a:lnTo>
                        <a:pt x="1050" y="546"/>
                      </a:lnTo>
                      <a:lnTo>
                        <a:pt x="1050" y="546"/>
                      </a:lnTo>
                      <a:close/>
                      <a:moveTo>
                        <a:pt x="702" y="0"/>
                      </a:moveTo>
                      <a:lnTo>
                        <a:pt x="792" y="66"/>
                      </a:lnTo>
                      <a:lnTo>
                        <a:pt x="834" y="138"/>
                      </a:lnTo>
                      <a:lnTo>
                        <a:pt x="906" y="126"/>
                      </a:lnTo>
                      <a:lnTo>
                        <a:pt x="978" y="186"/>
                      </a:lnTo>
                      <a:lnTo>
                        <a:pt x="984" y="198"/>
                      </a:lnTo>
                      <a:lnTo>
                        <a:pt x="996" y="222"/>
                      </a:lnTo>
                      <a:lnTo>
                        <a:pt x="1008" y="252"/>
                      </a:lnTo>
                      <a:lnTo>
                        <a:pt x="1020" y="282"/>
                      </a:lnTo>
                      <a:lnTo>
                        <a:pt x="1020" y="294"/>
                      </a:lnTo>
                      <a:lnTo>
                        <a:pt x="1026" y="306"/>
                      </a:lnTo>
                      <a:lnTo>
                        <a:pt x="1032" y="336"/>
                      </a:lnTo>
                      <a:lnTo>
                        <a:pt x="1038" y="372"/>
                      </a:lnTo>
                      <a:lnTo>
                        <a:pt x="1044" y="402"/>
                      </a:lnTo>
                      <a:lnTo>
                        <a:pt x="1050" y="420"/>
                      </a:lnTo>
                      <a:lnTo>
                        <a:pt x="1050" y="546"/>
                      </a:lnTo>
                      <a:lnTo>
                        <a:pt x="1032" y="540"/>
                      </a:lnTo>
                      <a:lnTo>
                        <a:pt x="1014" y="534"/>
                      </a:lnTo>
                      <a:lnTo>
                        <a:pt x="996" y="540"/>
                      </a:lnTo>
                      <a:lnTo>
                        <a:pt x="984" y="552"/>
                      </a:lnTo>
                      <a:lnTo>
                        <a:pt x="978" y="564"/>
                      </a:lnTo>
                      <a:lnTo>
                        <a:pt x="966" y="582"/>
                      </a:lnTo>
                      <a:lnTo>
                        <a:pt x="960" y="594"/>
                      </a:lnTo>
                      <a:lnTo>
                        <a:pt x="942" y="594"/>
                      </a:lnTo>
                      <a:lnTo>
                        <a:pt x="924" y="594"/>
                      </a:lnTo>
                      <a:lnTo>
                        <a:pt x="912" y="588"/>
                      </a:lnTo>
                      <a:lnTo>
                        <a:pt x="900" y="594"/>
                      </a:lnTo>
                      <a:lnTo>
                        <a:pt x="894" y="594"/>
                      </a:lnTo>
                      <a:lnTo>
                        <a:pt x="894" y="606"/>
                      </a:lnTo>
                      <a:lnTo>
                        <a:pt x="900" y="612"/>
                      </a:lnTo>
                      <a:lnTo>
                        <a:pt x="912" y="618"/>
                      </a:lnTo>
                      <a:lnTo>
                        <a:pt x="912" y="624"/>
                      </a:lnTo>
                      <a:lnTo>
                        <a:pt x="906" y="630"/>
                      </a:lnTo>
                      <a:lnTo>
                        <a:pt x="900" y="636"/>
                      </a:lnTo>
                      <a:lnTo>
                        <a:pt x="888" y="642"/>
                      </a:lnTo>
                      <a:lnTo>
                        <a:pt x="870" y="642"/>
                      </a:lnTo>
                      <a:lnTo>
                        <a:pt x="858" y="642"/>
                      </a:lnTo>
                      <a:lnTo>
                        <a:pt x="846" y="648"/>
                      </a:lnTo>
                      <a:lnTo>
                        <a:pt x="840" y="648"/>
                      </a:lnTo>
                      <a:lnTo>
                        <a:pt x="840" y="654"/>
                      </a:lnTo>
                      <a:lnTo>
                        <a:pt x="852" y="666"/>
                      </a:lnTo>
                      <a:lnTo>
                        <a:pt x="858" y="672"/>
                      </a:lnTo>
                      <a:lnTo>
                        <a:pt x="864" y="678"/>
                      </a:lnTo>
                      <a:lnTo>
                        <a:pt x="864" y="690"/>
                      </a:lnTo>
                      <a:lnTo>
                        <a:pt x="864" y="696"/>
                      </a:lnTo>
                      <a:lnTo>
                        <a:pt x="852" y="708"/>
                      </a:lnTo>
                      <a:lnTo>
                        <a:pt x="840" y="714"/>
                      </a:lnTo>
                      <a:lnTo>
                        <a:pt x="834" y="726"/>
                      </a:lnTo>
                      <a:lnTo>
                        <a:pt x="834" y="738"/>
                      </a:lnTo>
                      <a:lnTo>
                        <a:pt x="840" y="750"/>
                      </a:lnTo>
                      <a:lnTo>
                        <a:pt x="852" y="762"/>
                      </a:lnTo>
                      <a:lnTo>
                        <a:pt x="852" y="780"/>
                      </a:lnTo>
                      <a:lnTo>
                        <a:pt x="858" y="810"/>
                      </a:lnTo>
                      <a:lnTo>
                        <a:pt x="858" y="828"/>
                      </a:lnTo>
                      <a:lnTo>
                        <a:pt x="858" y="840"/>
                      </a:lnTo>
                      <a:lnTo>
                        <a:pt x="852" y="852"/>
                      </a:lnTo>
                      <a:lnTo>
                        <a:pt x="834" y="864"/>
                      </a:lnTo>
                      <a:lnTo>
                        <a:pt x="816" y="876"/>
                      </a:lnTo>
                      <a:lnTo>
                        <a:pt x="798" y="900"/>
                      </a:lnTo>
                      <a:lnTo>
                        <a:pt x="780" y="918"/>
                      </a:lnTo>
                      <a:lnTo>
                        <a:pt x="768" y="942"/>
                      </a:lnTo>
                      <a:lnTo>
                        <a:pt x="762" y="954"/>
                      </a:lnTo>
                      <a:lnTo>
                        <a:pt x="762" y="966"/>
                      </a:lnTo>
                      <a:lnTo>
                        <a:pt x="756" y="972"/>
                      </a:lnTo>
                      <a:lnTo>
                        <a:pt x="744" y="978"/>
                      </a:lnTo>
                      <a:lnTo>
                        <a:pt x="732" y="978"/>
                      </a:lnTo>
                      <a:lnTo>
                        <a:pt x="714" y="978"/>
                      </a:lnTo>
                      <a:lnTo>
                        <a:pt x="678" y="990"/>
                      </a:lnTo>
                      <a:lnTo>
                        <a:pt x="642" y="1014"/>
                      </a:lnTo>
                      <a:lnTo>
                        <a:pt x="606" y="1050"/>
                      </a:lnTo>
                      <a:lnTo>
                        <a:pt x="582" y="1080"/>
                      </a:lnTo>
                      <a:lnTo>
                        <a:pt x="558" y="1128"/>
                      </a:lnTo>
                      <a:lnTo>
                        <a:pt x="540" y="1182"/>
                      </a:lnTo>
                      <a:lnTo>
                        <a:pt x="528" y="1230"/>
                      </a:lnTo>
                      <a:lnTo>
                        <a:pt x="528" y="1296"/>
                      </a:lnTo>
                      <a:lnTo>
                        <a:pt x="534" y="1368"/>
                      </a:lnTo>
                      <a:lnTo>
                        <a:pt x="534" y="1386"/>
                      </a:lnTo>
                      <a:lnTo>
                        <a:pt x="540" y="1398"/>
                      </a:lnTo>
                      <a:lnTo>
                        <a:pt x="546" y="1410"/>
                      </a:lnTo>
                      <a:lnTo>
                        <a:pt x="552" y="1410"/>
                      </a:lnTo>
                      <a:lnTo>
                        <a:pt x="564" y="1416"/>
                      </a:lnTo>
                      <a:lnTo>
                        <a:pt x="576" y="1416"/>
                      </a:lnTo>
                      <a:lnTo>
                        <a:pt x="582" y="1416"/>
                      </a:lnTo>
                      <a:lnTo>
                        <a:pt x="600" y="1422"/>
                      </a:lnTo>
                      <a:lnTo>
                        <a:pt x="618" y="1428"/>
                      </a:lnTo>
                      <a:lnTo>
                        <a:pt x="642" y="1440"/>
                      </a:lnTo>
                      <a:lnTo>
                        <a:pt x="654" y="1452"/>
                      </a:lnTo>
                      <a:lnTo>
                        <a:pt x="666" y="1470"/>
                      </a:lnTo>
                      <a:lnTo>
                        <a:pt x="672" y="1488"/>
                      </a:lnTo>
                      <a:lnTo>
                        <a:pt x="684" y="1500"/>
                      </a:lnTo>
                      <a:lnTo>
                        <a:pt x="696" y="1512"/>
                      </a:lnTo>
                      <a:lnTo>
                        <a:pt x="708" y="1524"/>
                      </a:lnTo>
                      <a:lnTo>
                        <a:pt x="714" y="1536"/>
                      </a:lnTo>
                      <a:lnTo>
                        <a:pt x="720" y="1548"/>
                      </a:lnTo>
                      <a:lnTo>
                        <a:pt x="720" y="1566"/>
                      </a:lnTo>
                      <a:lnTo>
                        <a:pt x="714" y="1584"/>
                      </a:lnTo>
                      <a:lnTo>
                        <a:pt x="702" y="1602"/>
                      </a:lnTo>
                      <a:lnTo>
                        <a:pt x="690" y="1614"/>
                      </a:lnTo>
                      <a:lnTo>
                        <a:pt x="678" y="1620"/>
                      </a:lnTo>
                      <a:lnTo>
                        <a:pt x="660" y="1626"/>
                      </a:lnTo>
                      <a:lnTo>
                        <a:pt x="642" y="1626"/>
                      </a:lnTo>
                      <a:lnTo>
                        <a:pt x="624" y="1620"/>
                      </a:lnTo>
                      <a:lnTo>
                        <a:pt x="606" y="1620"/>
                      </a:lnTo>
                      <a:lnTo>
                        <a:pt x="582" y="1620"/>
                      </a:lnTo>
                      <a:lnTo>
                        <a:pt x="552" y="1620"/>
                      </a:lnTo>
                      <a:lnTo>
                        <a:pt x="534" y="1620"/>
                      </a:lnTo>
                      <a:lnTo>
                        <a:pt x="522" y="1620"/>
                      </a:lnTo>
                      <a:lnTo>
                        <a:pt x="510" y="1626"/>
                      </a:lnTo>
                      <a:lnTo>
                        <a:pt x="504" y="1632"/>
                      </a:lnTo>
                      <a:lnTo>
                        <a:pt x="492" y="1644"/>
                      </a:lnTo>
                      <a:lnTo>
                        <a:pt x="492" y="1650"/>
                      </a:lnTo>
                      <a:lnTo>
                        <a:pt x="492" y="1656"/>
                      </a:lnTo>
                      <a:lnTo>
                        <a:pt x="498" y="1662"/>
                      </a:lnTo>
                      <a:lnTo>
                        <a:pt x="504" y="1668"/>
                      </a:lnTo>
                      <a:lnTo>
                        <a:pt x="540" y="1680"/>
                      </a:lnTo>
                      <a:lnTo>
                        <a:pt x="576" y="1686"/>
                      </a:lnTo>
                      <a:lnTo>
                        <a:pt x="612" y="1680"/>
                      </a:lnTo>
                      <a:lnTo>
                        <a:pt x="618" y="1674"/>
                      </a:lnTo>
                      <a:lnTo>
                        <a:pt x="624" y="1674"/>
                      </a:lnTo>
                      <a:lnTo>
                        <a:pt x="630" y="1674"/>
                      </a:lnTo>
                      <a:lnTo>
                        <a:pt x="636" y="1674"/>
                      </a:lnTo>
                      <a:lnTo>
                        <a:pt x="642" y="1680"/>
                      </a:lnTo>
                      <a:lnTo>
                        <a:pt x="654" y="1686"/>
                      </a:lnTo>
                      <a:lnTo>
                        <a:pt x="666" y="1692"/>
                      </a:lnTo>
                      <a:lnTo>
                        <a:pt x="666" y="1698"/>
                      </a:lnTo>
                      <a:lnTo>
                        <a:pt x="660" y="1710"/>
                      </a:lnTo>
                      <a:lnTo>
                        <a:pt x="654" y="1716"/>
                      </a:lnTo>
                      <a:lnTo>
                        <a:pt x="642" y="1728"/>
                      </a:lnTo>
                      <a:lnTo>
                        <a:pt x="630" y="1740"/>
                      </a:lnTo>
                      <a:lnTo>
                        <a:pt x="606" y="1758"/>
                      </a:lnTo>
                      <a:lnTo>
                        <a:pt x="582" y="1770"/>
                      </a:lnTo>
                      <a:lnTo>
                        <a:pt x="552" y="1776"/>
                      </a:lnTo>
                      <a:lnTo>
                        <a:pt x="540" y="1782"/>
                      </a:lnTo>
                      <a:lnTo>
                        <a:pt x="528" y="1788"/>
                      </a:lnTo>
                      <a:lnTo>
                        <a:pt x="522" y="1794"/>
                      </a:lnTo>
                      <a:lnTo>
                        <a:pt x="528" y="1806"/>
                      </a:lnTo>
                      <a:lnTo>
                        <a:pt x="534" y="1818"/>
                      </a:lnTo>
                      <a:lnTo>
                        <a:pt x="540" y="1836"/>
                      </a:lnTo>
                      <a:lnTo>
                        <a:pt x="546" y="1872"/>
                      </a:lnTo>
                      <a:lnTo>
                        <a:pt x="540" y="1908"/>
                      </a:lnTo>
                      <a:lnTo>
                        <a:pt x="534" y="1938"/>
                      </a:lnTo>
                      <a:lnTo>
                        <a:pt x="528" y="1950"/>
                      </a:lnTo>
                      <a:lnTo>
                        <a:pt x="534" y="1962"/>
                      </a:lnTo>
                      <a:lnTo>
                        <a:pt x="540" y="1974"/>
                      </a:lnTo>
                      <a:lnTo>
                        <a:pt x="546" y="1986"/>
                      </a:lnTo>
                      <a:lnTo>
                        <a:pt x="558" y="1998"/>
                      </a:lnTo>
                      <a:lnTo>
                        <a:pt x="558" y="2010"/>
                      </a:lnTo>
                      <a:lnTo>
                        <a:pt x="552" y="2040"/>
                      </a:lnTo>
                      <a:lnTo>
                        <a:pt x="540" y="2082"/>
                      </a:lnTo>
                      <a:lnTo>
                        <a:pt x="516" y="2118"/>
                      </a:lnTo>
                      <a:lnTo>
                        <a:pt x="492" y="2142"/>
                      </a:lnTo>
                      <a:lnTo>
                        <a:pt x="474" y="2148"/>
                      </a:lnTo>
                      <a:lnTo>
                        <a:pt x="462" y="2160"/>
                      </a:lnTo>
                      <a:lnTo>
                        <a:pt x="450" y="2172"/>
                      </a:lnTo>
                      <a:lnTo>
                        <a:pt x="432" y="2184"/>
                      </a:lnTo>
                      <a:lnTo>
                        <a:pt x="420" y="2190"/>
                      </a:lnTo>
                      <a:lnTo>
                        <a:pt x="408" y="2190"/>
                      </a:lnTo>
                      <a:lnTo>
                        <a:pt x="396" y="2184"/>
                      </a:lnTo>
                      <a:lnTo>
                        <a:pt x="390" y="2184"/>
                      </a:lnTo>
                      <a:lnTo>
                        <a:pt x="384" y="2190"/>
                      </a:lnTo>
                      <a:lnTo>
                        <a:pt x="378" y="2190"/>
                      </a:lnTo>
                      <a:lnTo>
                        <a:pt x="366" y="2196"/>
                      </a:lnTo>
                      <a:lnTo>
                        <a:pt x="354" y="2208"/>
                      </a:lnTo>
                      <a:lnTo>
                        <a:pt x="336" y="2226"/>
                      </a:lnTo>
                      <a:lnTo>
                        <a:pt x="330" y="2262"/>
                      </a:lnTo>
                      <a:lnTo>
                        <a:pt x="330" y="2304"/>
                      </a:lnTo>
                      <a:lnTo>
                        <a:pt x="330" y="2316"/>
                      </a:lnTo>
                      <a:lnTo>
                        <a:pt x="318" y="2322"/>
                      </a:lnTo>
                      <a:lnTo>
                        <a:pt x="312" y="2328"/>
                      </a:lnTo>
                      <a:lnTo>
                        <a:pt x="300" y="2328"/>
                      </a:lnTo>
                      <a:lnTo>
                        <a:pt x="282" y="2328"/>
                      </a:lnTo>
                      <a:lnTo>
                        <a:pt x="270" y="2322"/>
                      </a:lnTo>
                      <a:lnTo>
                        <a:pt x="258" y="2322"/>
                      </a:lnTo>
                      <a:lnTo>
                        <a:pt x="246" y="2322"/>
                      </a:lnTo>
                      <a:lnTo>
                        <a:pt x="234" y="2322"/>
                      </a:lnTo>
                      <a:lnTo>
                        <a:pt x="216" y="2322"/>
                      </a:lnTo>
                      <a:lnTo>
                        <a:pt x="204" y="2316"/>
                      </a:lnTo>
                      <a:lnTo>
                        <a:pt x="198" y="2316"/>
                      </a:lnTo>
                      <a:lnTo>
                        <a:pt x="192" y="2304"/>
                      </a:lnTo>
                      <a:lnTo>
                        <a:pt x="198" y="2298"/>
                      </a:lnTo>
                      <a:lnTo>
                        <a:pt x="204" y="2286"/>
                      </a:lnTo>
                      <a:lnTo>
                        <a:pt x="204" y="2268"/>
                      </a:lnTo>
                      <a:lnTo>
                        <a:pt x="198" y="2250"/>
                      </a:lnTo>
                      <a:lnTo>
                        <a:pt x="192" y="2232"/>
                      </a:lnTo>
                      <a:lnTo>
                        <a:pt x="180" y="2226"/>
                      </a:lnTo>
                      <a:lnTo>
                        <a:pt x="174" y="2214"/>
                      </a:lnTo>
                      <a:lnTo>
                        <a:pt x="168" y="2202"/>
                      </a:lnTo>
                      <a:lnTo>
                        <a:pt x="168" y="2190"/>
                      </a:lnTo>
                      <a:lnTo>
                        <a:pt x="168" y="2184"/>
                      </a:lnTo>
                      <a:lnTo>
                        <a:pt x="168" y="2178"/>
                      </a:lnTo>
                      <a:lnTo>
                        <a:pt x="180" y="2172"/>
                      </a:lnTo>
                      <a:lnTo>
                        <a:pt x="198" y="2166"/>
                      </a:lnTo>
                      <a:lnTo>
                        <a:pt x="198" y="2160"/>
                      </a:lnTo>
                      <a:lnTo>
                        <a:pt x="198" y="2154"/>
                      </a:lnTo>
                      <a:lnTo>
                        <a:pt x="192" y="2148"/>
                      </a:lnTo>
                      <a:lnTo>
                        <a:pt x="180" y="2136"/>
                      </a:lnTo>
                      <a:lnTo>
                        <a:pt x="174" y="2124"/>
                      </a:lnTo>
                      <a:lnTo>
                        <a:pt x="156" y="2106"/>
                      </a:lnTo>
                      <a:lnTo>
                        <a:pt x="150" y="2082"/>
                      </a:lnTo>
                      <a:lnTo>
                        <a:pt x="144" y="2058"/>
                      </a:lnTo>
                      <a:lnTo>
                        <a:pt x="144" y="2046"/>
                      </a:lnTo>
                      <a:lnTo>
                        <a:pt x="144" y="2040"/>
                      </a:lnTo>
                      <a:lnTo>
                        <a:pt x="144" y="2034"/>
                      </a:lnTo>
                      <a:lnTo>
                        <a:pt x="138" y="2028"/>
                      </a:lnTo>
                      <a:lnTo>
                        <a:pt x="126" y="2022"/>
                      </a:lnTo>
                      <a:lnTo>
                        <a:pt x="114" y="2010"/>
                      </a:lnTo>
                      <a:lnTo>
                        <a:pt x="96" y="1992"/>
                      </a:lnTo>
                      <a:lnTo>
                        <a:pt x="84" y="1968"/>
                      </a:lnTo>
                      <a:lnTo>
                        <a:pt x="72" y="1938"/>
                      </a:lnTo>
                      <a:lnTo>
                        <a:pt x="42" y="1866"/>
                      </a:lnTo>
                      <a:lnTo>
                        <a:pt x="12" y="1806"/>
                      </a:lnTo>
                      <a:lnTo>
                        <a:pt x="6" y="1788"/>
                      </a:lnTo>
                      <a:lnTo>
                        <a:pt x="0" y="1776"/>
                      </a:lnTo>
                      <a:lnTo>
                        <a:pt x="0" y="1770"/>
                      </a:lnTo>
                      <a:lnTo>
                        <a:pt x="0" y="1764"/>
                      </a:lnTo>
                      <a:lnTo>
                        <a:pt x="12" y="1752"/>
                      </a:lnTo>
                      <a:lnTo>
                        <a:pt x="18" y="1746"/>
                      </a:lnTo>
                      <a:lnTo>
                        <a:pt x="24" y="1734"/>
                      </a:lnTo>
                      <a:lnTo>
                        <a:pt x="18" y="1740"/>
                      </a:lnTo>
                      <a:lnTo>
                        <a:pt x="60" y="1710"/>
                      </a:lnTo>
                      <a:lnTo>
                        <a:pt x="60" y="1632"/>
                      </a:lnTo>
                      <a:lnTo>
                        <a:pt x="108" y="1560"/>
                      </a:lnTo>
                      <a:lnTo>
                        <a:pt x="120" y="1494"/>
                      </a:lnTo>
                      <a:lnTo>
                        <a:pt x="90" y="1446"/>
                      </a:lnTo>
                      <a:lnTo>
                        <a:pt x="90" y="1392"/>
                      </a:lnTo>
                      <a:lnTo>
                        <a:pt x="138" y="1386"/>
                      </a:lnTo>
                      <a:lnTo>
                        <a:pt x="144" y="1356"/>
                      </a:lnTo>
                      <a:lnTo>
                        <a:pt x="108" y="1302"/>
                      </a:lnTo>
                      <a:lnTo>
                        <a:pt x="96" y="1164"/>
                      </a:lnTo>
                      <a:lnTo>
                        <a:pt x="84" y="990"/>
                      </a:lnTo>
                      <a:lnTo>
                        <a:pt x="108" y="918"/>
                      </a:lnTo>
                      <a:lnTo>
                        <a:pt x="150" y="918"/>
                      </a:lnTo>
                      <a:lnTo>
                        <a:pt x="234" y="894"/>
                      </a:lnTo>
                      <a:lnTo>
                        <a:pt x="258" y="798"/>
                      </a:lnTo>
                      <a:lnTo>
                        <a:pt x="246" y="732"/>
                      </a:lnTo>
                      <a:lnTo>
                        <a:pt x="264" y="678"/>
                      </a:lnTo>
                      <a:lnTo>
                        <a:pt x="270" y="588"/>
                      </a:lnTo>
                      <a:lnTo>
                        <a:pt x="318" y="486"/>
                      </a:lnTo>
                      <a:lnTo>
                        <a:pt x="318" y="414"/>
                      </a:lnTo>
                      <a:lnTo>
                        <a:pt x="378" y="318"/>
                      </a:lnTo>
                      <a:lnTo>
                        <a:pt x="408" y="216"/>
                      </a:lnTo>
                      <a:lnTo>
                        <a:pt x="498" y="186"/>
                      </a:lnTo>
                      <a:lnTo>
                        <a:pt x="486" y="120"/>
                      </a:lnTo>
                      <a:lnTo>
                        <a:pt x="594" y="114"/>
                      </a:lnTo>
                      <a:lnTo>
                        <a:pt x="684" y="138"/>
                      </a:lnTo>
                      <a:lnTo>
                        <a:pt x="678" y="84"/>
                      </a:lnTo>
                      <a:lnTo>
                        <a:pt x="672" y="6"/>
                      </a:lnTo>
                      <a:lnTo>
                        <a:pt x="70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0" name="Freeform 10">
                  <a:extLst>
                    <a:ext uri="{FF2B5EF4-FFF2-40B4-BE49-F238E27FC236}">
                      <a16:creationId xmlns:a16="http://schemas.microsoft.com/office/drawing/2014/main" id="{786D605F-2003-4A50-934E-91894551690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955" y="-5916"/>
                  <a:ext cx="1110" cy="1740"/>
                </a:xfrm>
                <a:custGeom>
                  <a:avLst/>
                  <a:gdLst>
                    <a:gd name="T0" fmla="*/ 870 w 1110"/>
                    <a:gd name="T1" fmla="*/ 1578 h 1740"/>
                    <a:gd name="T2" fmla="*/ 612 w 1110"/>
                    <a:gd name="T3" fmla="*/ 6 h 1740"/>
                    <a:gd name="T4" fmla="*/ 690 w 1110"/>
                    <a:gd name="T5" fmla="*/ 180 h 1740"/>
                    <a:gd name="T6" fmla="*/ 828 w 1110"/>
                    <a:gd name="T7" fmla="*/ 396 h 1740"/>
                    <a:gd name="T8" fmla="*/ 804 w 1110"/>
                    <a:gd name="T9" fmla="*/ 558 h 1740"/>
                    <a:gd name="T10" fmla="*/ 870 w 1110"/>
                    <a:gd name="T11" fmla="*/ 864 h 1740"/>
                    <a:gd name="T12" fmla="*/ 984 w 1110"/>
                    <a:gd name="T13" fmla="*/ 1110 h 1740"/>
                    <a:gd name="T14" fmla="*/ 1086 w 1110"/>
                    <a:gd name="T15" fmla="*/ 1272 h 1740"/>
                    <a:gd name="T16" fmla="*/ 954 w 1110"/>
                    <a:gd name="T17" fmla="*/ 1482 h 1740"/>
                    <a:gd name="T18" fmla="*/ 828 w 1110"/>
                    <a:gd name="T19" fmla="*/ 1584 h 1740"/>
                    <a:gd name="T20" fmla="*/ 744 w 1110"/>
                    <a:gd name="T21" fmla="*/ 1626 h 1740"/>
                    <a:gd name="T22" fmla="*/ 636 w 1110"/>
                    <a:gd name="T23" fmla="*/ 1638 h 1740"/>
                    <a:gd name="T24" fmla="*/ 516 w 1110"/>
                    <a:gd name="T25" fmla="*/ 1704 h 1740"/>
                    <a:gd name="T26" fmla="*/ 432 w 1110"/>
                    <a:gd name="T27" fmla="*/ 1740 h 1740"/>
                    <a:gd name="T28" fmla="*/ 396 w 1110"/>
                    <a:gd name="T29" fmla="*/ 1728 h 1740"/>
                    <a:gd name="T30" fmla="*/ 372 w 1110"/>
                    <a:gd name="T31" fmla="*/ 1704 h 1740"/>
                    <a:gd name="T32" fmla="*/ 324 w 1110"/>
                    <a:gd name="T33" fmla="*/ 1704 h 1740"/>
                    <a:gd name="T34" fmla="*/ 270 w 1110"/>
                    <a:gd name="T35" fmla="*/ 1668 h 1740"/>
                    <a:gd name="T36" fmla="*/ 210 w 1110"/>
                    <a:gd name="T37" fmla="*/ 1578 h 1740"/>
                    <a:gd name="T38" fmla="*/ 210 w 1110"/>
                    <a:gd name="T39" fmla="*/ 1428 h 1740"/>
                    <a:gd name="T40" fmla="*/ 180 w 1110"/>
                    <a:gd name="T41" fmla="*/ 1266 h 1740"/>
                    <a:gd name="T42" fmla="*/ 210 w 1110"/>
                    <a:gd name="T43" fmla="*/ 1182 h 1740"/>
                    <a:gd name="T44" fmla="*/ 246 w 1110"/>
                    <a:gd name="T45" fmla="*/ 1158 h 1740"/>
                    <a:gd name="T46" fmla="*/ 276 w 1110"/>
                    <a:gd name="T47" fmla="*/ 1116 h 1740"/>
                    <a:gd name="T48" fmla="*/ 324 w 1110"/>
                    <a:gd name="T49" fmla="*/ 1074 h 1740"/>
                    <a:gd name="T50" fmla="*/ 354 w 1110"/>
                    <a:gd name="T51" fmla="*/ 1044 h 1740"/>
                    <a:gd name="T52" fmla="*/ 366 w 1110"/>
                    <a:gd name="T53" fmla="*/ 1014 h 1740"/>
                    <a:gd name="T54" fmla="*/ 384 w 1110"/>
                    <a:gd name="T55" fmla="*/ 978 h 1740"/>
                    <a:gd name="T56" fmla="*/ 414 w 1110"/>
                    <a:gd name="T57" fmla="*/ 960 h 1740"/>
                    <a:gd name="T58" fmla="*/ 426 w 1110"/>
                    <a:gd name="T59" fmla="*/ 924 h 1740"/>
                    <a:gd name="T60" fmla="*/ 444 w 1110"/>
                    <a:gd name="T61" fmla="*/ 912 h 1740"/>
                    <a:gd name="T62" fmla="*/ 468 w 1110"/>
                    <a:gd name="T63" fmla="*/ 912 h 1740"/>
                    <a:gd name="T64" fmla="*/ 480 w 1110"/>
                    <a:gd name="T65" fmla="*/ 870 h 1740"/>
                    <a:gd name="T66" fmla="*/ 450 w 1110"/>
                    <a:gd name="T67" fmla="*/ 816 h 1740"/>
                    <a:gd name="T68" fmla="*/ 444 w 1110"/>
                    <a:gd name="T69" fmla="*/ 774 h 1740"/>
                    <a:gd name="T70" fmla="*/ 444 w 1110"/>
                    <a:gd name="T71" fmla="*/ 726 h 1740"/>
                    <a:gd name="T72" fmla="*/ 426 w 1110"/>
                    <a:gd name="T73" fmla="*/ 726 h 1740"/>
                    <a:gd name="T74" fmla="*/ 396 w 1110"/>
                    <a:gd name="T75" fmla="*/ 756 h 1740"/>
                    <a:gd name="T76" fmla="*/ 378 w 1110"/>
                    <a:gd name="T77" fmla="*/ 762 h 1740"/>
                    <a:gd name="T78" fmla="*/ 354 w 1110"/>
                    <a:gd name="T79" fmla="*/ 744 h 1740"/>
                    <a:gd name="T80" fmla="*/ 342 w 1110"/>
                    <a:gd name="T81" fmla="*/ 600 h 1740"/>
                    <a:gd name="T82" fmla="*/ 324 w 1110"/>
                    <a:gd name="T83" fmla="*/ 504 h 1740"/>
                    <a:gd name="T84" fmla="*/ 306 w 1110"/>
                    <a:gd name="T85" fmla="*/ 450 h 1740"/>
                    <a:gd name="T86" fmla="*/ 276 w 1110"/>
                    <a:gd name="T87" fmla="*/ 384 h 1740"/>
                    <a:gd name="T88" fmla="*/ 90 w 1110"/>
                    <a:gd name="T89" fmla="*/ 264 h 1740"/>
                    <a:gd name="T90" fmla="*/ 138 w 1110"/>
                    <a:gd name="T91" fmla="*/ 192 h 1740"/>
                    <a:gd name="T92" fmla="*/ 384 w 1110"/>
                    <a:gd name="T93" fmla="*/ 246 h 1740"/>
                    <a:gd name="T94" fmla="*/ 546 w 1110"/>
                    <a:gd name="T95" fmla="*/ 0 h 17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110" h="1740">
                      <a:moveTo>
                        <a:pt x="870" y="1578"/>
                      </a:moveTo>
                      <a:lnTo>
                        <a:pt x="876" y="1578"/>
                      </a:lnTo>
                      <a:lnTo>
                        <a:pt x="870" y="1578"/>
                      </a:lnTo>
                      <a:lnTo>
                        <a:pt x="870" y="1578"/>
                      </a:lnTo>
                      <a:close/>
                      <a:moveTo>
                        <a:pt x="546" y="0"/>
                      </a:moveTo>
                      <a:lnTo>
                        <a:pt x="612" y="6"/>
                      </a:lnTo>
                      <a:lnTo>
                        <a:pt x="666" y="78"/>
                      </a:lnTo>
                      <a:lnTo>
                        <a:pt x="690" y="90"/>
                      </a:lnTo>
                      <a:lnTo>
                        <a:pt x="690" y="180"/>
                      </a:lnTo>
                      <a:lnTo>
                        <a:pt x="726" y="204"/>
                      </a:lnTo>
                      <a:lnTo>
                        <a:pt x="738" y="318"/>
                      </a:lnTo>
                      <a:lnTo>
                        <a:pt x="828" y="396"/>
                      </a:lnTo>
                      <a:lnTo>
                        <a:pt x="834" y="474"/>
                      </a:lnTo>
                      <a:lnTo>
                        <a:pt x="780" y="516"/>
                      </a:lnTo>
                      <a:lnTo>
                        <a:pt x="804" y="558"/>
                      </a:lnTo>
                      <a:lnTo>
                        <a:pt x="798" y="636"/>
                      </a:lnTo>
                      <a:lnTo>
                        <a:pt x="858" y="678"/>
                      </a:lnTo>
                      <a:lnTo>
                        <a:pt x="870" y="864"/>
                      </a:lnTo>
                      <a:lnTo>
                        <a:pt x="924" y="942"/>
                      </a:lnTo>
                      <a:lnTo>
                        <a:pt x="984" y="1050"/>
                      </a:lnTo>
                      <a:lnTo>
                        <a:pt x="984" y="1110"/>
                      </a:lnTo>
                      <a:lnTo>
                        <a:pt x="1074" y="1152"/>
                      </a:lnTo>
                      <a:lnTo>
                        <a:pt x="1110" y="1188"/>
                      </a:lnTo>
                      <a:lnTo>
                        <a:pt x="1086" y="1272"/>
                      </a:lnTo>
                      <a:lnTo>
                        <a:pt x="1038" y="1368"/>
                      </a:lnTo>
                      <a:lnTo>
                        <a:pt x="1008" y="1392"/>
                      </a:lnTo>
                      <a:lnTo>
                        <a:pt x="954" y="1482"/>
                      </a:lnTo>
                      <a:lnTo>
                        <a:pt x="870" y="1578"/>
                      </a:lnTo>
                      <a:lnTo>
                        <a:pt x="858" y="1572"/>
                      </a:lnTo>
                      <a:lnTo>
                        <a:pt x="828" y="1584"/>
                      </a:lnTo>
                      <a:lnTo>
                        <a:pt x="792" y="1596"/>
                      </a:lnTo>
                      <a:lnTo>
                        <a:pt x="762" y="1614"/>
                      </a:lnTo>
                      <a:lnTo>
                        <a:pt x="744" y="1626"/>
                      </a:lnTo>
                      <a:lnTo>
                        <a:pt x="714" y="1638"/>
                      </a:lnTo>
                      <a:lnTo>
                        <a:pt x="684" y="1644"/>
                      </a:lnTo>
                      <a:lnTo>
                        <a:pt x="636" y="1638"/>
                      </a:lnTo>
                      <a:lnTo>
                        <a:pt x="594" y="1644"/>
                      </a:lnTo>
                      <a:lnTo>
                        <a:pt x="552" y="1668"/>
                      </a:lnTo>
                      <a:lnTo>
                        <a:pt x="516" y="1704"/>
                      </a:lnTo>
                      <a:lnTo>
                        <a:pt x="480" y="1728"/>
                      </a:lnTo>
                      <a:lnTo>
                        <a:pt x="456" y="1734"/>
                      </a:lnTo>
                      <a:lnTo>
                        <a:pt x="432" y="1740"/>
                      </a:lnTo>
                      <a:lnTo>
                        <a:pt x="420" y="1740"/>
                      </a:lnTo>
                      <a:lnTo>
                        <a:pt x="402" y="1734"/>
                      </a:lnTo>
                      <a:lnTo>
                        <a:pt x="396" y="1728"/>
                      </a:lnTo>
                      <a:lnTo>
                        <a:pt x="390" y="1716"/>
                      </a:lnTo>
                      <a:lnTo>
                        <a:pt x="378" y="1710"/>
                      </a:lnTo>
                      <a:lnTo>
                        <a:pt x="372" y="1704"/>
                      </a:lnTo>
                      <a:lnTo>
                        <a:pt x="354" y="1698"/>
                      </a:lnTo>
                      <a:lnTo>
                        <a:pt x="342" y="1704"/>
                      </a:lnTo>
                      <a:lnTo>
                        <a:pt x="324" y="1704"/>
                      </a:lnTo>
                      <a:lnTo>
                        <a:pt x="306" y="1698"/>
                      </a:lnTo>
                      <a:lnTo>
                        <a:pt x="288" y="1680"/>
                      </a:lnTo>
                      <a:lnTo>
                        <a:pt x="270" y="1668"/>
                      </a:lnTo>
                      <a:lnTo>
                        <a:pt x="252" y="1650"/>
                      </a:lnTo>
                      <a:lnTo>
                        <a:pt x="228" y="1620"/>
                      </a:lnTo>
                      <a:lnTo>
                        <a:pt x="210" y="1578"/>
                      </a:lnTo>
                      <a:lnTo>
                        <a:pt x="204" y="1536"/>
                      </a:lnTo>
                      <a:lnTo>
                        <a:pt x="210" y="1482"/>
                      </a:lnTo>
                      <a:lnTo>
                        <a:pt x="210" y="1428"/>
                      </a:lnTo>
                      <a:lnTo>
                        <a:pt x="192" y="1368"/>
                      </a:lnTo>
                      <a:lnTo>
                        <a:pt x="180" y="1314"/>
                      </a:lnTo>
                      <a:lnTo>
                        <a:pt x="180" y="1266"/>
                      </a:lnTo>
                      <a:lnTo>
                        <a:pt x="192" y="1212"/>
                      </a:lnTo>
                      <a:lnTo>
                        <a:pt x="198" y="1194"/>
                      </a:lnTo>
                      <a:lnTo>
                        <a:pt x="210" y="1182"/>
                      </a:lnTo>
                      <a:lnTo>
                        <a:pt x="222" y="1170"/>
                      </a:lnTo>
                      <a:lnTo>
                        <a:pt x="234" y="1164"/>
                      </a:lnTo>
                      <a:lnTo>
                        <a:pt x="246" y="1158"/>
                      </a:lnTo>
                      <a:lnTo>
                        <a:pt x="258" y="1152"/>
                      </a:lnTo>
                      <a:lnTo>
                        <a:pt x="264" y="1140"/>
                      </a:lnTo>
                      <a:lnTo>
                        <a:pt x="276" y="1116"/>
                      </a:lnTo>
                      <a:lnTo>
                        <a:pt x="288" y="1104"/>
                      </a:lnTo>
                      <a:lnTo>
                        <a:pt x="306" y="1092"/>
                      </a:lnTo>
                      <a:lnTo>
                        <a:pt x="324" y="1074"/>
                      </a:lnTo>
                      <a:lnTo>
                        <a:pt x="342" y="1062"/>
                      </a:lnTo>
                      <a:lnTo>
                        <a:pt x="348" y="1050"/>
                      </a:lnTo>
                      <a:lnTo>
                        <a:pt x="354" y="1044"/>
                      </a:lnTo>
                      <a:lnTo>
                        <a:pt x="360" y="1032"/>
                      </a:lnTo>
                      <a:lnTo>
                        <a:pt x="360" y="1026"/>
                      </a:lnTo>
                      <a:lnTo>
                        <a:pt x="366" y="1014"/>
                      </a:lnTo>
                      <a:lnTo>
                        <a:pt x="372" y="1002"/>
                      </a:lnTo>
                      <a:lnTo>
                        <a:pt x="378" y="990"/>
                      </a:lnTo>
                      <a:lnTo>
                        <a:pt x="384" y="978"/>
                      </a:lnTo>
                      <a:lnTo>
                        <a:pt x="396" y="972"/>
                      </a:lnTo>
                      <a:lnTo>
                        <a:pt x="408" y="966"/>
                      </a:lnTo>
                      <a:lnTo>
                        <a:pt x="414" y="960"/>
                      </a:lnTo>
                      <a:lnTo>
                        <a:pt x="426" y="948"/>
                      </a:lnTo>
                      <a:lnTo>
                        <a:pt x="426" y="936"/>
                      </a:lnTo>
                      <a:lnTo>
                        <a:pt x="426" y="924"/>
                      </a:lnTo>
                      <a:lnTo>
                        <a:pt x="432" y="918"/>
                      </a:lnTo>
                      <a:lnTo>
                        <a:pt x="438" y="912"/>
                      </a:lnTo>
                      <a:lnTo>
                        <a:pt x="444" y="912"/>
                      </a:lnTo>
                      <a:lnTo>
                        <a:pt x="450" y="912"/>
                      </a:lnTo>
                      <a:lnTo>
                        <a:pt x="462" y="912"/>
                      </a:lnTo>
                      <a:lnTo>
                        <a:pt x="468" y="912"/>
                      </a:lnTo>
                      <a:lnTo>
                        <a:pt x="474" y="900"/>
                      </a:lnTo>
                      <a:lnTo>
                        <a:pt x="480" y="888"/>
                      </a:lnTo>
                      <a:lnTo>
                        <a:pt x="480" y="870"/>
                      </a:lnTo>
                      <a:lnTo>
                        <a:pt x="474" y="852"/>
                      </a:lnTo>
                      <a:lnTo>
                        <a:pt x="462" y="834"/>
                      </a:lnTo>
                      <a:lnTo>
                        <a:pt x="450" y="816"/>
                      </a:lnTo>
                      <a:lnTo>
                        <a:pt x="444" y="804"/>
                      </a:lnTo>
                      <a:lnTo>
                        <a:pt x="438" y="786"/>
                      </a:lnTo>
                      <a:lnTo>
                        <a:pt x="444" y="774"/>
                      </a:lnTo>
                      <a:lnTo>
                        <a:pt x="444" y="756"/>
                      </a:lnTo>
                      <a:lnTo>
                        <a:pt x="450" y="738"/>
                      </a:lnTo>
                      <a:lnTo>
                        <a:pt x="444" y="726"/>
                      </a:lnTo>
                      <a:lnTo>
                        <a:pt x="444" y="720"/>
                      </a:lnTo>
                      <a:lnTo>
                        <a:pt x="438" y="720"/>
                      </a:lnTo>
                      <a:lnTo>
                        <a:pt x="426" y="726"/>
                      </a:lnTo>
                      <a:lnTo>
                        <a:pt x="420" y="738"/>
                      </a:lnTo>
                      <a:lnTo>
                        <a:pt x="408" y="750"/>
                      </a:lnTo>
                      <a:lnTo>
                        <a:pt x="396" y="756"/>
                      </a:lnTo>
                      <a:lnTo>
                        <a:pt x="390" y="762"/>
                      </a:lnTo>
                      <a:lnTo>
                        <a:pt x="384" y="762"/>
                      </a:lnTo>
                      <a:lnTo>
                        <a:pt x="378" y="762"/>
                      </a:lnTo>
                      <a:lnTo>
                        <a:pt x="372" y="756"/>
                      </a:lnTo>
                      <a:lnTo>
                        <a:pt x="366" y="750"/>
                      </a:lnTo>
                      <a:lnTo>
                        <a:pt x="354" y="744"/>
                      </a:lnTo>
                      <a:lnTo>
                        <a:pt x="348" y="744"/>
                      </a:lnTo>
                      <a:lnTo>
                        <a:pt x="348" y="618"/>
                      </a:lnTo>
                      <a:lnTo>
                        <a:pt x="342" y="600"/>
                      </a:lnTo>
                      <a:lnTo>
                        <a:pt x="336" y="570"/>
                      </a:lnTo>
                      <a:lnTo>
                        <a:pt x="330" y="534"/>
                      </a:lnTo>
                      <a:lnTo>
                        <a:pt x="324" y="504"/>
                      </a:lnTo>
                      <a:lnTo>
                        <a:pt x="318" y="492"/>
                      </a:lnTo>
                      <a:lnTo>
                        <a:pt x="318" y="480"/>
                      </a:lnTo>
                      <a:lnTo>
                        <a:pt x="306" y="450"/>
                      </a:lnTo>
                      <a:lnTo>
                        <a:pt x="294" y="420"/>
                      </a:lnTo>
                      <a:lnTo>
                        <a:pt x="282" y="396"/>
                      </a:lnTo>
                      <a:lnTo>
                        <a:pt x="276" y="384"/>
                      </a:lnTo>
                      <a:lnTo>
                        <a:pt x="204" y="324"/>
                      </a:lnTo>
                      <a:lnTo>
                        <a:pt x="132" y="336"/>
                      </a:lnTo>
                      <a:lnTo>
                        <a:pt x="90" y="264"/>
                      </a:lnTo>
                      <a:lnTo>
                        <a:pt x="0" y="198"/>
                      </a:lnTo>
                      <a:lnTo>
                        <a:pt x="36" y="156"/>
                      </a:lnTo>
                      <a:lnTo>
                        <a:pt x="138" y="192"/>
                      </a:lnTo>
                      <a:lnTo>
                        <a:pt x="222" y="252"/>
                      </a:lnTo>
                      <a:lnTo>
                        <a:pt x="306" y="222"/>
                      </a:lnTo>
                      <a:lnTo>
                        <a:pt x="384" y="246"/>
                      </a:lnTo>
                      <a:lnTo>
                        <a:pt x="432" y="216"/>
                      </a:lnTo>
                      <a:lnTo>
                        <a:pt x="432" y="54"/>
                      </a:lnTo>
                      <a:lnTo>
                        <a:pt x="54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1" name="Freeform 11">
                  <a:extLst>
                    <a:ext uri="{FF2B5EF4-FFF2-40B4-BE49-F238E27FC236}">
                      <a16:creationId xmlns:a16="http://schemas.microsoft.com/office/drawing/2014/main" id="{7BEED1BE-5305-425E-A5A9-C563107667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3" y="-4152"/>
                  <a:ext cx="438" cy="366"/>
                </a:xfrm>
                <a:custGeom>
                  <a:avLst/>
                  <a:gdLst>
                    <a:gd name="T0" fmla="*/ 438 w 438"/>
                    <a:gd name="T1" fmla="*/ 0 h 366"/>
                    <a:gd name="T2" fmla="*/ 438 w 438"/>
                    <a:gd name="T3" fmla="*/ 48 h 366"/>
                    <a:gd name="T4" fmla="*/ 414 w 438"/>
                    <a:gd name="T5" fmla="*/ 84 h 366"/>
                    <a:gd name="T6" fmla="*/ 414 w 438"/>
                    <a:gd name="T7" fmla="*/ 204 h 366"/>
                    <a:gd name="T8" fmla="*/ 438 w 438"/>
                    <a:gd name="T9" fmla="*/ 294 h 366"/>
                    <a:gd name="T10" fmla="*/ 414 w 438"/>
                    <a:gd name="T11" fmla="*/ 360 h 366"/>
                    <a:gd name="T12" fmla="*/ 420 w 438"/>
                    <a:gd name="T13" fmla="*/ 360 h 366"/>
                    <a:gd name="T14" fmla="*/ 366 w 438"/>
                    <a:gd name="T15" fmla="*/ 366 h 366"/>
                    <a:gd name="T16" fmla="*/ 312 w 438"/>
                    <a:gd name="T17" fmla="*/ 342 h 366"/>
                    <a:gd name="T18" fmla="*/ 264 w 438"/>
                    <a:gd name="T19" fmla="*/ 288 h 366"/>
                    <a:gd name="T20" fmla="*/ 198 w 438"/>
                    <a:gd name="T21" fmla="*/ 282 h 366"/>
                    <a:gd name="T22" fmla="*/ 126 w 438"/>
                    <a:gd name="T23" fmla="*/ 300 h 366"/>
                    <a:gd name="T24" fmla="*/ 126 w 438"/>
                    <a:gd name="T25" fmla="*/ 282 h 366"/>
                    <a:gd name="T26" fmla="*/ 126 w 438"/>
                    <a:gd name="T27" fmla="*/ 264 h 366"/>
                    <a:gd name="T28" fmla="*/ 126 w 438"/>
                    <a:gd name="T29" fmla="*/ 246 h 366"/>
                    <a:gd name="T30" fmla="*/ 120 w 438"/>
                    <a:gd name="T31" fmla="*/ 234 h 366"/>
                    <a:gd name="T32" fmla="*/ 120 w 438"/>
                    <a:gd name="T33" fmla="*/ 222 h 366"/>
                    <a:gd name="T34" fmla="*/ 114 w 438"/>
                    <a:gd name="T35" fmla="*/ 216 h 366"/>
                    <a:gd name="T36" fmla="*/ 108 w 438"/>
                    <a:gd name="T37" fmla="*/ 210 h 366"/>
                    <a:gd name="T38" fmla="*/ 96 w 438"/>
                    <a:gd name="T39" fmla="*/ 222 h 366"/>
                    <a:gd name="T40" fmla="*/ 84 w 438"/>
                    <a:gd name="T41" fmla="*/ 234 h 366"/>
                    <a:gd name="T42" fmla="*/ 72 w 438"/>
                    <a:gd name="T43" fmla="*/ 240 h 366"/>
                    <a:gd name="T44" fmla="*/ 60 w 438"/>
                    <a:gd name="T45" fmla="*/ 246 h 366"/>
                    <a:gd name="T46" fmla="*/ 48 w 438"/>
                    <a:gd name="T47" fmla="*/ 246 h 366"/>
                    <a:gd name="T48" fmla="*/ 42 w 438"/>
                    <a:gd name="T49" fmla="*/ 240 h 366"/>
                    <a:gd name="T50" fmla="*/ 36 w 438"/>
                    <a:gd name="T51" fmla="*/ 234 h 366"/>
                    <a:gd name="T52" fmla="*/ 36 w 438"/>
                    <a:gd name="T53" fmla="*/ 222 h 366"/>
                    <a:gd name="T54" fmla="*/ 36 w 438"/>
                    <a:gd name="T55" fmla="*/ 204 h 366"/>
                    <a:gd name="T56" fmla="*/ 36 w 438"/>
                    <a:gd name="T57" fmla="*/ 192 h 366"/>
                    <a:gd name="T58" fmla="*/ 30 w 438"/>
                    <a:gd name="T59" fmla="*/ 180 h 366"/>
                    <a:gd name="T60" fmla="*/ 24 w 438"/>
                    <a:gd name="T61" fmla="*/ 174 h 366"/>
                    <a:gd name="T62" fmla="*/ 12 w 438"/>
                    <a:gd name="T63" fmla="*/ 168 h 366"/>
                    <a:gd name="T64" fmla="*/ 6 w 438"/>
                    <a:gd name="T65" fmla="*/ 162 h 366"/>
                    <a:gd name="T66" fmla="*/ 0 w 438"/>
                    <a:gd name="T67" fmla="*/ 156 h 366"/>
                    <a:gd name="T68" fmla="*/ 0 w 438"/>
                    <a:gd name="T69" fmla="*/ 144 h 366"/>
                    <a:gd name="T70" fmla="*/ 6 w 438"/>
                    <a:gd name="T71" fmla="*/ 132 h 366"/>
                    <a:gd name="T72" fmla="*/ 12 w 438"/>
                    <a:gd name="T73" fmla="*/ 120 h 366"/>
                    <a:gd name="T74" fmla="*/ 18 w 438"/>
                    <a:gd name="T75" fmla="*/ 108 h 366"/>
                    <a:gd name="T76" fmla="*/ 24 w 438"/>
                    <a:gd name="T77" fmla="*/ 102 h 366"/>
                    <a:gd name="T78" fmla="*/ 48 w 438"/>
                    <a:gd name="T79" fmla="*/ 90 h 366"/>
                    <a:gd name="T80" fmla="*/ 90 w 438"/>
                    <a:gd name="T81" fmla="*/ 72 h 366"/>
                    <a:gd name="T82" fmla="*/ 138 w 438"/>
                    <a:gd name="T83" fmla="*/ 48 h 366"/>
                    <a:gd name="T84" fmla="*/ 180 w 438"/>
                    <a:gd name="T85" fmla="*/ 36 h 366"/>
                    <a:gd name="T86" fmla="*/ 210 w 438"/>
                    <a:gd name="T87" fmla="*/ 24 h 366"/>
                    <a:gd name="T88" fmla="*/ 252 w 438"/>
                    <a:gd name="T89" fmla="*/ 24 h 366"/>
                    <a:gd name="T90" fmla="*/ 276 w 438"/>
                    <a:gd name="T91" fmla="*/ 30 h 366"/>
                    <a:gd name="T92" fmla="*/ 306 w 438"/>
                    <a:gd name="T93" fmla="*/ 42 h 366"/>
                    <a:gd name="T94" fmla="*/ 324 w 438"/>
                    <a:gd name="T95" fmla="*/ 48 h 366"/>
                    <a:gd name="T96" fmla="*/ 336 w 438"/>
                    <a:gd name="T97" fmla="*/ 48 h 366"/>
                    <a:gd name="T98" fmla="*/ 354 w 438"/>
                    <a:gd name="T99" fmla="*/ 48 h 366"/>
                    <a:gd name="T100" fmla="*/ 366 w 438"/>
                    <a:gd name="T101" fmla="*/ 42 h 366"/>
                    <a:gd name="T102" fmla="*/ 384 w 438"/>
                    <a:gd name="T103" fmla="*/ 36 h 366"/>
                    <a:gd name="T104" fmla="*/ 402 w 438"/>
                    <a:gd name="T105" fmla="*/ 30 h 366"/>
                    <a:gd name="T106" fmla="*/ 420 w 438"/>
                    <a:gd name="T107" fmla="*/ 18 h 366"/>
                    <a:gd name="T108" fmla="*/ 438 w 438"/>
                    <a:gd name="T109" fmla="*/ 6 h 366"/>
                    <a:gd name="T110" fmla="*/ 438 w 438"/>
                    <a:gd name="T111" fmla="*/ 0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38" h="366">
                      <a:moveTo>
                        <a:pt x="438" y="0"/>
                      </a:moveTo>
                      <a:lnTo>
                        <a:pt x="438" y="48"/>
                      </a:lnTo>
                      <a:lnTo>
                        <a:pt x="414" y="84"/>
                      </a:lnTo>
                      <a:lnTo>
                        <a:pt x="414" y="204"/>
                      </a:lnTo>
                      <a:lnTo>
                        <a:pt x="438" y="294"/>
                      </a:lnTo>
                      <a:lnTo>
                        <a:pt x="414" y="360"/>
                      </a:lnTo>
                      <a:lnTo>
                        <a:pt x="420" y="360"/>
                      </a:lnTo>
                      <a:lnTo>
                        <a:pt x="366" y="366"/>
                      </a:lnTo>
                      <a:lnTo>
                        <a:pt x="312" y="342"/>
                      </a:lnTo>
                      <a:lnTo>
                        <a:pt x="264" y="288"/>
                      </a:lnTo>
                      <a:lnTo>
                        <a:pt x="198" y="282"/>
                      </a:lnTo>
                      <a:lnTo>
                        <a:pt x="126" y="300"/>
                      </a:lnTo>
                      <a:lnTo>
                        <a:pt x="126" y="282"/>
                      </a:lnTo>
                      <a:lnTo>
                        <a:pt x="126" y="264"/>
                      </a:lnTo>
                      <a:lnTo>
                        <a:pt x="126" y="246"/>
                      </a:lnTo>
                      <a:lnTo>
                        <a:pt x="120" y="234"/>
                      </a:lnTo>
                      <a:lnTo>
                        <a:pt x="120" y="222"/>
                      </a:lnTo>
                      <a:lnTo>
                        <a:pt x="114" y="216"/>
                      </a:lnTo>
                      <a:lnTo>
                        <a:pt x="108" y="210"/>
                      </a:lnTo>
                      <a:lnTo>
                        <a:pt x="96" y="222"/>
                      </a:lnTo>
                      <a:lnTo>
                        <a:pt x="84" y="234"/>
                      </a:lnTo>
                      <a:lnTo>
                        <a:pt x="72" y="240"/>
                      </a:lnTo>
                      <a:lnTo>
                        <a:pt x="60" y="246"/>
                      </a:lnTo>
                      <a:lnTo>
                        <a:pt x="48" y="246"/>
                      </a:lnTo>
                      <a:lnTo>
                        <a:pt x="42" y="240"/>
                      </a:lnTo>
                      <a:lnTo>
                        <a:pt x="36" y="234"/>
                      </a:lnTo>
                      <a:lnTo>
                        <a:pt x="36" y="222"/>
                      </a:lnTo>
                      <a:lnTo>
                        <a:pt x="36" y="204"/>
                      </a:lnTo>
                      <a:lnTo>
                        <a:pt x="36" y="192"/>
                      </a:lnTo>
                      <a:lnTo>
                        <a:pt x="30" y="180"/>
                      </a:lnTo>
                      <a:lnTo>
                        <a:pt x="24" y="174"/>
                      </a:lnTo>
                      <a:lnTo>
                        <a:pt x="12" y="168"/>
                      </a:lnTo>
                      <a:lnTo>
                        <a:pt x="6" y="162"/>
                      </a:lnTo>
                      <a:lnTo>
                        <a:pt x="0" y="156"/>
                      </a:lnTo>
                      <a:lnTo>
                        <a:pt x="0" y="144"/>
                      </a:lnTo>
                      <a:lnTo>
                        <a:pt x="6" y="132"/>
                      </a:lnTo>
                      <a:lnTo>
                        <a:pt x="12" y="120"/>
                      </a:lnTo>
                      <a:lnTo>
                        <a:pt x="18" y="108"/>
                      </a:lnTo>
                      <a:lnTo>
                        <a:pt x="24" y="102"/>
                      </a:lnTo>
                      <a:lnTo>
                        <a:pt x="48" y="90"/>
                      </a:lnTo>
                      <a:lnTo>
                        <a:pt x="90" y="72"/>
                      </a:lnTo>
                      <a:lnTo>
                        <a:pt x="138" y="48"/>
                      </a:lnTo>
                      <a:lnTo>
                        <a:pt x="180" y="36"/>
                      </a:lnTo>
                      <a:lnTo>
                        <a:pt x="210" y="24"/>
                      </a:lnTo>
                      <a:lnTo>
                        <a:pt x="252" y="24"/>
                      </a:lnTo>
                      <a:lnTo>
                        <a:pt x="276" y="30"/>
                      </a:lnTo>
                      <a:lnTo>
                        <a:pt x="306" y="42"/>
                      </a:lnTo>
                      <a:lnTo>
                        <a:pt x="324" y="48"/>
                      </a:lnTo>
                      <a:lnTo>
                        <a:pt x="336" y="48"/>
                      </a:lnTo>
                      <a:lnTo>
                        <a:pt x="354" y="48"/>
                      </a:lnTo>
                      <a:lnTo>
                        <a:pt x="366" y="42"/>
                      </a:lnTo>
                      <a:lnTo>
                        <a:pt x="384" y="36"/>
                      </a:lnTo>
                      <a:lnTo>
                        <a:pt x="402" y="30"/>
                      </a:lnTo>
                      <a:lnTo>
                        <a:pt x="420" y="18"/>
                      </a:lnTo>
                      <a:lnTo>
                        <a:pt x="438" y="6"/>
                      </a:lnTo>
                      <a:lnTo>
                        <a:pt x="43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2" name="Freeform 12">
                  <a:extLst>
                    <a:ext uri="{FF2B5EF4-FFF2-40B4-BE49-F238E27FC236}">
                      <a16:creationId xmlns:a16="http://schemas.microsoft.com/office/drawing/2014/main" id="{6638C39A-CC79-44EE-B086-95062C68F8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59" y="-3870"/>
                  <a:ext cx="726" cy="378"/>
                </a:xfrm>
                <a:custGeom>
                  <a:avLst/>
                  <a:gdLst>
                    <a:gd name="T0" fmla="*/ 726 w 726"/>
                    <a:gd name="T1" fmla="*/ 258 h 378"/>
                    <a:gd name="T2" fmla="*/ 726 w 726"/>
                    <a:gd name="T3" fmla="*/ 258 h 378"/>
                    <a:gd name="T4" fmla="*/ 624 w 726"/>
                    <a:gd name="T5" fmla="*/ 78 h 378"/>
                    <a:gd name="T6" fmla="*/ 618 w 726"/>
                    <a:gd name="T7" fmla="*/ 78 h 378"/>
                    <a:gd name="T8" fmla="*/ 468 w 726"/>
                    <a:gd name="T9" fmla="*/ 6 h 378"/>
                    <a:gd name="T10" fmla="*/ 570 w 726"/>
                    <a:gd name="T11" fmla="*/ 84 h 378"/>
                    <a:gd name="T12" fmla="*/ 642 w 726"/>
                    <a:gd name="T13" fmla="*/ 126 h 378"/>
                    <a:gd name="T14" fmla="*/ 666 w 726"/>
                    <a:gd name="T15" fmla="*/ 198 h 378"/>
                    <a:gd name="T16" fmla="*/ 726 w 726"/>
                    <a:gd name="T17" fmla="*/ 258 h 378"/>
                    <a:gd name="T18" fmla="*/ 666 w 726"/>
                    <a:gd name="T19" fmla="*/ 354 h 378"/>
                    <a:gd name="T20" fmla="*/ 594 w 726"/>
                    <a:gd name="T21" fmla="*/ 378 h 378"/>
                    <a:gd name="T22" fmla="*/ 492 w 726"/>
                    <a:gd name="T23" fmla="*/ 312 h 378"/>
                    <a:gd name="T24" fmla="*/ 402 w 726"/>
                    <a:gd name="T25" fmla="*/ 252 h 378"/>
                    <a:gd name="T26" fmla="*/ 258 w 726"/>
                    <a:gd name="T27" fmla="*/ 252 h 378"/>
                    <a:gd name="T28" fmla="*/ 132 w 726"/>
                    <a:gd name="T29" fmla="*/ 288 h 378"/>
                    <a:gd name="T30" fmla="*/ 30 w 726"/>
                    <a:gd name="T31" fmla="*/ 348 h 378"/>
                    <a:gd name="T32" fmla="*/ 18 w 726"/>
                    <a:gd name="T33" fmla="*/ 306 h 378"/>
                    <a:gd name="T34" fmla="*/ 0 w 726"/>
                    <a:gd name="T35" fmla="*/ 252 h 378"/>
                    <a:gd name="T36" fmla="*/ 0 w 726"/>
                    <a:gd name="T37" fmla="*/ 222 h 378"/>
                    <a:gd name="T38" fmla="*/ 18 w 726"/>
                    <a:gd name="T39" fmla="*/ 210 h 378"/>
                    <a:gd name="T40" fmla="*/ 42 w 726"/>
                    <a:gd name="T41" fmla="*/ 198 h 378"/>
                    <a:gd name="T42" fmla="*/ 48 w 726"/>
                    <a:gd name="T43" fmla="*/ 162 h 378"/>
                    <a:gd name="T44" fmla="*/ 60 w 726"/>
                    <a:gd name="T45" fmla="*/ 126 h 378"/>
                    <a:gd name="T46" fmla="*/ 90 w 726"/>
                    <a:gd name="T47" fmla="*/ 90 h 378"/>
                    <a:gd name="T48" fmla="*/ 126 w 726"/>
                    <a:gd name="T49" fmla="*/ 60 h 378"/>
                    <a:gd name="T50" fmla="*/ 144 w 726"/>
                    <a:gd name="T51" fmla="*/ 60 h 378"/>
                    <a:gd name="T52" fmla="*/ 168 w 726"/>
                    <a:gd name="T53" fmla="*/ 72 h 378"/>
                    <a:gd name="T54" fmla="*/ 186 w 726"/>
                    <a:gd name="T55" fmla="*/ 90 h 378"/>
                    <a:gd name="T56" fmla="*/ 210 w 726"/>
                    <a:gd name="T57" fmla="*/ 102 h 378"/>
                    <a:gd name="T58" fmla="*/ 222 w 726"/>
                    <a:gd name="T59" fmla="*/ 120 h 378"/>
                    <a:gd name="T60" fmla="*/ 228 w 726"/>
                    <a:gd name="T61" fmla="*/ 150 h 378"/>
                    <a:gd name="T62" fmla="*/ 234 w 726"/>
                    <a:gd name="T63" fmla="*/ 174 h 378"/>
                    <a:gd name="T64" fmla="*/ 264 w 726"/>
                    <a:gd name="T65" fmla="*/ 186 h 378"/>
                    <a:gd name="T66" fmla="*/ 306 w 726"/>
                    <a:gd name="T67" fmla="*/ 186 h 378"/>
                    <a:gd name="T68" fmla="*/ 324 w 726"/>
                    <a:gd name="T69" fmla="*/ 180 h 378"/>
                    <a:gd name="T70" fmla="*/ 330 w 726"/>
                    <a:gd name="T71" fmla="*/ 156 h 378"/>
                    <a:gd name="T72" fmla="*/ 330 w 726"/>
                    <a:gd name="T73" fmla="*/ 126 h 378"/>
                    <a:gd name="T74" fmla="*/ 330 w 726"/>
                    <a:gd name="T75" fmla="*/ 18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726" h="378">
                      <a:moveTo>
                        <a:pt x="726" y="258"/>
                      </a:moveTo>
                      <a:lnTo>
                        <a:pt x="726" y="258"/>
                      </a:lnTo>
                      <a:lnTo>
                        <a:pt x="726" y="258"/>
                      </a:lnTo>
                      <a:lnTo>
                        <a:pt x="726" y="258"/>
                      </a:lnTo>
                      <a:close/>
                      <a:moveTo>
                        <a:pt x="618" y="78"/>
                      </a:moveTo>
                      <a:lnTo>
                        <a:pt x="624" y="78"/>
                      </a:lnTo>
                      <a:lnTo>
                        <a:pt x="618" y="78"/>
                      </a:lnTo>
                      <a:lnTo>
                        <a:pt x="618" y="78"/>
                      </a:lnTo>
                      <a:close/>
                      <a:moveTo>
                        <a:pt x="402" y="0"/>
                      </a:moveTo>
                      <a:lnTo>
                        <a:pt x="468" y="6"/>
                      </a:lnTo>
                      <a:lnTo>
                        <a:pt x="516" y="54"/>
                      </a:lnTo>
                      <a:lnTo>
                        <a:pt x="570" y="84"/>
                      </a:lnTo>
                      <a:lnTo>
                        <a:pt x="618" y="78"/>
                      </a:lnTo>
                      <a:lnTo>
                        <a:pt x="642" y="126"/>
                      </a:lnTo>
                      <a:lnTo>
                        <a:pt x="672" y="144"/>
                      </a:lnTo>
                      <a:lnTo>
                        <a:pt x="666" y="198"/>
                      </a:lnTo>
                      <a:lnTo>
                        <a:pt x="702" y="222"/>
                      </a:lnTo>
                      <a:lnTo>
                        <a:pt x="726" y="258"/>
                      </a:lnTo>
                      <a:lnTo>
                        <a:pt x="684" y="312"/>
                      </a:lnTo>
                      <a:lnTo>
                        <a:pt x="666" y="354"/>
                      </a:lnTo>
                      <a:lnTo>
                        <a:pt x="600" y="378"/>
                      </a:lnTo>
                      <a:lnTo>
                        <a:pt x="594" y="378"/>
                      </a:lnTo>
                      <a:lnTo>
                        <a:pt x="540" y="354"/>
                      </a:lnTo>
                      <a:lnTo>
                        <a:pt x="492" y="312"/>
                      </a:lnTo>
                      <a:lnTo>
                        <a:pt x="438" y="300"/>
                      </a:lnTo>
                      <a:lnTo>
                        <a:pt x="402" y="252"/>
                      </a:lnTo>
                      <a:lnTo>
                        <a:pt x="330" y="258"/>
                      </a:lnTo>
                      <a:lnTo>
                        <a:pt x="258" y="252"/>
                      </a:lnTo>
                      <a:lnTo>
                        <a:pt x="192" y="276"/>
                      </a:lnTo>
                      <a:lnTo>
                        <a:pt x="132" y="288"/>
                      </a:lnTo>
                      <a:lnTo>
                        <a:pt x="78" y="312"/>
                      </a:lnTo>
                      <a:lnTo>
                        <a:pt x="30" y="348"/>
                      </a:lnTo>
                      <a:lnTo>
                        <a:pt x="30" y="348"/>
                      </a:lnTo>
                      <a:lnTo>
                        <a:pt x="18" y="306"/>
                      </a:lnTo>
                      <a:lnTo>
                        <a:pt x="6" y="270"/>
                      </a:lnTo>
                      <a:lnTo>
                        <a:pt x="0" y="252"/>
                      </a:lnTo>
                      <a:lnTo>
                        <a:pt x="0" y="234"/>
                      </a:lnTo>
                      <a:lnTo>
                        <a:pt x="0" y="222"/>
                      </a:lnTo>
                      <a:lnTo>
                        <a:pt x="6" y="216"/>
                      </a:lnTo>
                      <a:lnTo>
                        <a:pt x="18" y="210"/>
                      </a:lnTo>
                      <a:lnTo>
                        <a:pt x="36" y="210"/>
                      </a:lnTo>
                      <a:lnTo>
                        <a:pt x="42" y="198"/>
                      </a:lnTo>
                      <a:lnTo>
                        <a:pt x="48" y="186"/>
                      </a:lnTo>
                      <a:lnTo>
                        <a:pt x="48" y="162"/>
                      </a:lnTo>
                      <a:lnTo>
                        <a:pt x="54" y="144"/>
                      </a:lnTo>
                      <a:lnTo>
                        <a:pt x="60" y="126"/>
                      </a:lnTo>
                      <a:lnTo>
                        <a:pt x="72" y="108"/>
                      </a:lnTo>
                      <a:lnTo>
                        <a:pt x="90" y="90"/>
                      </a:lnTo>
                      <a:lnTo>
                        <a:pt x="108" y="72"/>
                      </a:lnTo>
                      <a:lnTo>
                        <a:pt x="126" y="60"/>
                      </a:lnTo>
                      <a:lnTo>
                        <a:pt x="138" y="54"/>
                      </a:lnTo>
                      <a:lnTo>
                        <a:pt x="144" y="60"/>
                      </a:lnTo>
                      <a:lnTo>
                        <a:pt x="156" y="66"/>
                      </a:lnTo>
                      <a:lnTo>
                        <a:pt x="168" y="72"/>
                      </a:lnTo>
                      <a:lnTo>
                        <a:pt x="174" y="78"/>
                      </a:lnTo>
                      <a:lnTo>
                        <a:pt x="186" y="90"/>
                      </a:lnTo>
                      <a:lnTo>
                        <a:pt x="198" y="96"/>
                      </a:lnTo>
                      <a:lnTo>
                        <a:pt x="210" y="102"/>
                      </a:lnTo>
                      <a:lnTo>
                        <a:pt x="216" y="114"/>
                      </a:lnTo>
                      <a:lnTo>
                        <a:pt x="222" y="120"/>
                      </a:lnTo>
                      <a:lnTo>
                        <a:pt x="228" y="138"/>
                      </a:lnTo>
                      <a:lnTo>
                        <a:pt x="228" y="150"/>
                      </a:lnTo>
                      <a:lnTo>
                        <a:pt x="228" y="168"/>
                      </a:lnTo>
                      <a:lnTo>
                        <a:pt x="234" y="174"/>
                      </a:lnTo>
                      <a:lnTo>
                        <a:pt x="246" y="180"/>
                      </a:lnTo>
                      <a:lnTo>
                        <a:pt x="264" y="186"/>
                      </a:lnTo>
                      <a:lnTo>
                        <a:pt x="288" y="186"/>
                      </a:lnTo>
                      <a:lnTo>
                        <a:pt x="306" y="186"/>
                      </a:lnTo>
                      <a:lnTo>
                        <a:pt x="318" y="186"/>
                      </a:lnTo>
                      <a:lnTo>
                        <a:pt x="324" y="180"/>
                      </a:lnTo>
                      <a:lnTo>
                        <a:pt x="330" y="168"/>
                      </a:lnTo>
                      <a:lnTo>
                        <a:pt x="330" y="156"/>
                      </a:lnTo>
                      <a:lnTo>
                        <a:pt x="330" y="144"/>
                      </a:lnTo>
                      <a:lnTo>
                        <a:pt x="330" y="126"/>
                      </a:lnTo>
                      <a:lnTo>
                        <a:pt x="324" y="66"/>
                      </a:lnTo>
                      <a:lnTo>
                        <a:pt x="330" y="18"/>
                      </a:lnTo>
                      <a:lnTo>
                        <a:pt x="40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3" name="Freeform 13">
                  <a:extLst>
                    <a:ext uri="{FF2B5EF4-FFF2-40B4-BE49-F238E27FC236}">
                      <a16:creationId xmlns:a16="http://schemas.microsoft.com/office/drawing/2014/main" id="{74CA9EE1-118C-4A80-9375-5549C86A879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89" y="-3624"/>
                  <a:ext cx="564" cy="402"/>
                </a:xfrm>
                <a:custGeom>
                  <a:avLst/>
                  <a:gdLst>
                    <a:gd name="T0" fmla="*/ 0 w 564"/>
                    <a:gd name="T1" fmla="*/ 102 h 402"/>
                    <a:gd name="T2" fmla="*/ 0 w 564"/>
                    <a:gd name="T3" fmla="*/ 102 h 402"/>
                    <a:gd name="T4" fmla="*/ 0 w 564"/>
                    <a:gd name="T5" fmla="*/ 102 h 402"/>
                    <a:gd name="T6" fmla="*/ 0 w 564"/>
                    <a:gd name="T7" fmla="*/ 102 h 402"/>
                    <a:gd name="T8" fmla="*/ 228 w 564"/>
                    <a:gd name="T9" fmla="*/ 0 h 402"/>
                    <a:gd name="T10" fmla="*/ 300 w 564"/>
                    <a:gd name="T11" fmla="*/ 12 h 402"/>
                    <a:gd name="T12" fmla="*/ 372 w 564"/>
                    <a:gd name="T13" fmla="*/ 0 h 402"/>
                    <a:gd name="T14" fmla="*/ 408 w 564"/>
                    <a:gd name="T15" fmla="*/ 54 h 402"/>
                    <a:gd name="T16" fmla="*/ 462 w 564"/>
                    <a:gd name="T17" fmla="*/ 66 h 402"/>
                    <a:gd name="T18" fmla="*/ 510 w 564"/>
                    <a:gd name="T19" fmla="*/ 102 h 402"/>
                    <a:gd name="T20" fmla="*/ 564 w 564"/>
                    <a:gd name="T21" fmla="*/ 126 h 402"/>
                    <a:gd name="T22" fmla="*/ 558 w 564"/>
                    <a:gd name="T23" fmla="*/ 144 h 402"/>
                    <a:gd name="T24" fmla="*/ 558 w 564"/>
                    <a:gd name="T25" fmla="*/ 180 h 402"/>
                    <a:gd name="T26" fmla="*/ 528 w 564"/>
                    <a:gd name="T27" fmla="*/ 216 h 402"/>
                    <a:gd name="T28" fmla="*/ 516 w 564"/>
                    <a:gd name="T29" fmla="*/ 258 h 402"/>
                    <a:gd name="T30" fmla="*/ 486 w 564"/>
                    <a:gd name="T31" fmla="*/ 300 h 402"/>
                    <a:gd name="T32" fmla="*/ 486 w 564"/>
                    <a:gd name="T33" fmla="*/ 336 h 402"/>
                    <a:gd name="T34" fmla="*/ 438 w 564"/>
                    <a:gd name="T35" fmla="*/ 348 h 402"/>
                    <a:gd name="T36" fmla="*/ 408 w 564"/>
                    <a:gd name="T37" fmla="*/ 402 h 402"/>
                    <a:gd name="T38" fmla="*/ 324 w 564"/>
                    <a:gd name="T39" fmla="*/ 402 h 402"/>
                    <a:gd name="T40" fmla="*/ 324 w 564"/>
                    <a:gd name="T41" fmla="*/ 402 h 402"/>
                    <a:gd name="T42" fmla="*/ 282 w 564"/>
                    <a:gd name="T43" fmla="*/ 354 h 402"/>
                    <a:gd name="T44" fmla="*/ 228 w 564"/>
                    <a:gd name="T45" fmla="*/ 300 h 402"/>
                    <a:gd name="T46" fmla="*/ 228 w 564"/>
                    <a:gd name="T47" fmla="*/ 300 h 402"/>
                    <a:gd name="T48" fmla="*/ 198 w 564"/>
                    <a:gd name="T49" fmla="*/ 258 h 402"/>
                    <a:gd name="T50" fmla="*/ 180 w 564"/>
                    <a:gd name="T51" fmla="*/ 240 h 402"/>
                    <a:gd name="T52" fmla="*/ 150 w 564"/>
                    <a:gd name="T53" fmla="*/ 228 h 402"/>
                    <a:gd name="T54" fmla="*/ 102 w 564"/>
                    <a:gd name="T55" fmla="*/ 228 h 402"/>
                    <a:gd name="T56" fmla="*/ 96 w 564"/>
                    <a:gd name="T57" fmla="*/ 222 h 402"/>
                    <a:gd name="T58" fmla="*/ 96 w 564"/>
                    <a:gd name="T59" fmla="*/ 216 h 402"/>
                    <a:gd name="T60" fmla="*/ 84 w 564"/>
                    <a:gd name="T61" fmla="*/ 204 h 402"/>
                    <a:gd name="T62" fmla="*/ 72 w 564"/>
                    <a:gd name="T63" fmla="*/ 198 h 402"/>
                    <a:gd name="T64" fmla="*/ 54 w 564"/>
                    <a:gd name="T65" fmla="*/ 180 h 402"/>
                    <a:gd name="T66" fmla="*/ 42 w 564"/>
                    <a:gd name="T67" fmla="*/ 168 h 402"/>
                    <a:gd name="T68" fmla="*/ 24 w 564"/>
                    <a:gd name="T69" fmla="*/ 156 h 402"/>
                    <a:gd name="T70" fmla="*/ 12 w 564"/>
                    <a:gd name="T71" fmla="*/ 126 h 402"/>
                    <a:gd name="T72" fmla="*/ 0 w 564"/>
                    <a:gd name="T73" fmla="*/ 102 h 402"/>
                    <a:gd name="T74" fmla="*/ 48 w 564"/>
                    <a:gd name="T75" fmla="*/ 66 h 402"/>
                    <a:gd name="T76" fmla="*/ 102 w 564"/>
                    <a:gd name="T77" fmla="*/ 42 h 402"/>
                    <a:gd name="T78" fmla="*/ 162 w 564"/>
                    <a:gd name="T79" fmla="*/ 30 h 402"/>
                    <a:gd name="T80" fmla="*/ 228 w 564"/>
                    <a:gd name="T81" fmla="*/ 0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64" h="402">
                      <a:moveTo>
                        <a:pt x="0" y="102"/>
                      </a:moveTo>
                      <a:lnTo>
                        <a:pt x="0" y="102"/>
                      </a:lnTo>
                      <a:lnTo>
                        <a:pt x="0" y="102"/>
                      </a:lnTo>
                      <a:lnTo>
                        <a:pt x="0" y="102"/>
                      </a:lnTo>
                      <a:close/>
                      <a:moveTo>
                        <a:pt x="228" y="0"/>
                      </a:moveTo>
                      <a:lnTo>
                        <a:pt x="300" y="12"/>
                      </a:lnTo>
                      <a:lnTo>
                        <a:pt x="372" y="0"/>
                      </a:lnTo>
                      <a:lnTo>
                        <a:pt x="408" y="54"/>
                      </a:lnTo>
                      <a:lnTo>
                        <a:pt x="462" y="66"/>
                      </a:lnTo>
                      <a:lnTo>
                        <a:pt x="510" y="102"/>
                      </a:lnTo>
                      <a:lnTo>
                        <a:pt x="564" y="126"/>
                      </a:lnTo>
                      <a:lnTo>
                        <a:pt x="558" y="144"/>
                      </a:lnTo>
                      <a:lnTo>
                        <a:pt x="558" y="180"/>
                      </a:lnTo>
                      <a:lnTo>
                        <a:pt x="528" y="216"/>
                      </a:lnTo>
                      <a:lnTo>
                        <a:pt x="516" y="258"/>
                      </a:lnTo>
                      <a:lnTo>
                        <a:pt x="486" y="300"/>
                      </a:lnTo>
                      <a:lnTo>
                        <a:pt x="486" y="336"/>
                      </a:lnTo>
                      <a:lnTo>
                        <a:pt x="438" y="348"/>
                      </a:lnTo>
                      <a:lnTo>
                        <a:pt x="408" y="402"/>
                      </a:lnTo>
                      <a:lnTo>
                        <a:pt x="324" y="402"/>
                      </a:lnTo>
                      <a:lnTo>
                        <a:pt x="324" y="402"/>
                      </a:lnTo>
                      <a:lnTo>
                        <a:pt x="282" y="354"/>
                      </a:lnTo>
                      <a:lnTo>
                        <a:pt x="228" y="300"/>
                      </a:lnTo>
                      <a:lnTo>
                        <a:pt x="228" y="300"/>
                      </a:lnTo>
                      <a:lnTo>
                        <a:pt x="198" y="258"/>
                      </a:lnTo>
                      <a:lnTo>
                        <a:pt x="180" y="240"/>
                      </a:lnTo>
                      <a:lnTo>
                        <a:pt x="150" y="228"/>
                      </a:lnTo>
                      <a:lnTo>
                        <a:pt x="102" y="228"/>
                      </a:lnTo>
                      <a:lnTo>
                        <a:pt x="96" y="222"/>
                      </a:lnTo>
                      <a:lnTo>
                        <a:pt x="96" y="216"/>
                      </a:lnTo>
                      <a:lnTo>
                        <a:pt x="84" y="204"/>
                      </a:lnTo>
                      <a:lnTo>
                        <a:pt x="72" y="198"/>
                      </a:lnTo>
                      <a:lnTo>
                        <a:pt x="54" y="180"/>
                      </a:lnTo>
                      <a:lnTo>
                        <a:pt x="42" y="168"/>
                      </a:lnTo>
                      <a:lnTo>
                        <a:pt x="24" y="156"/>
                      </a:lnTo>
                      <a:lnTo>
                        <a:pt x="12" y="126"/>
                      </a:lnTo>
                      <a:lnTo>
                        <a:pt x="0" y="102"/>
                      </a:lnTo>
                      <a:lnTo>
                        <a:pt x="48" y="66"/>
                      </a:lnTo>
                      <a:lnTo>
                        <a:pt x="102" y="42"/>
                      </a:lnTo>
                      <a:lnTo>
                        <a:pt x="162" y="30"/>
                      </a:lnTo>
                      <a:lnTo>
                        <a:pt x="22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4" name="Freeform 14">
                  <a:extLst>
                    <a:ext uri="{FF2B5EF4-FFF2-40B4-BE49-F238E27FC236}">
                      <a16:creationId xmlns:a16="http://schemas.microsoft.com/office/drawing/2014/main" id="{C520B03A-2632-4B7A-ACF0-076B929BFB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01" y="-3606"/>
                  <a:ext cx="858" cy="720"/>
                </a:xfrm>
                <a:custGeom>
                  <a:avLst/>
                  <a:gdLst>
                    <a:gd name="T0" fmla="*/ 12 w 858"/>
                    <a:gd name="T1" fmla="*/ 384 h 720"/>
                    <a:gd name="T2" fmla="*/ 12 w 858"/>
                    <a:gd name="T3" fmla="*/ 384 h 720"/>
                    <a:gd name="T4" fmla="*/ 12 w 858"/>
                    <a:gd name="T5" fmla="*/ 384 h 720"/>
                    <a:gd name="T6" fmla="*/ 12 w 858"/>
                    <a:gd name="T7" fmla="*/ 384 h 720"/>
                    <a:gd name="T8" fmla="*/ 384 w 858"/>
                    <a:gd name="T9" fmla="*/ 0 h 720"/>
                    <a:gd name="T10" fmla="*/ 462 w 858"/>
                    <a:gd name="T11" fmla="*/ 42 h 720"/>
                    <a:gd name="T12" fmla="*/ 540 w 858"/>
                    <a:gd name="T13" fmla="*/ 54 h 720"/>
                    <a:gd name="T14" fmla="*/ 594 w 858"/>
                    <a:gd name="T15" fmla="*/ 42 h 720"/>
                    <a:gd name="T16" fmla="*/ 666 w 858"/>
                    <a:gd name="T17" fmla="*/ 66 h 720"/>
                    <a:gd name="T18" fmla="*/ 690 w 858"/>
                    <a:gd name="T19" fmla="*/ 126 h 720"/>
                    <a:gd name="T20" fmla="*/ 684 w 858"/>
                    <a:gd name="T21" fmla="*/ 180 h 720"/>
                    <a:gd name="T22" fmla="*/ 702 w 858"/>
                    <a:gd name="T23" fmla="*/ 240 h 720"/>
                    <a:gd name="T24" fmla="*/ 750 w 858"/>
                    <a:gd name="T25" fmla="*/ 288 h 720"/>
                    <a:gd name="T26" fmla="*/ 792 w 858"/>
                    <a:gd name="T27" fmla="*/ 306 h 720"/>
                    <a:gd name="T28" fmla="*/ 840 w 858"/>
                    <a:gd name="T29" fmla="*/ 366 h 720"/>
                    <a:gd name="T30" fmla="*/ 858 w 858"/>
                    <a:gd name="T31" fmla="*/ 402 h 720"/>
                    <a:gd name="T32" fmla="*/ 846 w 858"/>
                    <a:gd name="T33" fmla="*/ 438 h 720"/>
                    <a:gd name="T34" fmla="*/ 786 w 858"/>
                    <a:gd name="T35" fmla="*/ 450 h 720"/>
                    <a:gd name="T36" fmla="*/ 750 w 858"/>
                    <a:gd name="T37" fmla="*/ 492 h 720"/>
                    <a:gd name="T38" fmla="*/ 780 w 858"/>
                    <a:gd name="T39" fmla="*/ 540 h 720"/>
                    <a:gd name="T40" fmla="*/ 780 w 858"/>
                    <a:gd name="T41" fmla="*/ 594 h 720"/>
                    <a:gd name="T42" fmla="*/ 780 w 858"/>
                    <a:gd name="T43" fmla="*/ 594 h 720"/>
                    <a:gd name="T44" fmla="*/ 714 w 858"/>
                    <a:gd name="T45" fmla="*/ 630 h 720"/>
                    <a:gd name="T46" fmla="*/ 714 w 858"/>
                    <a:gd name="T47" fmla="*/ 696 h 720"/>
                    <a:gd name="T48" fmla="*/ 678 w 858"/>
                    <a:gd name="T49" fmla="*/ 720 h 720"/>
                    <a:gd name="T50" fmla="*/ 594 w 858"/>
                    <a:gd name="T51" fmla="*/ 714 h 720"/>
                    <a:gd name="T52" fmla="*/ 522 w 858"/>
                    <a:gd name="T53" fmla="*/ 714 h 720"/>
                    <a:gd name="T54" fmla="*/ 462 w 858"/>
                    <a:gd name="T55" fmla="*/ 672 h 720"/>
                    <a:gd name="T56" fmla="*/ 384 w 858"/>
                    <a:gd name="T57" fmla="*/ 678 h 720"/>
                    <a:gd name="T58" fmla="*/ 312 w 858"/>
                    <a:gd name="T59" fmla="*/ 654 h 720"/>
                    <a:gd name="T60" fmla="*/ 216 w 858"/>
                    <a:gd name="T61" fmla="*/ 642 h 720"/>
                    <a:gd name="T62" fmla="*/ 180 w 858"/>
                    <a:gd name="T63" fmla="*/ 654 h 720"/>
                    <a:gd name="T64" fmla="*/ 132 w 858"/>
                    <a:gd name="T65" fmla="*/ 648 h 720"/>
                    <a:gd name="T66" fmla="*/ 42 w 858"/>
                    <a:gd name="T67" fmla="*/ 678 h 720"/>
                    <a:gd name="T68" fmla="*/ 42 w 858"/>
                    <a:gd name="T69" fmla="*/ 678 h 720"/>
                    <a:gd name="T70" fmla="*/ 12 w 858"/>
                    <a:gd name="T71" fmla="*/ 636 h 720"/>
                    <a:gd name="T72" fmla="*/ 18 w 858"/>
                    <a:gd name="T73" fmla="*/ 570 h 720"/>
                    <a:gd name="T74" fmla="*/ 54 w 858"/>
                    <a:gd name="T75" fmla="*/ 522 h 720"/>
                    <a:gd name="T76" fmla="*/ 30 w 858"/>
                    <a:gd name="T77" fmla="*/ 474 h 720"/>
                    <a:gd name="T78" fmla="*/ 0 w 858"/>
                    <a:gd name="T79" fmla="*/ 444 h 720"/>
                    <a:gd name="T80" fmla="*/ 12 w 858"/>
                    <a:gd name="T81" fmla="*/ 384 h 720"/>
                    <a:gd name="T82" fmla="*/ 96 w 858"/>
                    <a:gd name="T83" fmla="*/ 384 h 720"/>
                    <a:gd name="T84" fmla="*/ 126 w 858"/>
                    <a:gd name="T85" fmla="*/ 330 h 720"/>
                    <a:gd name="T86" fmla="*/ 174 w 858"/>
                    <a:gd name="T87" fmla="*/ 318 h 720"/>
                    <a:gd name="T88" fmla="*/ 174 w 858"/>
                    <a:gd name="T89" fmla="*/ 282 h 720"/>
                    <a:gd name="T90" fmla="*/ 204 w 858"/>
                    <a:gd name="T91" fmla="*/ 240 h 720"/>
                    <a:gd name="T92" fmla="*/ 216 w 858"/>
                    <a:gd name="T93" fmla="*/ 198 h 720"/>
                    <a:gd name="T94" fmla="*/ 246 w 858"/>
                    <a:gd name="T95" fmla="*/ 162 h 720"/>
                    <a:gd name="T96" fmla="*/ 246 w 858"/>
                    <a:gd name="T97" fmla="*/ 126 h 720"/>
                    <a:gd name="T98" fmla="*/ 252 w 858"/>
                    <a:gd name="T99" fmla="*/ 114 h 720"/>
                    <a:gd name="T100" fmla="*/ 258 w 858"/>
                    <a:gd name="T101" fmla="*/ 114 h 720"/>
                    <a:gd name="T102" fmla="*/ 324 w 858"/>
                    <a:gd name="T103" fmla="*/ 90 h 720"/>
                    <a:gd name="T104" fmla="*/ 342 w 858"/>
                    <a:gd name="T105" fmla="*/ 54 h 720"/>
                    <a:gd name="T106" fmla="*/ 384 w 858"/>
                    <a:gd name="T107" fmla="*/ 0 h 7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858" h="720">
                      <a:moveTo>
                        <a:pt x="12" y="384"/>
                      </a:moveTo>
                      <a:lnTo>
                        <a:pt x="12" y="384"/>
                      </a:lnTo>
                      <a:lnTo>
                        <a:pt x="12" y="384"/>
                      </a:lnTo>
                      <a:lnTo>
                        <a:pt x="12" y="384"/>
                      </a:lnTo>
                      <a:close/>
                      <a:moveTo>
                        <a:pt x="384" y="0"/>
                      </a:moveTo>
                      <a:lnTo>
                        <a:pt x="462" y="42"/>
                      </a:lnTo>
                      <a:lnTo>
                        <a:pt x="540" y="54"/>
                      </a:lnTo>
                      <a:lnTo>
                        <a:pt x="594" y="42"/>
                      </a:lnTo>
                      <a:lnTo>
                        <a:pt x="666" y="66"/>
                      </a:lnTo>
                      <a:lnTo>
                        <a:pt x="690" y="126"/>
                      </a:lnTo>
                      <a:lnTo>
                        <a:pt x="684" y="180"/>
                      </a:lnTo>
                      <a:lnTo>
                        <a:pt x="702" y="240"/>
                      </a:lnTo>
                      <a:lnTo>
                        <a:pt x="750" y="288"/>
                      </a:lnTo>
                      <a:lnTo>
                        <a:pt x="792" y="306"/>
                      </a:lnTo>
                      <a:lnTo>
                        <a:pt x="840" y="366"/>
                      </a:lnTo>
                      <a:lnTo>
                        <a:pt x="858" y="402"/>
                      </a:lnTo>
                      <a:lnTo>
                        <a:pt x="846" y="438"/>
                      </a:lnTo>
                      <a:lnTo>
                        <a:pt x="786" y="450"/>
                      </a:lnTo>
                      <a:lnTo>
                        <a:pt x="750" y="492"/>
                      </a:lnTo>
                      <a:lnTo>
                        <a:pt x="780" y="540"/>
                      </a:lnTo>
                      <a:lnTo>
                        <a:pt x="780" y="594"/>
                      </a:lnTo>
                      <a:lnTo>
                        <a:pt x="780" y="594"/>
                      </a:lnTo>
                      <a:lnTo>
                        <a:pt x="714" y="630"/>
                      </a:lnTo>
                      <a:lnTo>
                        <a:pt x="714" y="696"/>
                      </a:lnTo>
                      <a:lnTo>
                        <a:pt x="678" y="720"/>
                      </a:lnTo>
                      <a:lnTo>
                        <a:pt x="594" y="714"/>
                      </a:lnTo>
                      <a:lnTo>
                        <a:pt x="522" y="714"/>
                      </a:lnTo>
                      <a:lnTo>
                        <a:pt x="462" y="672"/>
                      </a:lnTo>
                      <a:lnTo>
                        <a:pt x="384" y="678"/>
                      </a:lnTo>
                      <a:lnTo>
                        <a:pt x="312" y="654"/>
                      </a:lnTo>
                      <a:lnTo>
                        <a:pt x="216" y="642"/>
                      </a:lnTo>
                      <a:lnTo>
                        <a:pt x="180" y="654"/>
                      </a:lnTo>
                      <a:lnTo>
                        <a:pt x="132" y="648"/>
                      </a:lnTo>
                      <a:lnTo>
                        <a:pt x="42" y="678"/>
                      </a:lnTo>
                      <a:lnTo>
                        <a:pt x="42" y="678"/>
                      </a:lnTo>
                      <a:lnTo>
                        <a:pt x="12" y="636"/>
                      </a:lnTo>
                      <a:lnTo>
                        <a:pt x="18" y="570"/>
                      </a:lnTo>
                      <a:lnTo>
                        <a:pt x="54" y="522"/>
                      </a:lnTo>
                      <a:lnTo>
                        <a:pt x="30" y="474"/>
                      </a:lnTo>
                      <a:lnTo>
                        <a:pt x="0" y="444"/>
                      </a:lnTo>
                      <a:lnTo>
                        <a:pt x="12" y="384"/>
                      </a:lnTo>
                      <a:lnTo>
                        <a:pt x="96" y="384"/>
                      </a:lnTo>
                      <a:lnTo>
                        <a:pt x="126" y="330"/>
                      </a:lnTo>
                      <a:lnTo>
                        <a:pt x="174" y="318"/>
                      </a:lnTo>
                      <a:lnTo>
                        <a:pt x="174" y="282"/>
                      </a:lnTo>
                      <a:lnTo>
                        <a:pt x="204" y="240"/>
                      </a:lnTo>
                      <a:lnTo>
                        <a:pt x="216" y="198"/>
                      </a:lnTo>
                      <a:lnTo>
                        <a:pt x="246" y="162"/>
                      </a:lnTo>
                      <a:lnTo>
                        <a:pt x="246" y="126"/>
                      </a:lnTo>
                      <a:lnTo>
                        <a:pt x="252" y="114"/>
                      </a:lnTo>
                      <a:lnTo>
                        <a:pt x="258" y="114"/>
                      </a:lnTo>
                      <a:lnTo>
                        <a:pt x="324" y="90"/>
                      </a:lnTo>
                      <a:lnTo>
                        <a:pt x="342" y="54"/>
                      </a:lnTo>
                      <a:lnTo>
                        <a:pt x="38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5" name="Freeform 15">
                  <a:extLst>
                    <a:ext uri="{FF2B5EF4-FFF2-40B4-BE49-F238E27FC236}">
                      <a16:creationId xmlns:a16="http://schemas.microsoft.com/office/drawing/2014/main" id="{5CFEA737-6F64-4A63-A2D7-61485BBF56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75" y="-3402"/>
                  <a:ext cx="342" cy="138"/>
                </a:xfrm>
                <a:custGeom>
                  <a:avLst/>
                  <a:gdLst>
                    <a:gd name="T0" fmla="*/ 342 w 342"/>
                    <a:gd name="T1" fmla="*/ 78 h 138"/>
                    <a:gd name="T2" fmla="*/ 342 w 342"/>
                    <a:gd name="T3" fmla="*/ 78 h 138"/>
                    <a:gd name="T4" fmla="*/ 336 w 342"/>
                    <a:gd name="T5" fmla="*/ 78 h 138"/>
                    <a:gd name="T6" fmla="*/ 342 w 342"/>
                    <a:gd name="T7" fmla="*/ 78 h 138"/>
                    <a:gd name="T8" fmla="*/ 210 w 342"/>
                    <a:gd name="T9" fmla="*/ 0 h 138"/>
                    <a:gd name="T10" fmla="*/ 216 w 342"/>
                    <a:gd name="T11" fmla="*/ 6 h 138"/>
                    <a:gd name="T12" fmla="*/ 264 w 342"/>
                    <a:gd name="T13" fmla="*/ 6 h 138"/>
                    <a:gd name="T14" fmla="*/ 294 w 342"/>
                    <a:gd name="T15" fmla="*/ 18 h 138"/>
                    <a:gd name="T16" fmla="*/ 312 w 342"/>
                    <a:gd name="T17" fmla="*/ 36 h 138"/>
                    <a:gd name="T18" fmla="*/ 336 w 342"/>
                    <a:gd name="T19" fmla="*/ 78 h 138"/>
                    <a:gd name="T20" fmla="*/ 300 w 342"/>
                    <a:gd name="T21" fmla="*/ 108 h 138"/>
                    <a:gd name="T22" fmla="*/ 222 w 342"/>
                    <a:gd name="T23" fmla="*/ 120 h 138"/>
                    <a:gd name="T24" fmla="*/ 156 w 342"/>
                    <a:gd name="T25" fmla="*/ 126 h 138"/>
                    <a:gd name="T26" fmla="*/ 102 w 342"/>
                    <a:gd name="T27" fmla="*/ 138 h 138"/>
                    <a:gd name="T28" fmla="*/ 42 w 342"/>
                    <a:gd name="T29" fmla="*/ 138 h 138"/>
                    <a:gd name="T30" fmla="*/ 0 w 342"/>
                    <a:gd name="T31" fmla="*/ 120 h 138"/>
                    <a:gd name="T32" fmla="*/ 0 w 342"/>
                    <a:gd name="T33" fmla="*/ 114 h 138"/>
                    <a:gd name="T34" fmla="*/ 18 w 342"/>
                    <a:gd name="T35" fmla="*/ 108 h 138"/>
                    <a:gd name="T36" fmla="*/ 42 w 342"/>
                    <a:gd name="T37" fmla="*/ 102 h 138"/>
                    <a:gd name="T38" fmla="*/ 54 w 342"/>
                    <a:gd name="T39" fmla="*/ 90 h 138"/>
                    <a:gd name="T40" fmla="*/ 60 w 342"/>
                    <a:gd name="T41" fmla="*/ 84 h 138"/>
                    <a:gd name="T42" fmla="*/ 66 w 342"/>
                    <a:gd name="T43" fmla="*/ 78 h 138"/>
                    <a:gd name="T44" fmla="*/ 60 w 342"/>
                    <a:gd name="T45" fmla="*/ 72 h 138"/>
                    <a:gd name="T46" fmla="*/ 48 w 342"/>
                    <a:gd name="T47" fmla="*/ 66 h 138"/>
                    <a:gd name="T48" fmla="*/ 42 w 342"/>
                    <a:gd name="T49" fmla="*/ 60 h 138"/>
                    <a:gd name="T50" fmla="*/ 42 w 342"/>
                    <a:gd name="T51" fmla="*/ 54 h 138"/>
                    <a:gd name="T52" fmla="*/ 48 w 342"/>
                    <a:gd name="T53" fmla="*/ 42 h 138"/>
                    <a:gd name="T54" fmla="*/ 54 w 342"/>
                    <a:gd name="T55" fmla="*/ 30 h 138"/>
                    <a:gd name="T56" fmla="*/ 60 w 342"/>
                    <a:gd name="T57" fmla="*/ 24 h 138"/>
                    <a:gd name="T58" fmla="*/ 72 w 342"/>
                    <a:gd name="T59" fmla="*/ 12 h 138"/>
                    <a:gd name="T60" fmla="*/ 78 w 342"/>
                    <a:gd name="T61" fmla="*/ 6 h 138"/>
                    <a:gd name="T62" fmla="*/ 84 w 342"/>
                    <a:gd name="T63" fmla="*/ 6 h 138"/>
                    <a:gd name="T64" fmla="*/ 84 w 342"/>
                    <a:gd name="T65" fmla="*/ 12 h 138"/>
                    <a:gd name="T66" fmla="*/ 84 w 342"/>
                    <a:gd name="T67" fmla="*/ 24 h 138"/>
                    <a:gd name="T68" fmla="*/ 90 w 342"/>
                    <a:gd name="T69" fmla="*/ 30 h 138"/>
                    <a:gd name="T70" fmla="*/ 102 w 342"/>
                    <a:gd name="T71" fmla="*/ 36 h 138"/>
                    <a:gd name="T72" fmla="*/ 114 w 342"/>
                    <a:gd name="T73" fmla="*/ 36 h 138"/>
                    <a:gd name="T74" fmla="*/ 126 w 342"/>
                    <a:gd name="T75" fmla="*/ 24 h 138"/>
                    <a:gd name="T76" fmla="*/ 132 w 342"/>
                    <a:gd name="T77" fmla="*/ 18 h 138"/>
                    <a:gd name="T78" fmla="*/ 138 w 342"/>
                    <a:gd name="T79" fmla="*/ 18 h 138"/>
                    <a:gd name="T80" fmla="*/ 150 w 342"/>
                    <a:gd name="T81" fmla="*/ 18 h 138"/>
                    <a:gd name="T82" fmla="*/ 162 w 342"/>
                    <a:gd name="T83" fmla="*/ 18 h 138"/>
                    <a:gd name="T84" fmla="*/ 180 w 342"/>
                    <a:gd name="T85" fmla="*/ 18 h 138"/>
                    <a:gd name="T86" fmla="*/ 198 w 342"/>
                    <a:gd name="T87" fmla="*/ 12 h 138"/>
                    <a:gd name="T88" fmla="*/ 210 w 342"/>
                    <a:gd name="T89" fmla="*/ 6 h 138"/>
                    <a:gd name="T90" fmla="*/ 210 w 342"/>
                    <a:gd name="T91" fmla="*/ 0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342" h="138">
                      <a:moveTo>
                        <a:pt x="342" y="78"/>
                      </a:moveTo>
                      <a:lnTo>
                        <a:pt x="342" y="78"/>
                      </a:lnTo>
                      <a:lnTo>
                        <a:pt x="336" y="78"/>
                      </a:lnTo>
                      <a:lnTo>
                        <a:pt x="342" y="78"/>
                      </a:lnTo>
                      <a:close/>
                      <a:moveTo>
                        <a:pt x="210" y="0"/>
                      </a:moveTo>
                      <a:lnTo>
                        <a:pt x="216" y="6"/>
                      </a:lnTo>
                      <a:lnTo>
                        <a:pt x="264" y="6"/>
                      </a:lnTo>
                      <a:lnTo>
                        <a:pt x="294" y="18"/>
                      </a:lnTo>
                      <a:lnTo>
                        <a:pt x="312" y="36"/>
                      </a:lnTo>
                      <a:lnTo>
                        <a:pt x="336" y="78"/>
                      </a:lnTo>
                      <a:lnTo>
                        <a:pt x="300" y="108"/>
                      </a:lnTo>
                      <a:lnTo>
                        <a:pt x="222" y="120"/>
                      </a:lnTo>
                      <a:lnTo>
                        <a:pt x="156" y="126"/>
                      </a:lnTo>
                      <a:lnTo>
                        <a:pt x="102" y="138"/>
                      </a:lnTo>
                      <a:lnTo>
                        <a:pt x="42" y="138"/>
                      </a:lnTo>
                      <a:lnTo>
                        <a:pt x="0" y="120"/>
                      </a:lnTo>
                      <a:lnTo>
                        <a:pt x="0" y="114"/>
                      </a:lnTo>
                      <a:lnTo>
                        <a:pt x="18" y="108"/>
                      </a:lnTo>
                      <a:lnTo>
                        <a:pt x="42" y="102"/>
                      </a:lnTo>
                      <a:lnTo>
                        <a:pt x="54" y="90"/>
                      </a:lnTo>
                      <a:lnTo>
                        <a:pt x="60" y="84"/>
                      </a:lnTo>
                      <a:lnTo>
                        <a:pt x="66" y="78"/>
                      </a:lnTo>
                      <a:lnTo>
                        <a:pt x="60" y="72"/>
                      </a:lnTo>
                      <a:lnTo>
                        <a:pt x="48" y="66"/>
                      </a:lnTo>
                      <a:lnTo>
                        <a:pt x="42" y="60"/>
                      </a:lnTo>
                      <a:lnTo>
                        <a:pt x="42" y="54"/>
                      </a:lnTo>
                      <a:lnTo>
                        <a:pt x="48" y="42"/>
                      </a:lnTo>
                      <a:lnTo>
                        <a:pt x="54" y="30"/>
                      </a:lnTo>
                      <a:lnTo>
                        <a:pt x="60" y="24"/>
                      </a:lnTo>
                      <a:lnTo>
                        <a:pt x="72" y="12"/>
                      </a:lnTo>
                      <a:lnTo>
                        <a:pt x="78" y="6"/>
                      </a:lnTo>
                      <a:lnTo>
                        <a:pt x="84" y="6"/>
                      </a:lnTo>
                      <a:lnTo>
                        <a:pt x="84" y="12"/>
                      </a:lnTo>
                      <a:lnTo>
                        <a:pt x="84" y="24"/>
                      </a:lnTo>
                      <a:lnTo>
                        <a:pt x="90" y="30"/>
                      </a:lnTo>
                      <a:lnTo>
                        <a:pt x="102" y="36"/>
                      </a:lnTo>
                      <a:lnTo>
                        <a:pt x="114" y="36"/>
                      </a:lnTo>
                      <a:lnTo>
                        <a:pt x="126" y="24"/>
                      </a:lnTo>
                      <a:lnTo>
                        <a:pt x="132" y="18"/>
                      </a:lnTo>
                      <a:lnTo>
                        <a:pt x="138" y="18"/>
                      </a:lnTo>
                      <a:lnTo>
                        <a:pt x="150" y="18"/>
                      </a:lnTo>
                      <a:lnTo>
                        <a:pt x="162" y="18"/>
                      </a:lnTo>
                      <a:lnTo>
                        <a:pt x="180" y="18"/>
                      </a:lnTo>
                      <a:lnTo>
                        <a:pt x="198" y="12"/>
                      </a:lnTo>
                      <a:lnTo>
                        <a:pt x="210" y="6"/>
                      </a:lnTo>
                      <a:lnTo>
                        <a:pt x="21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6" name="Freeform 16">
                  <a:extLst>
                    <a:ext uri="{FF2B5EF4-FFF2-40B4-BE49-F238E27FC236}">
                      <a16:creationId xmlns:a16="http://schemas.microsoft.com/office/drawing/2014/main" id="{47357E8D-9420-4669-BA17-7751DA4A90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9" y="-3354"/>
                  <a:ext cx="1020" cy="858"/>
                </a:xfrm>
                <a:custGeom>
                  <a:avLst/>
                  <a:gdLst>
                    <a:gd name="T0" fmla="*/ 402 w 1020"/>
                    <a:gd name="T1" fmla="*/ 6 h 858"/>
                    <a:gd name="T2" fmla="*/ 420 w 1020"/>
                    <a:gd name="T3" fmla="*/ 24 h 858"/>
                    <a:gd name="T4" fmla="*/ 420 w 1020"/>
                    <a:gd name="T5" fmla="*/ 54 h 858"/>
                    <a:gd name="T6" fmla="*/ 426 w 1020"/>
                    <a:gd name="T7" fmla="*/ 60 h 858"/>
                    <a:gd name="T8" fmla="*/ 444 w 1020"/>
                    <a:gd name="T9" fmla="*/ 60 h 858"/>
                    <a:gd name="T10" fmla="*/ 456 w 1020"/>
                    <a:gd name="T11" fmla="*/ 60 h 858"/>
                    <a:gd name="T12" fmla="*/ 462 w 1020"/>
                    <a:gd name="T13" fmla="*/ 72 h 858"/>
                    <a:gd name="T14" fmla="*/ 486 w 1020"/>
                    <a:gd name="T15" fmla="*/ 72 h 858"/>
                    <a:gd name="T16" fmla="*/ 528 w 1020"/>
                    <a:gd name="T17" fmla="*/ 90 h 858"/>
                    <a:gd name="T18" fmla="*/ 642 w 1020"/>
                    <a:gd name="T19" fmla="*/ 78 h 858"/>
                    <a:gd name="T20" fmla="*/ 786 w 1020"/>
                    <a:gd name="T21" fmla="*/ 60 h 858"/>
                    <a:gd name="T22" fmla="*/ 882 w 1020"/>
                    <a:gd name="T23" fmla="*/ 84 h 858"/>
                    <a:gd name="T24" fmla="*/ 912 w 1020"/>
                    <a:gd name="T25" fmla="*/ 192 h 858"/>
                    <a:gd name="T26" fmla="*/ 966 w 1020"/>
                    <a:gd name="T27" fmla="*/ 270 h 858"/>
                    <a:gd name="T28" fmla="*/ 918 w 1020"/>
                    <a:gd name="T29" fmla="*/ 384 h 858"/>
                    <a:gd name="T30" fmla="*/ 954 w 1020"/>
                    <a:gd name="T31" fmla="*/ 474 h 858"/>
                    <a:gd name="T32" fmla="*/ 996 w 1020"/>
                    <a:gd name="T33" fmla="*/ 558 h 858"/>
                    <a:gd name="T34" fmla="*/ 960 w 1020"/>
                    <a:gd name="T35" fmla="*/ 660 h 858"/>
                    <a:gd name="T36" fmla="*/ 894 w 1020"/>
                    <a:gd name="T37" fmla="*/ 780 h 858"/>
                    <a:gd name="T38" fmla="*/ 870 w 1020"/>
                    <a:gd name="T39" fmla="*/ 858 h 858"/>
                    <a:gd name="T40" fmla="*/ 858 w 1020"/>
                    <a:gd name="T41" fmla="*/ 846 h 858"/>
                    <a:gd name="T42" fmla="*/ 786 w 1020"/>
                    <a:gd name="T43" fmla="*/ 774 h 858"/>
                    <a:gd name="T44" fmla="*/ 702 w 1020"/>
                    <a:gd name="T45" fmla="*/ 792 h 858"/>
                    <a:gd name="T46" fmla="*/ 618 w 1020"/>
                    <a:gd name="T47" fmla="*/ 846 h 858"/>
                    <a:gd name="T48" fmla="*/ 504 w 1020"/>
                    <a:gd name="T49" fmla="*/ 786 h 858"/>
                    <a:gd name="T50" fmla="*/ 420 w 1020"/>
                    <a:gd name="T51" fmla="*/ 690 h 858"/>
                    <a:gd name="T52" fmla="*/ 306 w 1020"/>
                    <a:gd name="T53" fmla="*/ 666 h 858"/>
                    <a:gd name="T54" fmla="*/ 234 w 1020"/>
                    <a:gd name="T55" fmla="*/ 624 h 858"/>
                    <a:gd name="T56" fmla="*/ 144 w 1020"/>
                    <a:gd name="T57" fmla="*/ 594 h 858"/>
                    <a:gd name="T58" fmla="*/ 84 w 1020"/>
                    <a:gd name="T59" fmla="*/ 486 h 858"/>
                    <a:gd name="T60" fmla="*/ 48 w 1020"/>
                    <a:gd name="T61" fmla="*/ 372 h 858"/>
                    <a:gd name="T62" fmla="*/ 18 w 1020"/>
                    <a:gd name="T63" fmla="*/ 240 h 858"/>
                    <a:gd name="T64" fmla="*/ 30 w 1020"/>
                    <a:gd name="T65" fmla="*/ 174 h 858"/>
                    <a:gd name="T66" fmla="*/ 54 w 1020"/>
                    <a:gd name="T67" fmla="*/ 168 h 858"/>
                    <a:gd name="T68" fmla="*/ 66 w 1020"/>
                    <a:gd name="T69" fmla="*/ 156 h 858"/>
                    <a:gd name="T70" fmla="*/ 72 w 1020"/>
                    <a:gd name="T71" fmla="*/ 132 h 858"/>
                    <a:gd name="T72" fmla="*/ 96 w 1020"/>
                    <a:gd name="T73" fmla="*/ 108 h 858"/>
                    <a:gd name="T74" fmla="*/ 144 w 1020"/>
                    <a:gd name="T75" fmla="*/ 90 h 858"/>
                    <a:gd name="T76" fmla="*/ 162 w 1020"/>
                    <a:gd name="T77" fmla="*/ 78 h 858"/>
                    <a:gd name="T78" fmla="*/ 174 w 1020"/>
                    <a:gd name="T79" fmla="*/ 66 h 858"/>
                    <a:gd name="T80" fmla="*/ 186 w 1020"/>
                    <a:gd name="T81" fmla="*/ 54 h 858"/>
                    <a:gd name="T82" fmla="*/ 222 w 1020"/>
                    <a:gd name="T83" fmla="*/ 36 h 858"/>
                    <a:gd name="T84" fmla="*/ 336 w 1020"/>
                    <a:gd name="T85" fmla="*/ 6 h 858"/>
                    <a:gd name="T86" fmla="*/ 390 w 1020"/>
                    <a:gd name="T87" fmla="*/ 0 h 8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020" h="858">
                      <a:moveTo>
                        <a:pt x="390" y="0"/>
                      </a:moveTo>
                      <a:lnTo>
                        <a:pt x="402" y="6"/>
                      </a:lnTo>
                      <a:lnTo>
                        <a:pt x="414" y="12"/>
                      </a:lnTo>
                      <a:lnTo>
                        <a:pt x="420" y="24"/>
                      </a:lnTo>
                      <a:lnTo>
                        <a:pt x="420" y="42"/>
                      </a:lnTo>
                      <a:lnTo>
                        <a:pt x="420" y="54"/>
                      </a:lnTo>
                      <a:lnTo>
                        <a:pt x="420" y="54"/>
                      </a:lnTo>
                      <a:lnTo>
                        <a:pt x="426" y="60"/>
                      </a:lnTo>
                      <a:lnTo>
                        <a:pt x="438" y="60"/>
                      </a:lnTo>
                      <a:lnTo>
                        <a:pt x="444" y="60"/>
                      </a:lnTo>
                      <a:lnTo>
                        <a:pt x="456" y="60"/>
                      </a:lnTo>
                      <a:lnTo>
                        <a:pt x="456" y="60"/>
                      </a:lnTo>
                      <a:lnTo>
                        <a:pt x="462" y="66"/>
                      </a:lnTo>
                      <a:lnTo>
                        <a:pt x="462" y="72"/>
                      </a:lnTo>
                      <a:lnTo>
                        <a:pt x="474" y="72"/>
                      </a:lnTo>
                      <a:lnTo>
                        <a:pt x="486" y="72"/>
                      </a:lnTo>
                      <a:lnTo>
                        <a:pt x="486" y="72"/>
                      </a:lnTo>
                      <a:lnTo>
                        <a:pt x="528" y="90"/>
                      </a:lnTo>
                      <a:lnTo>
                        <a:pt x="588" y="90"/>
                      </a:lnTo>
                      <a:lnTo>
                        <a:pt x="642" y="78"/>
                      </a:lnTo>
                      <a:lnTo>
                        <a:pt x="708" y="72"/>
                      </a:lnTo>
                      <a:lnTo>
                        <a:pt x="786" y="60"/>
                      </a:lnTo>
                      <a:lnTo>
                        <a:pt x="828" y="30"/>
                      </a:lnTo>
                      <a:lnTo>
                        <a:pt x="882" y="84"/>
                      </a:lnTo>
                      <a:lnTo>
                        <a:pt x="924" y="126"/>
                      </a:lnTo>
                      <a:lnTo>
                        <a:pt x="912" y="192"/>
                      </a:lnTo>
                      <a:lnTo>
                        <a:pt x="942" y="222"/>
                      </a:lnTo>
                      <a:lnTo>
                        <a:pt x="966" y="270"/>
                      </a:lnTo>
                      <a:lnTo>
                        <a:pt x="930" y="318"/>
                      </a:lnTo>
                      <a:lnTo>
                        <a:pt x="918" y="384"/>
                      </a:lnTo>
                      <a:lnTo>
                        <a:pt x="954" y="426"/>
                      </a:lnTo>
                      <a:lnTo>
                        <a:pt x="954" y="474"/>
                      </a:lnTo>
                      <a:lnTo>
                        <a:pt x="960" y="516"/>
                      </a:lnTo>
                      <a:lnTo>
                        <a:pt x="996" y="558"/>
                      </a:lnTo>
                      <a:lnTo>
                        <a:pt x="1020" y="618"/>
                      </a:lnTo>
                      <a:lnTo>
                        <a:pt x="960" y="660"/>
                      </a:lnTo>
                      <a:lnTo>
                        <a:pt x="936" y="708"/>
                      </a:lnTo>
                      <a:lnTo>
                        <a:pt x="894" y="780"/>
                      </a:lnTo>
                      <a:lnTo>
                        <a:pt x="900" y="828"/>
                      </a:lnTo>
                      <a:lnTo>
                        <a:pt x="870" y="858"/>
                      </a:lnTo>
                      <a:lnTo>
                        <a:pt x="870" y="858"/>
                      </a:lnTo>
                      <a:lnTo>
                        <a:pt x="858" y="846"/>
                      </a:lnTo>
                      <a:lnTo>
                        <a:pt x="816" y="816"/>
                      </a:lnTo>
                      <a:lnTo>
                        <a:pt x="786" y="774"/>
                      </a:lnTo>
                      <a:lnTo>
                        <a:pt x="756" y="780"/>
                      </a:lnTo>
                      <a:lnTo>
                        <a:pt x="702" y="792"/>
                      </a:lnTo>
                      <a:lnTo>
                        <a:pt x="666" y="828"/>
                      </a:lnTo>
                      <a:lnTo>
                        <a:pt x="618" y="846"/>
                      </a:lnTo>
                      <a:lnTo>
                        <a:pt x="564" y="792"/>
                      </a:lnTo>
                      <a:lnTo>
                        <a:pt x="504" y="786"/>
                      </a:lnTo>
                      <a:lnTo>
                        <a:pt x="480" y="738"/>
                      </a:lnTo>
                      <a:lnTo>
                        <a:pt x="420" y="690"/>
                      </a:lnTo>
                      <a:lnTo>
                        <a:pt x="348" y="654"/>
                      </a:lnTo>
                      <a:lnTo>
                        <a:pt x="306" y="666"/>
                      </a:lnTo>
                      <a:lnTo>
                        <a:pt x="282" y="618"/>
                      </a:lnTo>
                      <a:lnTo>
                        <a:pt x="234" y="624"/>
                      </a:lnTo>
                      <a:lnTo>
                        <a:pt x="198" y="588"/>
                      </a:lnTo>
                      <a:lnTo>
                        <a:pt x="144" y="594"/>
                      </a:lnTo>
                      <a:lnTo>
                        <a:pt x="126" y="558"/>
                      </a:lnTo>
                      <a:lnTo>
                        <a:pt x="84" y="486"/>
                      </a:lnTo>
                      <a:lnTo>
                        <a:pt x="42" y="432"/>
                      </a:lnTo>
                      <a:lnTo>
                        <a:pt x="48" y="372"/>
                      </a:lnTo>
                      <a:lnTo>
                        <a:pt x="0" y="306"/>
                      </a:lnTo>
                      <a:lnTo>
                        <a:pt x="18" y="240"/>
                      </a:lnTo>
                      <a:lnTo>
                        <a:pt x="30" y="174"/>
                      </a:lnTo>
                      <a:lnTo>
                        <a:pt x="30" y="174"/>
                      </a:lnTo>
                      <a:lnTo>
                        <a:pt x="42" y="174"/>
                      </a:lnTo>
                      <a:lnTo>
                        <a:pt x="54" y="168"/>
                      </a:lnTo>
                      <a:lnTo>
                        <a:pt x="60" y="162"/>
                      </a:lnTo>
                      <a:lnTo>
                        <a:pt x="66" y="156"/>
                      </a:lnTo>
                      <a:lnTo>
                        <a:pt x="72" y="144"/>
                      </a:lnTo>
                      <a:lnTo>
                        <a:pt x="72" y="132"/>
                      </a:lnTo>
                      <a:lnTo>
                        <a:pt x="84" y="120"/>
                      </a:lnTo>
                      <a:lnTo>
                        <a:pt x="96" y="108"/>
                      </a:lnTo>
                      <a:lnTo>
                        <a:pt x="120" y="102"/>
                      </a:lnTo>
                      <a:lnTo>
                        <a:pt x="144" y="90"/>
                      </a:lnTo>
                      <a:lnTo>
                        <a:pt x="156" y="84"/>
                      </a:lnTo>
                      <a:lnTo>
                        <a:pt x="162" y="78"/>
                      </a:lnTo>
                      <a:lnTo>
                        <a:pt x="168" y="72"/>
                      </a:lnTo>
                      <a:lnTo>
                        <a:pt x="174" y="66"/>
                      </a:lnTo>
                      <a:lnTo>
                        <a:pt x="180" y="60"/>
                      </a:lnTo>
                      <a:lnTo>
                        <a:pt x="186" y="54"/>
                      </a:lnTo>
                      <a:lnTo>
                        <a:pt x="204" y="42"/>
                      </a:lnTo>
                      <a:lnTo>
                        <a:pt x="222" y="36"/>
                      </a:lnTo>
                      <a:lnTo>
                        <a:pt x="288" y="18"/>
                      </a:lnTo>
                      <a:lnTo>
                        <a:pt x="336" y="6"/>
                      </a:lnTo>
                      <a:lnTo>
                        <a:pt x="372" y="0"/>
                      </a:lnTo>
                      <a:lnTo>
                        <a:pt x="39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7" name="Freeform 17">
                  <a:extLst>
                    <a:ext uri="{FF2B5EF4-FFF2-40B4-BE49-F238E27FC236}">
                      <a16:creationId xmlns:a16="http://schemas.microsoft.com/office/drawing/2014/main" id="{484AAD27-F8E4-474E-A921-4DA61E2F41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35" y="-3030"/>
                  <a:ext cx="1770" cy="1002"/>
                </a:xfrm>
                <a:custGeom>
                  <a:avLst/>
                  <a:gdLst>
                    <a:gd name="T0" fmla="*/ 630 w 1770"/>
                    <a:gd name="T1" fmla="*/ 972 h 1002"/>
                    <a:gd name="T2" fmla="*/ 84 w 1770"/>
                    <a:gd name="T3" fmla="*/ 660 h 1002"/>
                    <a:gd name="T4" fmla="*/ 1050 w 1770"/>
                    <a:gd name="T5" fmla="*/ 0 h 1002"/>
                    <a:gd name="T6" fmla="*/ 1122 w 1770"/>
                    <a:gd name="T7" fmla="*/ 114 h 1002"/>
                    <a:gd name="T8" fmla="*/ 1248 w 1770"/>
                    <a:gd name="T9" fmla="*/ 228 h 1002"/>
                    <a:gd name="T10" fmla="*/ 1452 w 1770"/>
                    <a:gd name="T11" fmla="*/ 258 h 1002"/>
                    <a:gd name="T12" fmla="*/ 1638 w 1770"/>
                    <a:gd name="T13" fmla="*/ 282 h 1002"/>
                    <a:gd name="T14" fmla="*/ 1770 w 1770"/>
                    <a:gd name="T15" fmla="*/ 372 h 1002"/>
                    <a:gd name="T16" fmla="*/ 1740 w 1770"/>
                    <a:gd name="T17" fmla="*/ 558 h 1002"/>
                    <a:gd name="T18" fmla="*/ 1590 w 1770"/>
                    <a:gd name="T19" fmla="*/ 660 h 1002"/>
                    <a:gd name="T20" fmla="*/ 1512 w 1770"/>
                    <a:gd name="T21" fmla="*/ 678 h 1002"/>
                    <a:gd name="T22" fmla="*/ 1410 w 1770"/>
                    <a:gd name="T23" fmla="*/ 744 h 1002"/>
                    <a:gd name="T24" fmla="*/ 1326 w 1770"/>
                    <a:gd name="T25" fmla="*/ 786 h 1002"/>
                    <a:gd name="T26" fmla="*/ 1296 w 1770"/>
                    <a:gd name="T27" fmla="*/ 828 h 1002"/>
                    <a:gd name="T28" fmla="*/ 1254 w 1770"/>
                    <a:gd name="T29" fmla="*/ 822 h 1002"/>
                    <a:gd name="T30" fmla="*/ 1230 w 1770"/>
                    <a:gd name="T31" fmla="*/ 822 h 1002"/>
                    <a:gd name="T32" fmla="*/ 1194 w 1770"/>
                    <a:gd name="T33" fmla="*/ 846 h 1002"/>
                    <a:gd name="T34" fmla="*/ 1158 w 1770"/>
                    <a:gd name="T35" fmla="*/ 858 h 1002"/>
                    <a:gd name="T36" fmla="*/ 1098 w 1770"/>
                    <a:gd name="T37" fmla="*/ 876 h 1002"/>
                    <a:gd name="T38" fmla="*/ 1062 w 1770"/>
                    <a:gd name="T39" fmla="*/ 864 h 1002"/>
                    <a:gd name="T40" fmla="*/ 924 w 1770"/>
                    <a:gd name="T41" fmla="*/ 840 h 1002"/>
                    <a:gd name="T42" fmla="*/ 900 w 1770"/>
                    <a:gd name="T43" fmla="*/ 822 h 1002"/>
                    <a:gd name="T44" fmla="*/ 870 w 1770"/>
                    <a:gd name="T45" fmla="*/ 834 h 1002"/>
                    <a:gd name="T46" fmla="*/ 846 w 1770"/>
                    <a:gd name="T47" fmla="*/ 852 h 1002"/>
                    <a:gd name="T48" fmla="*/ 816 w 1770"/>
                    <a:gd name="T49" fmla="*/ 858 h 1002"/>
                    <a:gd name="T50" fmla="*/ 816 w 1770"/>
                    <a:gd name="T51" fmla="*/ 882 h 1002"/>
                    <a:gd name="T52" fmla="*/ 816 w 1770"/>
                    <a:gd name="T53" fmla="*/ 918 h 1002"/>
                    <a:gd name="T54" fmla="*/ 786 w 1770"/>
                    <a:gd name="T55" fmla="*/ 954 h 1002"/>
                    <a:gd name="T56" fmla="*/ 762 w 1770"/>
                    <a:gd name="T57" fmla="*/ 984 h 1002"/>
                    <a:gd name="T58" fmla="*/ 666 w 1770"/>
                    <a:gd name="T59" fmla="*/ 990 h 1002"/>
                    <a:gd name="T60" fmla="*/ 672 w 1770"/>
                    <a:gd name="T61" fmla="*/ 840 h 1002"/>
                    <a:gd name="T62" fmla="*/ 732 w 1770"/>
                    <a:gd name="T63" fmla="*/ 774 h 1002"/>
                    <a:gd name="T64" fmla="*/ 642 w 1770"/>
                    <a:gd name="T65" fmla="*/ 666 h 1002"/>
                    <a:gd name="T66" fmla="*/ 546 w 1770"/>
                    <a:gd name="T67" fmla="*/ 582 h 1002"/>
                    <a:gd name="T68" fmla="*/ 426 w 1770"/>
                    <a:gd name="T69" fmla="*/ 624 h 1002"/>
                    <a:gd name="T70" fmla="*/ 324 w 1770"/>
                    <a:gd name="T71" fmla="*/ 660 h 1002"/>
                    <a:gd name="T72" fmla="*/ 192 w 1770"/>
                    <a:gd name="T73" fmla="*/ 642 h 1002"/>
                    <a:gd name="T74" fmla="*/ 30 w 1770"/>
                    <a:gd name="T75" fmla="*/ 624 h 1002"/>
                    <a:gd name="T76" fmla="*/ 24 w 1770"/>
                    <a:gd name="T77" fmla="*/ 534 h 1002"/>
                    <a:gd name="T78" fmla="*/ 90 w 1770"/>
                    <a:gd name="T79" fmla="*/ 384 h 1002"/>
                    <a:gd name="T80" fmla="*/ 150 w 1770"/>
                    <a:gd name="T81" fmla="*/ 234 h 1002"/>
                    <a:gd name="T82" fmla="*/ 108 w 1770"/>
                    <a:gd name="T83" fmla="*/ 102 h 1002"/>
                    <a:gd name="T84" fmla="*/ 246 w 1770"/>
                    <a:gd name="T85" fmla="*/ 78 h 1002"/>
                    <a:gd name="T86" fmla="*/ 450 w 1770"/>
                    <a:gd name="T87" fmla="*/ 102 h 1002"/>
                    <a:gd name="T88" fmla="*/ 660 w 1770"/>
                    <a:gd name="T89" fmla="*/ 138 h 1002"/>
                    <a:gd name="T90" fmla="*/ 780 w 1770"/>
                    <a:gd name="T91" fmla="*/ 54 h 1002"/>
                    <a:gd name="T92" fmla="*/ 918 w 1770"/>
                    <a:gd name="T93" fmla="*/ 0 h 10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770" h="1002">
                      <a:moveTo>
                        <a:pt x="630" y="972"/>
                      </a:moveTo>
                      <a:lnTo>
                        <a:pt x="630" y="972"/>
                      </a:lnTo>
                      <a:lnTo>
                        <a:pt x="630" y="972"/>
                      </a:lnTo>
                      <a:lnTo>
                        <a:pt x="630" y="972"/>
                      </a:lnTo>
                      <a:close/>
                      <a:moveTo>
                        <a:pt x="84" y="660"/>
                      </a:moveTo>
                      <a:lnTo>
                        <a:pt x="84" y="660"/>
                      </a:lnTo>
                      <a:lnTo>
                        <a:pt x="84" y="660"/>
                      </a:lnTo>
                      <a:lnTo>
                        <a:pt x="84" y="660"/>
                      </a:lnTo>
                      <a:close/>
                      <a:moveTo>
                        <a:pt x="1050" y="0"/>
                      </a:moveTo>
                      <a:lnTo>
                        <a:pt x="1116" y="0"/>
                      </a:lnTo>
                      <a:lnTo>
                        <a:pt x="1140" y="60"/>
                      </a:lnTo>
                      <a:lnTo>
                        <a:pt x="1122" y="114"/>
                      </a:lnTo>
                      <a:lnTo>
                        <a:pt x="1176" y="132"/>
                      </a:lnTo>
                      <a:lnTo>
                        <a:pt x="1248" y="186"/>
                      </a:lnTo>
                      <a:lnTo>
                        <a:pt x="1248" y="228"/>
                      </a:lnTo>
                      <a:lnTo>
                        <a:pt x="1314" y="258"/>
                      </a:lnTo>
                      <a:lnTo>
                        <a:pt x="1380" y="246"/>
                      </a:lnTo>
                      <a:lnTo>
                        <a:pt x="1452" y="258"/>
                      </a:lnTo>
                      <a:lnTo>
                        <a:pt x="1506" y="294"/>
                      </a:lnTo>
                      <a:lnTo>
                        <a:pt x="1584" y="288"/>
                      </a:lnTo>
                      <a:lnTo>
                        <a:pt x="1638" y="282"/>
                      </a:lnTo>
                      <a:lnTo>
                        <a:pt x="1692" y="306"/>
                      </a:lnTo>
                      <a:lnTo>
                        <a:pt x="1764" y="300"/>
                      </a:lnTo>
                      <a:lnTo>
                        <a:pt x="1770" y="372"/>
                      </a:lnTo>
                      <a:lnTo>
                        <a:pt x="1740" y="420"/>
                      </a:lnTo>
                      <a:lnTo>
                        <a:pt x="1740" y="510"/>
                      </a:lnTo>
                      <a:lnTo>
                        <a:pt x="1740" y="558"/>
                      </a:lnTo>
                      <a:lnTo>
                        <a:pt x="1680" y="588"/>
                      </a:lnTo>
                      <a:lnTo>
                        <a:pt x="1626" y="594"/>
                      </a:lnTo>
                      <a:lnTo>
                        <a:pt x="1590" y="660"/>
                      </a:lnTo>
                      <a:lnTo>
                        <a:pt x="1596" y="660"/>
                      </a:lnTo>
                      <a:lnTo>
                        <a:pt x="1554" y="672"/>
                      </a:lnTo>
                      <a:lnTo>
                        <a:pt x="1512" y="678"/>
                      </a:lnTo>
                      <a:lnTo>
                        <a:pt x="1476" y="690"/>
                      </a:lnTo>
                      <a:lnTo>
                        <a:pt x="1440" y="714"/>
                      </a:lnTo>
                      <a:lnTo>
                        <a:pt x="1410" y="744"/>
                      </a:lnTo>
                      <a:lnTo>
                        <a:pt x="1386" y="762"/>
                      </a:lnTo>
                      <a:lnTo>
                        <a:pt x="1356" y="774"/>
                      </a:lnTo>
                      <a:lnTo>
                        <a:pt x="1326" y="786"/>
                      </a:lnTo>
                      <a:lnTo>
                        <a:pt x="1314" y="798"/>
                      </a:lnTo>
                      <a:lnTo>
                        <a:pt x="1302" y="816"/>
                      </a:lnTo>
                      <a:lnTo>
                        <a:pt x="1296" y="828"/>
                      </a:lnTo>
                      <a:lnTo>
                        <a:pt x="1284" y="834"/>
                      </a:lnTo>
                      <a:lnTo>
                        <a:pt x="1266" y="834"/>
                      </a:lnTo>
                      <a:lnTo>
                        <a:pt x="1254" y="822"/>
                      </a:lnTo>
                      <a:lnTo>
                        <a:pt x="1242" y="816"/>
                      </a:lnTo>
                      <a:lnTo>
                        <a:pt x="1236" y="816"/>
                      </a:lnTo>
                      <a:lnTo>
                        <a:pt x="1230" y="822"/>
                      </a:lnTo>
                      <a:lnTo>
                        <a:pt x="1218" y="828"/>
                      </a:lnTo>
                      <a:lnTo>
                        <a:pt x="1212" y="834"/>
                      </a:lnTo>
                      <a:lnTo>
                        <a:pt x="1194" y="846"/>
                      </a:lnTo>
                      <a:lnTo>
                        <a:pt x="1176" y="846"/>
                      </a:lnTo>
                      <a:lnTo>
                        <a:pt x="1164" y="852"/>
                      </a:lnTo>
                      <a:lnTo>
                        <a:pt x="1158" y="858"/>
                      </a:lnTo>
                      <a:lnTo>
                        <a:pt x="1158" y="864"/>
                      </a:lnTo>
                      <a:lnTo>
                        <a:pt x="1104" y="888"/>
                      </a:lnTo>
                      <a:lnTo>
                        <a:pt x="1098" y="876"/>
                      </a:lnTo>
                      <a:lnTo>
                        <a:pt x="1092" y="870"/>
                      </a:lnTo>
                      <a:lnTo>
                        <a:pt x="1080" y="870"/>
                      </a:lnTo>
                      <a:lnTo>
                        <a:pt x="1062" y="864"/>
                      </a:lnTo>
                      <a:lnTo>
                        <a:pt x="954" y="846"/>
                      </a:lnTo>
                      <a:lnTo>
                        <a:pt x="936" y="846"/>
                      </a:lnTo>
                      <a:lnTo>
                        <a:pt x="924" y="840"/>
                      </a:lnTo>
                      <a:lnTo>
                        <a:pt x="918" y="834"/>
                      </a:lnTo>
                      <a:lnTo>
                        <a:pt x="912" y="828"/>
                      </a:lnTo>
                      <a:lnTo>
                        <a:pt x="900" y="822"/>
                      </a:lnTo>
                      <a:lnTo>
                        <a:pt x="888" y="822"/>
                      </a:lnTo>
                      <a:lnTo>
                        <a:pt x="876" y="828"/>
                      </a:lnTo>
                      <a:lnTo>
                        <a:pt x="870" y="834"/>
                      </a:lnTo>
                      <a:lnTo>
                        <a:pt x="864" y="840"/>
                      </a:lnTo>
                      <a:lnTo>
                        <a:pt x="858" y="846"/>
                      </a:lnTo>
                      <a:lnTo>
                        <a:pt x="846" y="852"/>
                      </a:lnTo>
                      <a:lnTo>
                        <a:pt x="834" y="852"/>
                      </a:lnTo>
                      <a:lnTo>
                        <a:pt x="822" y="852"/>
                      </a:lnTo>
                      <a:lnTo>
                        <a:pt x="816" y="858"/>
                      </a:lnTo>
                      <a:lnTo>
                        <a:pt x="810" y="864"/>
                      </a:lnTo>
                      <a:lnTo>
                        <a:pt x="810" y="876"/>
                      </a:lnTo>
                      <a:lnTo>
                        <a:pt x="816" y="882"/>
                      </a:lnTo>
                      <a:lnTo>
                        <a:pt x="816" y="894"/>
                      </a:lnTo>
                      <a:lnTo>
                        <a:pt x="822" y="906"/>
                      </a:lnTo>
                      <a:lnTo>
                        <a:pt x="816" y="918"/>
                      </a:lnTo>
                      <a:lnTo>
                        <a:pt x="810" y="930"/>
                      </a:lnTo>
                      <a:lnTo>
                        <a:pt x="798" y="942"/>
                      </a:lnTo>
                      <a:lnTo>
                        <a:pt x="786" y="954"/>
                      </a:lnTo>
                      <a:lnTo>
                        <a:pt x="774" y="966"/>
                      </a:lnTo>
                      <a:lnTo>
                        <a:pt x="768" y="978"/>
                      </a:lnTo>
                      <a:lnTo>
                        <a:pt x="762" y="984"/>
                      </a:lnTo>
                      <a:lnTo>
                        <a:pt x="756" y="1002"/>
                      </a:lnTo>
                      <a:lnTo>
                        <a:pt x="702" y="972"/>
                      </a:lnTo>
                      <a:lnTo>
                        <a:pt x="666" y="990"/>
                      </a:lnTo>
                      <a:lnTo>
                        <a:pt x="630" y="972"/>
                      </a:lnTo>
                      <a:lnTo>
                        <a:pt x="636" y="894"/>
                      </a:lnTo>
                      <a:lnTo>
                        <a:pt x="672" y="840"/>
                      </a:lnTo>
                      <a:lnTo>
                        <a:pt x="708" y="822"/>
                      </a:lnTo>
                      <a:lnTo>
                        <a:pt x="750" y="822"/>
                      </a:lnTo>
                      <a:lnTo>
                        <a:pt x="732" y="774"/>
                      </a:lnTo>
                      <a:lnTo>
                        <a:pt x="714" y="732"/>
                      </a:lnTo>
                      <a:lnTo>
                        <a:pt x="678" y="696"/>
                      </a:lnTo>
                      <a:lnTo>
                        <a:pt x="642" y="666"/>
                      </a:lnTo>
                      <a:lnTo>
                        <a:pt x="636" y="624"/>
                      </a:lnTo>
                      <a:lnTo>
                        <a:pt x="594" y="606"/>
                      </a:lnTo>
                      <a:lnTo>
                        <a:pt x="546" y="582"/>
                      </a:lnTo>
                      <a:lnTo>
                        <a:pt x="504" y="582"/>
                      </a:lnTo>
                      <a:lnTo>
                        <a:pt x="450" y="594"/>
                      </a:lnTo>
                      <a:lnTo>
                        <a:pt x="426" y="624"/>
                      </a:lnTo>
                      <a:lnTo>
                        <a:pt x="426" y="624"/>
                      </a:lnTo>
                      <a:lnTo>
                        <a:pt x="372" y="636"/>
                      </a:lnTo>
                      <a:lnTo>
                        <a:pt x="324" y="660"/>
                      </a:lnTo>
                      <a:lnTo>
                        <a:pt x="270" y="678"/>
                      </a:lnTo>
                      <a:lnTo>
                        <a:pt x="210" y="678"/>
                      </a:lnTo>
                      <a:lnTo>
                        <a:pt x="192" y="642"/>
                      </a:lnTo>
                      <a:lnTo>
                        <a:pt x="138" y="630"/>
                      </a:lnTo>
                      <a:lnTo>
                        <a:pt x="84" y="660"/>
                      </a:lnTo>
                      <a:lnTo>
                        <a:pt x="30" y="624"/>
                      </a:lnTo>
                      <a:lnTo>
                        <a:pt x="0" y="594"/>
                      </a:lnTo>
                      <a:lnTo>
                        <a:pt x="24" y="534"/>
                      </a:lnTo>
                      <a:lnTo>
                        <a:pt x="24" y="534"/>
                      </a:lnTo>
                      <a:lnTo>
                        <a:pt x="54" y="504"/>
                      </a:lnTo>
                      <a:lnTo>
                        <a:pt x="48" y="456"/>
                      </a:lnTo>
                      <a:lnTo>
                        <a:pt x="90" y="384"/>
                      </a:lnTo>
                      <a:lnTo>
                        <a:pt x="114" y="336"/>
                      </a:lnTo>
                      <a:lnTo>
                        <a:pt x="168" y="294"/>
                      </a:lnTo>
                      <a:lnTo>
                        <a:pt x="150" y="234"/>
                      </a:lnTo>
                      <a:lnTo>
                        <a:pt x="114" y="192"/>
                      </a:lnTo>
                      <a:lnTo>
                        <a:pt x="108" y="150"/>
                      </a:lnTo>
                      <a:lnTo>
                        <a:pt x="108" y="102"/>
                      </a:lnTo>
                      <a:lnTo>
                        <a:pt x="108" y="102"/>
                      </a:lnTo>
                      <a:lnTo>
                        <a:pt x="198" y="72"/>
                      </a:lnTo>
                      <a:lnTo>
                        <a:pt x="246" y="78"/>
                      </a:lnTo>
                      <a:lnTo>
                        <a:pt x="282" y="66"/>
                      </a:lnTo>
                      <a:lnTo>
                        <a:pt x="378" y="78"/>
                      </a:lnTo>
                      <a:lnTo>
                        <a:pt x="450" y="102"/>
                      </a:lnTo>
                      <a:lnTo>
                        <a:pt x="528" y="96"/>
                      </a:lnTo>
                      <a:lnTo>
                        <a:pt x="588" y="138"/>
                      </a:lnTo>
                      <a:lnTo>
                        <a:pt x="660" y="138"/>
                      </a:lnTo>
                      <a:lnTo>
                        <a:pt x="744" y="144"/>
                      </a:lnTo>
                      <a:lnTo>
                        <a:pt x="780" y="120"/>
                      </a:lnTo>
                      <a:lnTo>
                        <a:pt x="780" y="54"/>
                      </a:lnTo>
                      <a:lnTo>
                        <a:pt x="846" y="18"/>
                      </a:lnTo>
                      <a:lnTo>
                        <a:pt x="846" y="18"/>
                      </a:lnTo>
                      <a:lnTo>
                        <a:pt x="918" y="0"/>
                      </a:lnTo>
                      <a:lnTo>
                        <a:pt x="984" y="0"/>
                      </a:lnTo>
                      <a:lnTo>
                        <a:pt x="105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8" name="Freeform 18">
                  <a:extLst>
                    <a:ext uri="{FF2B5EF4-FFF2-40B4-BE49-F238E27FC236}">
                      <a16:creationId xmlns:a16="http://schemas.microsoft.com/office/drawing/2014/main" id="{477751FB-8F96-4F3E-8ED9-8BA8BE49DE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5" y="-2166"/>
                  <a:ext cx="402" cy="258"/>
                </a:xfrm>
                <a:custGeom>
                  <a:avLst/>
                  <a:gdLst>
                    <a:gd name="T0" fmla="*/ 138 w 402"/>
                    <a:gd name="T1" fmla="*/ 0 h 258"/>
                    <a:gd name="T2" fmla="*/ 144 w 402"/>
                    <a:gd name="T3" fmla="*/ 6 h 258"/>
                    <a:gd name="T4" fmla="*/ 156 w 402"/>
                    <a:gd name="T5" fmla="*/ 18 h 258"/>
                    <a:gd name="T6" fmla="*/ 168 w 402"/>
                    <a:gd name="T7" fmla="*/ 24 h 258"/>
                    <a:gd name="T8" fmla="*/ 180 w 402"/>
                    <a:gd name="T9" fmla="*/ 24 h 258"/>
                    <a:gd name="T10" fmla="*/ 192 w 402"/>
                    <a:gd name="T11" fmla="*/ 24 h 258"/>
                    <a:gd name="T12" fmla="*/ 204 w 402"/>
                    <a:gd name="T13" fmla="*/ 24 h 258"/>
                    <a:gd name="T14" fmla="*/ 222 w 402"/>
                    <a:gd name="T15" fmla="*/ 30 h 258"/>
                    <a:gd name="T16" fmla="*/ 234 w 402"/>
                    <a:gd name="T17" fmla="*/ 36 h 258"/>
                    <a:gd name="T18" fmla="*/ 252 w 402"/>
                    <a:gd name="T19" fmla="*/ 42 h 258"/>
                    <a:gd name="T20" fmla="*/ 270 w 402"/>
                    <a:gd name="T21" fmla="*/ 54 h 258"/>
                    <a:gd name="T22" fmla="*/ 282 w 402"/>
                    <a:gd name="T23" fmla="*/ 66 h 258"/>
                    <a:gd name="T24" fmla="*/ 288 w 402"/>
                    <a:gd name="T25" fmla="*/ 84 h 258"/>
                    <a:gd name="T26" fmla="*/ 294 w 402"/>
                    <a:gd name="T27" fmla="*/ 96 h 258"/>
                    <a:gd name="T28" fmla="*/ 300 w 402"/>
                    <a:gd name="T29" fmla="*/ 108 h 258"/>
                    <a:gd name="T30" fmla="*/ 312 w 402"/>
                    <a:gd name="T31" fmla="*/ 114 h 258"/>
                    <a:gd name="T32" fmla="*/ 324 w 402"/>
                    <a:gd name="T33" fmla="*/ 114 h 258"/>
                    <a:gd name="T34" fmla="*/ 336 w 402"/>
                    <a:gd name="T35" fmla="*/ 114 h 258"/>
                    <a:gd name="T36" fmla="*/ 348 w 402"/>
                    <a:gd name="T37" fmla="*/ 108 h 258"/>
                    <a:gd name="T38" fmla="*/ 360 w 402"/>
                    <a:gd name="T39" fmla="*/ 102 h 258"/>
                    <a:gd name="T40" fmla="*/ 372 w 402"/>
                    <a:gd name="T41" fmla="*/ 96 h 258"/>
                    <a:gd name="T42" fmla="*/ 378 w 402"/>
                    <a:gd name="T43" fmla="*/ 102 h 258"/>
                    <a:gd name="T44" fmla="*/ 390 w 402"/>
                    <a:gd name="T45" fmla="*/ 108 h 258"/>
                    <a:gd name="T46" fmla="*/ 396 w 402"/>
                    <a:gd name="T47" fmla="*/ 120 h 258"/>
                    <a:gd name="T48" fmla="*/ 402 w 402"/>
                    <a:gd name="T49" fmla="*/ 132 h 258"/>
                    <a:gd name="T50" fmla="*/ 402 w 402"/>
                    <a:gd name="T51" fmla="*/ 144 h 258"/>
                    <a:gd name="T52" fmla="*/ 402 w 402"/>
                    <a:gd name="T53" fmla="*/ 156 h 258"/>
                    <a:gd name="T54" fmla="*/ 396 w 402"/>
                    <a:gd name="T55" fmla="*/ 168 h 258"/>
                    <a:gd name="T56" fmla="*/ 384 w 402"/>
                    <a:gd name="T57" fmla="*/ 174 h 258"/>
                    <a:gd name="T58" fmla="*/ 372 w 402"/>
                    <a:gd name="T59" fmla="*/ 180 h 258"/>
                    <a:gd name="T60" fmla="*/ 354 w 402"/>
                    <a:gd name="T61" fmla="*/ 180 h 258"/>
                    <a:gd name="T62" fmla="*/ 336 w 402"/>
                    <a:gd name="T63" fmla="*/ 174 h 258"/>
                    <a:gd name="T64" fmla="*/ 288 w 402"/>
                    <a:gd name="T65" fmla="*/ 174 h 258"/>
                    <a:gd name="T66" fmla="*/ 246 w 402"/>
                    <a:gd name="T67" fmla="*/ 192 h 258"/>
                    <a:gd name="T68" fmla="*/ 216 w 402"/>
                    <a:gd name="T69" fmla="*/ 210 h 258"/>
                    <a:gd name="T70" fmla="*/ 198 w 402"/>
                    <a:gd name="T71" fmla="*/ 222 h 258"/>
                    <a:gd name="T72" fmla="*/ 180 w 402"/>
                    <a:gd name="T73" fmla="*/ 240 h 258"/>
                    <a:gd name="T74" fmla="*/ 156 w 402"/>
                    <a:gd name="T75" fmla="*/ 258 h 258"/>
                    <a:gd name="T76" fmla="*/ 120 w 402"/>
                    <a:gd name="T77" fmla="*/ 258 h 258"/>
                    <a:gd name="T78" fmla="*/ 96 w 402"/>
                    <a:gd name="T79" fmla="*/ 252 h 258"/>
                    <a:gd name="T80" fmla="*/ 90 w 402"/>
                    <a:gd name="T81" fmla="*/ 228 h 258"/>
                    <a:gd name="T82" fmla="*/ 90 w 402"/>
                    <a:gd name="T83" fmla="*/ 198 h 258"/>
                    <a:gd name="T84" fmla="*/ 90 w 402"/>
                    <a:gd name="T85" fmla="*/ 168 h 258"/>
                    <a:gd name="T86" fmla="*/ 90 w 402"/>
                    <a:gd name="T87" fmla="*/ 144 h 258"/>
                    <a:gd name="T88" fmla="*/ 78 w 402"/>
                    <a:gd name="T89" fmla="*/ 132 h 258"/>
                    <a:gd name="T90" fmla="*/ 66 w 402"/>
                    <a:gd name="T91" fmla="*/ 132 h 258"/>
                    <a:gd name="T92" fmla="*/ 48 w 402"/>
                    <a:gd name="T93" fmla="*/ 132 h 258"/>
                    <a:gd name="T94" fmla="*/ 30 w 402"/>
                    <a:gd name="T95" fmla="*/ 132 h 258"/>
                    <a:gd name="T96" fmla="*/ 18 w 402"/>
                    <a:gd name="T97" fmla="*/ 132 h 258"/>
                    <a:gd name="T98" fmla="*/ 6 w 402"/>
                    <a:gd name="T99" fmla="*/ 132 h 258"/>
                    <a:gd name="T100" fmla="*/ 0 w 402"/>
                    <a:gd name="T101" fmla="*/ 120 h 258"/>
                    <a:gd name="T102" fmla="*/ 0 w 402"/>
                    <a:gd name="T103" fmla="*/ 108 h 258"/>
                    <a:gd name="T104" fmla="*/ 6 w 402"/>
                    <a:gd name="T105" fmla="*/ 96 h 258"/>
                    <a:gd name="T106" fmla="*/ 18 w 402"/>
                    <a:gd name="T107" fmla="*/ 90 h 258"/>
                    <a:gd name="T108" fmla="*/ 30 w 402"/>
                    <a:gd name="T109" fmla="*/ 78 h 258"/>
                    <a:gd name="T110" fmla="*/ 48 w 402"/>
                    <a:gd name="T111" fmla="*/ 72 h 258"/>
                    <a:gd name="T112" fmla="*/ 60 w 402"/>
                    <a:gd name="T113" fmla="*/ 60 h 258"/>
                    <a:gd name="T114" fmla="*/ 78 w 402"/>
                    <a:gd name="T115" fmla="*/ 54 h 258"/>
                    <a:gd name="T116" fmla="*/ 84 w 402"/>
                    <a:gd name="T117" fmla="*/ 48 h 258"/>
                    <a:gd name="T118" fmla="*/ 84 w 402"/>
                    <a:gd name="T119" fmla="*/ 36 h 258"/>
                    <a:gd name="T120" fmla="*/ 84 w 402"/>
                    <a:gd name="T121" fmla="*/ 24 h 258"/>
                    <a:gd name="T122" fmla="*/ 138 w 402"/>
                    <a:gd name="T123" fmla="*/ 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02" h="258">
                      <a:moveTo>
                        <a:pt x="138" y="0"/>
                      </a:moveTo>
                      <a:lnTo>
                        <a:pt x="144" y="6"/>
                      </a:lnTo>
                      <a:lnTo>
                        <a:pt x="156" y="18"/>
                      </a:lnTo>
                      <a:lnTo>
                        <a:pt x="168" y="24"/>
                      </a:lnTo>
                      <a:lnTo>
                        <a:pt x="180" y="24"/>
                      </a:lnTo>
                      <a:lnTo>
                        <a:pt x="192" y="24"/>
                      </a:lnTo>
                      <a:lnTo>
                        <a:pt x="204" y="24"/>
                      </a:lnTo>
                      <a:lnTo>
                        <a:pt x="222" y="30"/>
                      </a:lnTo>
                      <a:lnTo>
                        <a:pt x="234" y="36"/>
                      </a:lnTo>
                      <a:lnTo>
                        <a:pt x="252" y="42"/>
                      </a:lnTo>
                      <a:lnTo>
                        <a:pt x="270" y="54"/>
                      </a:lnTo>
                      <a:lnTo>
                        <a:pt x="282" y="66"/>
                      </a:lnTo>
                      <a:lnTo>
                        <a:pt x="288" y="84"/>
                      </a:lnTo>
                      <a:lnTo>
                        <a:pt x="294" y="96"/>
                      </a:lnTo>
                      <a:lnTo>
                        <a:pt x="300" y="108"/>
                      </a:lnTo>
                      <a:lnTo>
                        <a:pt x="312" y="114"/>
                      </a:lnTo>
                      <a:lnTo>
                        <a:pt x="324" y="114"/>
                      </a:lnTo>
                      <a:lnTo>
                        <a:pt x="336" y="114"/>
                      </a:lnTo>
                      <a:lnTo>
                        <a:pt x="348" y="108"/>
                      </a:lnTo>
                      <a:lnTo>
                        <a:pt x="360" y="102"/>
                      </a:lnTo>
                      <a:lnTo>
                        <a:pt x="372" y="96"/>
                      </a:lnTo>
                      <a:lnTo>
                        <a:pt x="378" y="102"/>
                      </a:lnTo>
                      <a:lnTo>
                        <a:pt x="390" y="108"/>
                      </a:lnTo>
                      <a:lnTo>
                        <a:pt x="396" y="120"/>
                      </a:lnTo>
                      <a:lnTo>
                        <a:pt x="402" y="132"/>
                      </a:lnTo>
                      <a:lnTo>
                        <a:pt x="402" y="144"/>
                      </a:lnTo>
                      <a:lnTo>
                        <a:pt x="402" y="156"/>
                      </a:lnTo>
                      <a:lnTo>
                        <a:pt x="396" y="168"/>
                      </a:lnTo>
                      <a:lnTo>
                        <a:pt x="384" y="174"/>
                      </a:lnTo>
                      <a:lnTo>
                        <a:pt x="372" y="180"/>
                      </a:lnTo>
                      <a:lnTo>
                        <a:pt x="354" y="180"/>
                      </a:lnTo>
                      <a:lnTo>
                        <a:pt x="336" y="174"/>
                      </a:lnTo>
                      <a:lnTo>
                        <a:pt x="288" y="174"/>
                      </a:lnTo>
                      <a:lnTo>
                        <a:pt x="246" y="192"/>
                      </a:lnTo>
                      <a:lnTo>
                        <a:pt x="216" y="210"/>
                      </a:lnTo>
                      <a:lnTo>
                        <a:pt x="198" y="222"/>
                      </a:lnTo>
                      <a:lnTo>
                        <a:pt x="180" y="240"/>
                      </a:lnTo>
                      <a:lnTo>
                        <a:pt x="156" y="258"/>
                      </a:lnTo>
                      <a:lnTo>
                        <a:pt x="120" y="258"/>
                      </a:lnTo>
                      <a:lnTo>
                        <a:pt x="96" y="252"/>
                      </a:lnTo>
                      <a:lnTo>
                        <a:pt x="90" y="228"/>
                      </a:lnTo>
                      <a:lnTo>
                        <a:pt x="90" y="198"/>
                      </a:lnTo>
                      <a:lnTo>
                        <a:pt x="90" y="168"/>
                      </a:lnTo>
                      <a:lnTo>
                        <a:pt x="90" y="144"/>
                      </a:lnTo>
                      <a:lnTo>
                        <a:pt x="78" y="132"/>
                      </a:lnTo>
                      <a:lnTo>
                        <a:pt x="66" y="132"/>
                      </a:lnTo>
                      <a:lnTo>
                        <a:pt x="48" y="132"/>
                      </a:lnTo>
                      <a:lnTo>
                        <a:pt x="30" y="132"/>
                      </a:lnTo>
                      <a:lnTo>
                        <a:pt x="18" y="132"/>
                      </a:lnTo>
                      <a:lnTo>
                        <a:pt x="6" y="132"/>
                      </a:lnTo>
                      <a:lnTo>
                        <a:pt x="0" y="120"/>
                      </a:lnTo>
                      <a:lnTo>
                        <a:pt x="0" y="108"/>
                      </a:lnTo>
                      <a:lnTo>
                        <a:pt x="6" y="96"/>
                      </a:lnTo>
                      <a:lnTo>
                        <a:pt x="18" y="90"/>
                      </a:lnTo>
                      <a:lnTo>
                        <a:pt x="30" y="78"/>
                      </a:lnTo>
                      <a:lnTo>
                        <a:pt x="48" y="72"/>
                      </a:lnTo>
                      <a:lnTo>
                        <a:pt x="60" y="60"/>
                      </a:lnTo>
                      <a:lnTo>
                        <a:pt x="78" y="54"/>
                      </a:lnTo>
                      <a:lnTo>
                        <a:pt x="84" y="48"/>
                      </a:lnTo>
                      <a:lnTo>
                        <a:pt x="84" y="36"/>
                      </a:lnTo>
                      <a:lnTo>
                        <a:pt x="84" y="24"/>
                      </a:lnTo>
                      <a:lnTo>
                        <a:pt x="13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59" name="Freeform 19">
                  <a:extLst>
                    <a:ext uri="{FF2B5EF4-FFF2-40B4-BE49-F238E27FC236}">
                      <a16:creationId xmlns:a16="http://schemas.microsoft.com/office/drawing/2014/main" id="{A65F9A89-9F3D-4C02-9482-BCEC1C9E2C3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61" y="-2448"/>
                  <a:ext cx="324" cy="396"/>
                </a:xfrm>
                <a:custGeom>
                  <a:avLst/>
                  <a:gdLst>
                    <a:gd name="T0" fmla="*/ 0 w 324"/>
                    <a:gd name="T1" fmla="*/ 42 h 396"/>
                    <a:gd name="T2" fmla="*/ 0 w 324"/>
                    <a:gd name="T3" fmla="*/ 42 h 396"/>
                    <a:gd name="T4" fmla="*/ 0 w 324"/>
                    <a:gd name="T5" fmla="*/ 42 h 396"/>
                    <a:gd name="T6" fmla="*/ 0 w 324"/>
                    <a:gd name="T7" fmla="*/ 42 h 396"/>
                    <a:gd name="T8" fmla="*/ 78 w 324"/>
                    <a:gd name="T9" fmla="*/ 0 h 396"/>
                    <a:gd name="T10" fmla="*/ 120 w 324"/>
                    <a:gd name="T11" fmla="*/ 0 h 396"/>
                    <a:gd name="T12" fmla="*/ 168 w 324"/>
                    <a:gd name="T13" fmla="*/ 24 h 396"/>
                    <a:gd name="T14" fmla="*/ 210 w 324"/>
                    <a:gd name="T15" fmla="*/ 42 h 396"/>
                    <a:gd name="T16" fmla="*/ 216 w 324"/>
                    <a:gd name="T17" fmla="*/ 84 h 396"/>
                    <a:gd name="T18" fmla="*/ 252 w 324"/>
                    <a:gd name="T19" fmla="*/ 114 h 396"/>
                    <a:gd name="T20" fmla="*/ 288 w 324"/>
                    <a:gd name="T21" fmla="*/ 150 h 396"/>
                    <a:gd name="T22" fmla="*/ 306 w 324"/>
                    <a:gd name="T23" fmla="*/ 192 h 396"/>
                    <a:gd name="T24" fmla="*/ 324 w 324"/>
                    <a:gd name="T25" fmla="*/ 240 h 396"/>
                    <a:gd name="T26" fmla="*/ 282 w 324"/>
                    <a:gd name="T27" fmla="*/ 240 h 396"/>
                    <a:gd name="T28" fmla="*/ 246 w 324"/>
                    <a:gd name="T29" fmla="*/ 258 h 396"/>
                    <a:gd name="T30" fmla="*/ 210 w 324"/>
                    <a:gd name="T31" fmla="*/ 312 h 396"/>
                    <a:gd name="T32" fmla="*/ 204 w 324"/>
                    <a:gd name="T33" fmla="*/ 390 h 396"/>
                    <a:gd name="T34" fmla="*/ 204 w 324"/>
                    <a:gd name="T35" fmla="*/ 390 h 396"/>
                    <a:gd name="T36" fmla="*/ 162 w 324"/>
                    <a:gd name="T37" fmla="*/ 396 h 396"/>
                    <a:gd name="T38" fmla="*/ 144 w 324"/>
                    <a:gd name="T39" fmla="*/ 372 h 396"/>
                    <a:gd name="T40" fmla="*/ 150 w 324"/>
                    <a:gd name="T41" fmla="*/ 324 h 396"/>
                    <a:gd name="T42" fmla="*/ 120 w 324"/>
                    <a:gd name="T43" fmla="*/ 276 h 396"/>
                    <a:gd name="T44" fmla="*/ 132 w 324"/>
                    <a:gd name="T45" fmla="*/ 240 h 396"/>
                    <a:gd name="T46" fmla="*/ 126 w 324"/>
                    <a:gd name="T47" fmla="*/ 204 h 396"/>
                    <a:gd name="T48" fmla="*/ 132 w 324"/>
                    <a:gd name="T49" fmla="*/ 162 h 396"/>
                    <a:gd name="T50" fmla="*/ 108 w 324"/>
                    <a:gd name="T51" fmla="*/ 138 h 396"/>
                    <a:gd name="T52" fmla="*/ 78 w 324"/>
                    <a:gd name="T53" fmla="*/ 102 h 396"/>
                    <a:gd name="T54" fmla="*/ 42 w 324"/>
                    <a:gd name="T55" fmla="*/ 54 h 396"/>
                    <a:gd name="T56" fmla="*/ 0 w 324"/>
                    <a:gd name="T57" fmla="*/ 42 h 396"/>
                    <a:gd name="T58" fmla="*/ 24 w 324"/>
                    <a:gd name="T59" fmla="*/ 12 h 396"/>
                    <a:gd name="T60" fmla="*/ 78 w 324"/>
                    <a:gd name="T61" fmla="*/ 0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324" h="396">
                      <a:moveTo>
                        <a:pt x="0" y="42"/>
                      </a:move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0" y="42"/>
                      </a:lnTo>
                      <a:close/>
                      <a:moveTo>
                        <a:pt x="78" y="0"/>
                      </a:moveTo>
                      <a:lnTo>
                        <a:pt x="120" y="0"/>
                      </a:lnTo>
                      <a:lnTo>
                        <a:pt x="168" y="24"/>
                      </a:lnTo>
                      <a:lnTo>
                        <a:pt x="210" y="42"/>
                      </a:lnTo>
                      <a:lnTo>
                        <a:pt x="216" y="84"/>
                      </a:lnTo>
                      <a:lnTo>
                        <a:pt x="252" y="114"/>
                      </a:lnTo>
                      <a:lnTo>
                        <a:pt x="288" y="150"/>
                      </a:lnTo>
                      <a:lnTo>
                        <a:pt x="306" y="192"/>
                      </a:lnTo>
                      <a:lnTo>
                        <a:pt x="324" y="240"/>
                      </a:lnTo>
                      <a:lnTo>
                        <a:pt x="282" y="240"/>
                      </a:lnTo>
                      <a:lnTo>
                        <a:pt x="246" y="258"/>
                      </a:lnTo>
                      <a:lnTo>
                        <a:pt x="210" y="312"/>
                      </a:lnTo>
                      <a:lnTo>
                        <a:pt x="204" y="390"/>
                      </a:lnTo>
                      <a:lnTo>
                        <a:pt x="204" y="390"/>
                      </a:lnTo>
                      <a:lnTo>
                        <a:pt x="162" y="396"/>
                      </a:lnTo>
                      <a:lnTo>
                        <a:pt x="144" y="372"/>
                      </a:lnTo>
                      <a:lnTo>
                        <a:pt x="150" y="324"/>
                      </a:lnTo>
                      <a:lnTo>
                        <a:pt x="120" y="276"/>
                      </a:lnTo>
                      <a:lnTo>
                        <a:pt x="132" y="240"/>
                      </a:lnTo>
                      <a:lnTo>
                        <a:pt x="126" y="204"/>
                      </a:lnTo>
                      <a:lnTo>
                        <a:pt x="132" y="162"/>
                      </a:lnTo>
                      <a:lnTo>
                        <a:pt x="108" y="138"/>
                      </a:lnTo>
                      <a:lnTo>
                        <a:pt x="78" y="102"/>
                      </a:lnTo>
                      <a:lnTo>
                        <a:pt x="42" y="54"/>
                      </a:lnTo>
                      <a:lnTo>
                        <a:pt x="0" y="42"/>
                      </a:lnTo>
                      <a:lnTo>
                        <a:pt x="24" y="12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0" name="Freeform 20">
                  <a:extLst>
                    <a:ext uri="{FF2B5EF4-FFF2-40B4-BE49-F238E27FC236}">
                      <a16:creationId xmlns:a16="http://schemas.microsoft.com/office/drawing/2014/main" id="{34F68386-1E02-4787-A809-914623072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71" y="-2580"/>
                  <a:ext cx="588" cy="258"/>
                </a:xfrm>
                <a:custGeom>
                  <a:avLst/>
                  <a:gdLst>
                    <a:gd name="T0" fmla="*/ 504 w 588"/>
                    <a:gd name="T1" fmla="*/ 0 h 258"/>
                    <a:gd name="T2" fmla="*/ 534 w 588"/>
                    <a:gd name="T3" fmla="*/ 42 h 258"/>
                    <a:gd name="T4" fmla="*/ 576 w 588"/>
                    <a:gd name="T5" fmla="*/ 72 h 258"/>
                    <a:gd name="T6" fmla="*/ 588 w 588"/>
                    <a:gd name="T7" fmla="*/ 84 h 258"/>
                    <a:gd name="T8" fmla="*/ 564 w 588"/>
                    <a:gd name="T9" fmla="*/ 144 h 258"/>
                    <a:gd name="T10" fmla="*/ 492 w 588"/>
                    <a:gd name="T11" fmla="*/ 174 h 258"/>
                    <a:gd name="T12" fmla="*/ 462 w 588"/>
                    <a:gd name="T13" fmla="*/ 156 h 258"/>
                    <a:gd name="T14" fmla="*/ 420 w 588"/>
                    <a:gd name="T15" fmla="*/ 198 h 258"/>
                    <a:gd name="T16" fmla="*/ 360 w 588"/>
                    <a:gd name="T17" fmla="*/ 186 h 258"/>
                    <a:gd name="T18" fmla="*/ 324 w 588"/>
                    <a:gd name="T19" fmla="*/ 222 h 258"/>
                    <a:gd name="T20" fmla="*/ 270 w 588"/>
                    <a:gd name="T21" fmla="*/ 240 h 258"/>
                    <a:gd name="T22" fmla="*/ 228 w 588"/>
                    <a:gd name="T23" fmla="*/ 258 h 258"/>
                    <a:gd name="T24" fmla="*/ 168 w 588"/>
                    <a:gd name="T25" fmla="*/ 258 h 258"/>
                    <a:gd name="T26" fmla="*/ 120 w 588"/>
                    <a:gd name="T27" fmla="*/ 240 h 258"/>
                    <a:gd name="T28" fmla="*/ 66 w 588"/>
                    <a:gd name="T29" fmla="*/ 246 h 258"/>
                    <a:gd name="T30" fmla="*/ 66 w 588"/>
                    <a:gd name="T31" fmla="*/ 246 h 258"/>
                    <a:gd name="T32" fmla="*/ 48 w 588"/>
                    <a:gd name="T33" fmla="*/ 216 h 258"/>
                    <a:gd name="T34" fmla="*/ 12 w 588"/>
                    <a:gd name="T35" fmla="*/ 192 h 258"/>
                    <a:gd name="T36" fmla="*/ 0 w 588"/>
                    <a:gd name="T37" fmla="*/ 138 h 258"/>
                    <a:gd name="T38" fmla="*/ 0 w 588"/>
                    <a:gd name="T39" fmla="*/ 138 h 258"/>
                    <a:gd name="T40" fmla="*/ 54 w 588"/>
                    <a:gd name="T41" fmla="*/ 114 h 258"/>
                    <a:gd name="T42" fmla="*/ 102 w 588"/>
                    <a:gd name="T43" fmla="*/ 120 h 258"/>
                    <a:gd name="T44" fmla="*/ 138 w 588"/>
                    <a:gd name="T45" fmla="*/ 90 h 258"/>
                    <a:gd name="T46" fmla="*/ 156 w 588"/>
                    <a:gd name="T47" fmla="*/ 54 h 258"/>
                    <a:gd name="T48" fmla="*/ 198 w 588"/>
                    <a:gd name="T49" fmla="*/ 30 h 258"/>
                    <a:gd name="T50" fmla="*/ 222 w 588"/>
                    <a:gd name="T51" fmla="*/ 12 h 258"/>
                    <a:gd name="T52" fmla="*/ 282 w 588"/>
                    <a:gd name="T53" fmla="*/ 18 h 258"/>
                    <a:gd name="T54" fmla="*/ 336 w 588"/>
                    <a:gd name="T55" fmla="*/ 72 h 258"/>
                    <a:gd name="T56" fmla="*/ 384 w 588"/>
                    <a:gd name="T57" fmla="*/ 54 h 258"/>
                    <a:gd name="T58" fmla="*/ 420 w 588"/>
                    <a:gd name="T59" fmla="*/ 18 h 258"/>
                    <a:gd name="T60" fmla="*/ 474 w 588"/>
                    <a:gd name="T61" fmla="*/ 6 h 258"/>
                    <a:gd name="T62" fmla="*/ 504 w 588"/>
                    <a:gd name="T63" fmla="*/ 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88" h="258">
                      <a:moveTo>
                        <a:pt x="504" y="0"/>
                      </a:moveTo>
                      <a:lnTo>
                        <a:pt x="534" y="42"/>
                      </a:lnTo>
                      <a:lnTo>
                        <a:pt x="576" y="72"/>
                      </a:lnTo>
                      <a:lnTo>
                        <a:pt x="588" y="84"/>
                      </a:lnTo>
                      <a:lnTo>
                        <a:pt x="564" y="144"/>
                      </a:lnTo>
                      <a:lnTo>
                        <a:pt x="492" y="174"/>
                      </a:lnTo>
                      <a:lnTo>
                        <a:pt x="462" y="156"/>
                      </a:lnTo>
                      <a:lnTo>
                        <a:pt x="420" y="198"/>
                      </a:lnTo>
                      <a:lnTo>
                        <a:pt x="360" y="186"/>
                      </a:lnTo>
                      <a:lnTo>
                        <a:pt x="324" y="222"/>
                      </a:lnTo>
                      <a:lnTo>
                        <a:pt x="270" y="240"/>
                      </a:lnTo>
                      <a:lnTo>
                        <a:pt x="228" y="258"/>
                      </a:lnTo>
                      <a:lnTo>
                        <a:pt x="168" y="258"/>
                      </a:lnTo>
                      <a:lnTo>
                        <a:pt x="120" y="240"/>
                      </a:lnTo>
                      <a:lnTo>
                        <a:pt x="66" y="246"/>
                      </a:lnTo>
                      <a:lnTo>
                        <a:pt x="66" y="246"/>
                      </a:lnTo>
                      <a:lnTo>
                        <a:pt x="48" y="216"/>
                      </a:lnTo>
                      <a:lnTo>
                        <a:pt x="12" y="192"/>
                      </a:lnTo>
                      <a:lnTo>
                        <a:pt x="0" y="138"/>
                      </a:lnTo>
                      <a:lnTo>
                        <a:pt x="0" y="138"/>
                      </a:lnTo>
                      <a:lnTo>
                        <a:pt x="54" y="114"/>
                      </a:lnTo>
                      <a:lnTo>
                        <a:pt x="102" y="120"/>
                      </a:lnTo>
                      <a:lnTo>
                        <a:pt x="138" y="90"/>
                      </a:lnTo>
                      <a:lnTo>
                        <a:pt x="156" y="54"/>
                      </a:lnTo>
                      <a:lnTo>
                        <a:pt x="198" y="30"/>
                      </a:lnTo>
                      <a:lnTo>
                        <a:pt x="222" y="12"/>
                      </a:lnTo>
                      <a:lnTo>
                        <a:pt x="282" y="18"/>
                      </a:lnTo>
                      <a:lnTo>
                        <a:pt x="336" y="72"/>
                      </a:lnTo>
                      <a:lnTo>
                        <a:pt x="384" y="54"/>
                      </a:lnTo>
                      <a:lnTo>
                        <a:pt x="420" y="18"/>
                      </a:lnTo>
                      <a:lnTo>
                        <a:pt x="474" y="6"/>
                      </a:lnTo>
                      <a:lnTo>
                        <a:pt x="50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1" name="Freeform 21">
                  <a:extLst>
                    <a:ext uri="{FF2B5EF4-FFF2-40B4-BE49-F238E27FC236}">
                      <a16:creationId xmlns:a16="http://schemas.microsoft.com/office/drawing/2014/main" id="{2ECB1C69-AE50-4C54-A6B7-2D8DCF64D5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3" y="-2796"/>
                  <a:ext cx="690" cy="354"/>
                </a:xfrm>
                <a:custGeom>
                  <a:avLst/>
                  <a:gdLst>
                    <a:gd name="T0" fmla="*/ 312 w 690"/>
                    <a:gd name="T1" fmla="*/ 0 h 354"/>
                    <a:gd name="T2" fmla="*/ 330 w 690"/>
                    <a:gd name="T3" fmla="*/ 36 h 354"/>
                    <a:gd name="T4" fmla="*/ 384 w 690"/>
                    <a:gd name="T5" fmla="*/ 30 h 354"/>
                    <a:gd name="T6" fmla="*/ 420 w 690"/>
                    <a:gd name="T7" fmla="*/ 66 h 354"/>
                    <a:gd name="T8" fmla="*/ 468 w 690"/>
                    <a:gd name="T9" fmla="*/ 60 h 354"/>
                    <a:gd name="T10" fmla="*/ 492 w 690"/>
                    <a:gd name="T11" fmla="*/ 108 h 354"/>
                    <a:gd name="T12" fmla="*/ 534 w 690"/>
                    <a:gd name="T13" fmla="*/ 96 h 354"/>
                    <a:gd name="T14" fmla="*/ 606 w 690"/>
                    <a:gd name="T15" fmla="*/ 132 h 354"/>
                    <a:gd name="T16" fmla="*/ 666 w 690"/>
                    <a:gd name="T17" fmla="*/ 180 h 354"/>
                    <a:gd name="T18" fmla="*/ 690 w 690"/>
                    <a:gd name="T19" fmla="*/ 228 h 354"/>
                    <a:gd name="T20" fmla="*/ 666 w 690"/>
                    <a:gd name="T21" fmla="*/ 246 h 354"/>
                    <a:gd name="T22" fmla="*/ 624 w 690"/>
                    <a:gd name="T23" fmla="*/ 270 h 354"/>
                    <a:gd name="T24" fmla="*/ 606 w 690"/>
                    <a:gd name="T25" fmla="*/ 306 h 354"/>
                    <a:gd name="T26" fmla="*/ 570 w 690"/>
                    <a:gd name="T27" fmla="*/ 336 h 354"/>
                    <a:gd name="T28" fmla="*/ 522 w 690"/>
                    <a:gd name="T29" fmla="*/ 330 h 354"/>
                    <a:gd name="T30" fmla="*/ 468 w 690"/>
                    <a:gd name="T31" fmla="*/ 354 h 354"/>
                    <a:gd name="T32" fmla="*/ 468 w 690"/>
                    <a:gd name="T33" fmla="*/ 354 h 354"/>
                    <a:gd name="T34" fmla="*/ 390 w 690"/>
                    <a:gd name="T35" fmla="*/ 336 h 354"/>
                    <a:gd name="T36" fmla="*/ 360 w 690"/>
                    <a:gd name="T37" fmla="*/ 324 h 354"/>
                    <a:gd name="T38" fmla="*/ 306 w 690"/>
                    <a:gd name="T39" fmla="*/ 306 h 354"/>
                    <a:gd name="T40" fmla="*/ 264 w 690"/>
                    <a:gd name="T41" fmla="*/ 342 h 354"/>
                    <a:gd name="T42" fmla="*/ 192 w 690"/>
                    <a:gd name="T43" fmla="*/ 342 h 354"/>
                    <a:gd name="T44" fmla="*/ 192 w 690"/>
                    <a:gd name="T45" fmla="*/ 336 h 354"/>
                    <a:gd name="T46" fmla="*/ 114 w 690"/>
                    <a:gd name="T47" fmla="*/ 288 h 354"/>
                    <a:gd name="T48" fmla="*/ 90 w 690"/>
                    <a:gd name="T49" fmla="*/ 198 h 354"/>
                    <a:gd name="T50" fmla="*/ 0 w 690"/>
                    <a:gd name="T51" fmla="*/ 138 h 354"/>
                    <a:gd name="T52" fmla="*/ 84 w 690"/>
                    <a:gd name="T53" fmla="*/ 108 h 354"/>
                    <a:gd name="T54" fmla="*/ 114 w 690"/>
                    <a:gd name="T55" fmla="*/ 72 h 354"/>
                    <a:gd name="T56" fmla="*/ 174 w 690"/>
                    <a:gd name="T57" fmla="*/ 84 h 354"/>
                    <a:gd name="T58" fmla="*/ 216 w 690"/>
                    <a:gd name="T59" fmla="*/ 30 h 354"/>
                    <a:gd name="T60" fmla="*/ 276 w 690"/>
                    <a:gd name="T61" fmla="*/ 36 h 354"/>
                    <a:gd name="T62" fmla="*/ 312 w 690"/>
                    <a:gd name="T63" fmla="*/ 0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90" h="354">
                      <a:moveTo>
                        <a:pt x="312" y="0"/>
                      </a:moveTo>
                      <a:lnTo>
                        <a:pt x="330" y="36"/>
                      </a:lnTo>
                      <a:lnTo>
                        <a:pt x="384" y="30"/>
                      </a:lnTo>
                      <a:lnTo>
                        <a:pt x="420" y="66"/>
                      </a:lnTo>
                      <a:lnTo>
                        <a:pt x="468" y="60"/>
                      </a:lnTo>
                      <a:lnTo>
                        <a:pt x="492" y="108"/>
                      </a:lnTo>
                      <a:lnTo>
                        <a:pt x="534" y="96"/>
                      </a:lnTo>
                      <a:lnTo>
                        <a:pt x="606" y="132"/>
                      </a:lnTo>
                      <a:lnTo>
                        <a:pt x="666" y="180"/>
                      </a:lnTo>
                      <a:lnTo>
                        <a:pt x="690" y="228"/>
                      </a:lnTo>
                      <a:lnTo>
                        <a:pt x="666" y="246"/>
                      </a:lnTo>
                      <a:lnTo>
                        <a:pt x="624" y="270"/>
                      </a:lnTo>
                      <a:lnTo>
                        <a:pt x="606" y="306"/>
                      </a:lnTo>
                      <a:lnTo>
                        <a:pt x="570" y="336"/>
                      </a:lnTo>
                      <a:lnTo>
                        <a:pt x="522" y="330"/>
                      </a:lnTo>
                      <a:lnTo>
                        <a:pt x="468" y="354"/>
                      </a:lnTo>
                      <a:lnTo>
                        <a:pt x="468" y="354"/>
                      </a:lnTo>
                      <a:lnTo>
                        <a:pt x="390" y="336"/>
                      </a:lnTo>
                      <a:lnTo>
                        <a:pt x="360" y="324"/>
                      </a:lnTo>
                      <a:lnTo>
                        <a:pt x="306" y="306"/>
                      </a:lnTo>
                      <a:lnTo>
                        <a:pt x="264" y="342"/>
                      </a:lnTo>
                      <a:lnTo>
                        <a:pt x="192" y="342"/>
                      </a:lnTo>
                      <a:lnTo>
                        <a:pt x="192" y="336"/>
                      </a:lnTo>
                      <a:lnTo>
                        <a:pt x="114" y="288"/>
                      </a:lnTo>
                      <a:lnTo>
                        <a:pt x="90" y="198"/>
                      </a:lnTo>
                      <a:lnTo>
                        <a:pt x="0" y="138"/>
                      </a:lnTo>
                      <a:lnTo>
                        <a:pt x="84" y="108"/>
                      </a:lnTo>
                      <a:lnTo>
                        <a:pt x="114" y="72"/>
                      </a:lnTo>
                      <a:lnTo>
                        <a:pt x="174" y="84"/>
                      </a:lnTo>
                      <a:lnTo>
                        <a:pt x="216" y="30"/>
                      </a:lnTo>
                      <a:lnTo>
                        <a:pt x="276" y="36"/>
                      </a:lnTo>
                      <a:lnTo>
                        <a:pt x="31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2" name="Freeform 22">
                  <a:extLst>
                    <a:ext uri="{FF2B5EF4-FFF2-40B4-BE49-F238E27FC236}">
                      <a16:creationId xmlns:a16="http://schemas.microsoft.com/office/drawing/2014/main" id="{82DA1FB6-7897-44BB-B8F2-D19BF57D49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9" y="-2406"/>
                  <a:ext cx="882" cy="660"/>
                </a:xfrm>
                <a:custGeom>
                  <a:avLst/>
                  <a:gdLst>
                    <a:gd name="T0" fmla="*/ 594 w 882"/>
                    <a:gd name="T1" fmla="*/ 12 h 660"/>
                    <a:gd name="T2" fmla="*/ 660 w 882"/>
                    <a:gd name="T3" fmla="*/ 96 h 660"/>
                    <a:gd name="T4" fmla="*/ 678 w 882"/>
                    <a:gd name="T5" fmla="*/ 162 h 660"/>
                    <a:gd name="T6" fmla="*/ 672 w 882"/>
                    <a:gd name="T7" fmla="*/ 234 h 660"/>
                    <a:gd name="T8" fmla="*/ 696 w 882"/>
                    <a:gd name="T9" fmla="*/ 330 h 660"/>
                    <a:gd name="T10" fmla="*/ 756 w 882"/>
                    <a:gd name="T11" fmla="*/ 348 h 660"/>
                    <a:gd name="T12" fmla="*/ 828 w 882"/>
                    <a:gd name="T13" fmla="*/ 348 h 660"/>
                    <a:gd name="T14" fmla="*/ 882 w 882"/>
                    <a:gd name="T15" fmla="*/ 396 h 660"/>
                    <a:gd name="T16" fmla="*/ 876 w 882"/>
                    <a:gd name="T17" fmla="*/ 456 h 660"/>
                    <a:gd name="T18" fmla="*/ 864 w 882"/>
                    <a:gd name="T19" fmla="*/ 492 h 660"/>
                    <a:gd name="T20" fmla="*/ 846 w 882"/>
                    <a:gd name="T21" fmla="*/ 516 h 660"/>
                    <a:gd name="T22" fmla="*/ 822 w 882"/>
                    <a:gd name="T23" fmla="*/ 522 h 660"/>
                    <a:gd name="T24" fmla="*/ 798 w 882"/>
                    <a:gd name="T25" fmla="*/ 528 h 660"/>
                    <a:gd name="T26" fmla="*/ 780 w 882"/>
                    <a:gd name="T27" fmla="*/ 534 h 660"/>
                    <a:gd name="T28" fmla="*/ 774 w 882"/>
                    <a:gd name="T29" fmla="*/ 546 h 660"/>
                    <a:gd name="T30" fmla="*/ 786 w 882"/>
                    <a:gd name="T31" fmla="*/ 564 h 660"/>
                    <a:gd name="T32" fmla="*/ 792 w 882"/>
                    <a:gd name="T33" fmla="*/ 576 h 660"/>
                    <a:gd name="T34" fmla="*/ 702 w 882"/>
                    <a:gd name="T35" fmla="*/ 594 h 660"/>
                    <a:gd name="T36" fmla="*/ 612 w 882"/>
                    <a:gd name="T37" fmla="*/ 564 h 660"/>
                    <a:gd name="T38" fmla="*/ 546 w 882"/>
                    <a:gd name="T39" fmla="*/ 642 h 660"/>
                    <a:gd name="T40" fmla="*/ 468 w 882"/>
                    <a:gd name="T41" fmla="*/ 654 h 660"/>
                    <a:gd name="T42" fmla="*/ 342 w 882"/>
                    <a:gd name="T43" fmla="*/ 648 h 660"/>
                    <a:gd name="T44" fmla="*/ 270 w 882"/>
                    <a:gd name="T45" fmla="*/ 594 h 660"/>
                    <a:gd name="T46" fmla="*/ 186 w 882"/>
                    <a:gd name="T47" fmla="*/ 600 h 660"/>
                    <a:gd name="T48" fmla="*/ 186 w 882"/>
                    <a:gd name="T49" fmla="*/ 570 h 660"/>
                    <a:gd name="T50" fmla="*/ 138 w 882"/>
                    <a:gd name="T51" fmla="*/ 516 h 660"/>
                    <a:gd name="T52" fmla="*/ 90 w 882"/>
                    <a:gd name="T53" fmla="*/ 474 h 660"/>
                    <a:gd name="T54" fmla="*/ 42 w 882"/>
                    <a:gd name="T55" fmla="*/ 390 h 660"/>
                    <a:gd name="T56" fmla="*/ 0 w 882"/>
                    <a:gd name="T57" fmla="*/ 300 h 660"/>
                    <a:gd name="T58" fmla="*/ 42 w 882"/>
                    <a:gd name="T59" fmla="*/ 252 h 660"/>
                    <a:gd name="T60" fmla="*/ 66 w 882"/>
                    <a:gd name="T61" fmla="*/ 150 h 660"/>
                    <a:gd name="T62" fmla="*/ 126 w 882"/>
                    <a:gd name="T63" fmla="*/ 108 h 660"/>
                    <a:gd name="T64" fmla="*/ 192 w 882"/>
                    <a:gd name="T65" fmla="*/ 60 h 660"/>
                    <a:gd name="T66" fmla="*/ 264 w 882"/>
                    <a:gd name="T67" fmla="*/ 0 h 660"/>
                    <a:gd name="T68" fmla="*/ 336 w 882"/>
                    <a:gd name="T69" fmla="*/ 54 h 660"/>
                    <a:gd name="T70" fmla="*/ 450 w 882"/>
                    <a:gd name="T71" fmla="*/ 36 h 660"/>
                    <a:gd name="T72" fmla="*/ 552 w 882"/>
                    <a:gd name="T73" fmla="*/ 0 h 6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82" h="660">
                      <a:moveTo>
                        <a:pt x="552" y="0"/>
                      </a:moveTo>
                      <a:lnTo>
                        <a:pt x="594" y="12"/>
                      </a:lnTo>
                      <a:lnTo>
                        <a:pt x="636" y="60"/>
                      </a:lnTo>
                      <a:lnTo>
                        <a:pt x="660" y="96"/>
                      </a:lnTo>
                      <a:lnTo>
                        <a:pt x="684" y="120"/>
                      </a:lnTo>
                      <a:lnTo>
                        <a:pt x="678" y="162"/>
                      </a:lnTo>
                      <a:lnTo>
                        <a:pt x="684" y="198"/>
                      </a:lnTo>
                      <a:lnTo>
                        <a:pt x="672" y="234"/>
                      </a:lnTo>
                      <a:lnTo>
                        <a:pt x="702" y="282"/>
                      </a:lnTo>
                      <a:lnTo>
                        <a:pt x="696" y="330"/>
                      </a:lnTo>
                      <a:lnTo>
                        <a:pt x="714" y="354"/>
                      </a:lnTo>
                      <a:lnTo>
                        <a:pt x="756" y="348"/>
                      </a:lnTo>
                      <a:lnTo>
                        <a:pt x="792" y="366"/>
                      </a:lnTo>
                      <a:lnTo>
                        <a:pt x="828" y="348"/>
                      </a:lnTo>
                      <a:lnTo>
                        <a:pt x="882" y="378"/>
                      </a:lnTo>
                      <a:lnTo>
                        <a:pt x="882" y="396"/>
                      </a:lnTo>
                      <a:lnTo>
                        <a:pt x="882" y="426"/>
                      </a:lnTo>
                      <a:lnTo>
                        <a:pt x="876" y="456"/>
                      </a:lnTo>
                      <a:lnTo>
                        <a:pt x="876" y="480"/>
                      </a:lnTo>
                      <a:lnTo>
                        <a:pt x="864" y="492"/>
                      </a:lnTo>
                      <a:lnTo>
                        <a:pt x="858" y="504"/>
                      </a:lnTo>
                      <a:lnTo>
                        <a:pt x="846" y="516"/>
                      </a:lnTo>
                      <a:lnTo>
                        <a:pt x="834" y="522"/>
                      </a:lnTo>
                      <a:lnTo>
                        <a:pt x="822" y="522"/>
                      </a:lnTo>
                      <a:lnTo>
                        <a:pt x="810" y="522"/>
                      </a:lnTo>
                      <a:lnTo>
                        <a:pt x="798" y="528"/>
                      </a:lnTo>
                      <a:lnTo>
                        <a:pt x="786" y="528"/>
                      </a:lnTo>
                      <a:lnTo>
                        <a:pt x="780" y="534"/>
                      </a:lnTo>
                      <a:lnTo>
                        <a:pt x="774" y="540"/>
                      </a:lnTo>
                      <a:lnTo>
                        <a:pt x="774" y="546"/>
                      </a:lnTo>
                      <a:lnTo>
                        <a:pt x="780" y="558"/>
                      </a:lnTo>
                      <a:lnTo>
                        <a:pt x="786" y="564"/>
                      </a:lnTo>
                      <a:lnTo>
                        <a:pt x="792" y="576"/>
                      </a:lnTo>
                      <a:lnTo>
                        <a:pt x="792" y="576"/>
                      </a:lnTo>
                      <a:lnTo>
                        <a:pt x="732" y="600"/>
                      </a:lnTo>
                      <a:lnTo>
                        <a:pt x="702" y="594"/>
                      </a:lnTo>
                      <a:lnTo>
                        <a:pt x="654" y="570"/>
                      </a:lnTo>
                      <a:lnTo>
                        <a:pt x="612" y="564"/>
                      </a:lnTo>
                      <a:lnTo>
                        <a:pt x="558" y="594"/>
                      </a:lnTo>
                      <a:lnTo>
                        <a:pt x="546" y="642"/>
                      </a:lnTo>
                      <a:lnTo>
                        <a:pt x="504" y="660"/>
                      </a:lnTo>
                      <a:lnTo>
                        <a:pt x="468" y="654"/>
                      </a:lnTo>
                      <a:lnTo>
                        <a:pt x="402" y="642"/>
                      </a:lnTo>
                      <a:lnTo>
                        <a:pt x="342" y="648"/>
                      </a:lnTo>
                      <a:lnTo>
                        <a:pt x="294" y="630"/>
                      </a:lnTo>
                      <a:lnTo>
                        <a:pt x="270" y="594"/>
                      </a:lnTo>
                      <a:lnTo>
                        <a:pt x="240" y="588"/>
                      </a:lnTo>
                      <a:lnTo>
                        <a:pt x="186" y="600"/>
                      </a:lnTo>
                      <a:lnTo>
                        <a:pt x="186" y="600"/>
                      </a:lnTo>
                      <a:lnTo>
                        <a:pt x="186" y="570"/>
                      </a:lnTo>
                      <a:lnTo>
                        <a:pt x="180" y="540"/>
                      </a:lnTo>
                      <a:lnTo>
                        <a:pt x="138" y="516"/>
                      </a:lnTo>
                      <a:lnTo>
                        <a:pt x="102" y="522"/>
                      </a:lnTo>
                      <a:lnTo>
                        <a:pt x="90" y="474"/>
                      </a:lnTo>
                      <a:lnTo>
                        <a:pt x="60" y="432"/>
                      </a:lnTo>
                      <a:lnTo>
                        <a:pt x="42" y="390"/>
                      </a:lnTo>
                      <a:lnTo>
                        <a:pt x="30" y="330"/>
                      </a:lnTo>
                      <a:lnTo>
                        <a:pt x="0" y="300"/>
                      </a:lnTo>
                      <a:lnTo>
                        <a:pt x="0" y="300"/>
                      </a:lnTo>
                      <a:lnTo>
                        <a:pt x="42" y="252"/>
                      </a:lnTo>
                      <a:lnTo>
                        <a:pt x="54" y="198"/>
                      </a:lnTo>
                      <a:lnTo>
                        <a:pt x="66" y="150"/>
                      </a:lnTo>
                      <a:lnTo>
                        <a:pt x="96" y="138"/>
                      </a:lnTo>
                      <a:lnTo>
                        <a:pt x="126" y="108"/>
                      </a:lnTo>
                      <a:lnTo>
                        <a:pt x="174" y="96"/>
                      </a:lnTo>
                      <a:lnTo>
                        <a:pt x="192" y="60"/>
                      </a:lnTo>
                      <a:lnTo>
                        <a:pt x="210" y="30"/>
                      </a:lnTo>
                      <a:lnTo>
                        <a:pt x="264" y="0"/>
                      </a:lnTo>
                      <a:lnTo>
                        <a:pt x="318" y="18"/>
                      </a:lnTo>
                      <a:lnTo>
                        <a:pt x="336" y="54"/>
                      </a:lnTo>
                      <a:lnTo>
                        <a:pt x="396" y="54"/>
                      </a:lnTo>
                      <a:lnTo>
                        <a:pt x="450" y="36"/>
                      </a:lnTo>
                      <a:lnTo>
                        <a:pt x="498" y="12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3" name="Freeform 23">
                  <a:extLst>
                    <a:ext uri="{FF2B5EF4-FFF2-40B4-BE49-F238E27FC236}">
                      <a16:creationId xmlns:a16="http://schemas.microsoft.com/office/drawing/2014/main" id="{723A7668-EB86-4E56-8B19-99E60EFD6D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9" y="-2436"/>
                  <a:ext cx="660" cy="402"/>
                </a:xfrm>
                <a:custGeom>
                  <a:avLst/>
                  <a:gdLst>
                    <a:gd name="T0" fmla="*/ 576 w 660"/>
                    <a:gd name="T1" fmla="*/ 0 h 402"/>
                    <a:gd name="T2" fmla="*/ 612 w 660"/>
                    <a:gd name="T3" fmla="*/ 24 h 402"/>
                    <a:gd name="T4" fmla="*/ 660 w 660"/>
                    <a:gd name="T5" fmla="*/ 60 h 402"/>
                    <a:gd name="T6" fmla="*/ 642 w 660"/>
                    <a:gd name="T7" fmla="*/ 90 h 402"/>
                    <a:gd name="T8" fmla="*/ 624 w 660"/>
                    <a:gd name="T9" fmla="*/ 126 h 402"/>
                    <a:gd name="T10" fmla="*/ 576 w 660"/>
                    <a:gd name="T11" fmla="*/ 138 h 402"/>
                    <a:gd name="T12" fmla="*/ 546 w 660"/>
                    <a:gd name="T13" fmla="*/ 168 h 402"/>
                    <a:gd name="T14" fmla="*/ 516 w 660"/>
                    <a:gd name="T15" fmla="*/ 180 h 402"/>
                    <a:gd name="T16" fmla="*/ 504 w 660"/>
                    <a:gd name="T17" fmla="*/ 228 h 402"/>
                    <a:gd name="T18" fmla="*/ 492 w 660"/>
                    <a:gd name="T19" fmla="*/ 282 h 402"/>
                    <a:gd name="T20" fmla="*/ 450 w 660"/>
                    <a:gd name="T21" fmla="*/ 330 h 402"/>
                    <a:gd name="T22" fmla="*/ 450 w 660"/>
                    <a:gd name="T23" fmla="*/ 336 h 402"/>
                    <a:gd name="T24" fmla="*/ 414 w 660"/>
                    <a:gd name="T25" fmla="*/ 312 h 402"/>
                    <a:gd name="T26" fmla="*/ 348 w 660"/>
                    <a:gd name="T27" fmla="*/ 312 h 402"/>
                    <a:gd name="T28" fmla="*/ 306 w 660"/>
                    <a:gd name="T29" fmla="*/ 336 h 402"/>
                    <a:gd name="T30" fmla="*/ 258 w 660"/>
                    <a:gd name="T31" fmla="*/ 402 h 402"/>
                    <a:gd name="T32" fmla="*/ 252 w 660"/>
                    <a:gd name="T33" fmla="*/ 402 h 402"/>
                    <a:gd name="T34" fmla="*/ 186 w 660"/>
                    <a:gd name="T35" fmla="*/ 396 h 402"/>
                    <a:gd name="T36" fmla="*/ 132 w 660"/>
                    <a:gd name="T37" fmla="*/ 384 h 402"/>
                    <a:gd name="T38" fmla="*/ 84 w 660"/>
                    <a:gd name="T39" fmla="*/ 348 h 402"/>
                    <a:gd name="T40" fmla="*/ 84 w 660"/>
                    <a:gd name="T41" fmla="*/ 342 h 402"/>
                    <a:gd name="T42" fmla="*/ 90 w 660"/>
                    <a:gd name="T43" fmla="*/ 300 h 402"/>
                    <a:gd name="T44" fmla="*/ 54 w 660"/>
                    <a:gd name="T45" fmla="*/ 276 h 402"/>
                    <a:gd name="T46" fmla="*/ 30 w 660"/>
                    <a:gd name="T47" fmla="*/ 276 h 402"/>
                    <a:gd name="T48" fmla="*/ 0 w 660"/>
                    <a:gd name="T49" fmla="*/ 228 h 402"/>
                    <a:gd name="T50" fmla="*/ 0 w 660"/>
                    <a:gd name="T51" fmla="*/ 228 h 402"/>
                    <a:gd name="T52" fmla="*/ 24 w 660"/>
                    <a:gd name="T53" fmla="*/ 192 h 402"/>
                    <a:gd name="T54" fmla="*/ 60 w 660"/>
                    <a:gd name="T55" fmla="*/ 156 h 402"/>
                    <a:gd name="T56" fmla="*/ 78 w 660"/>
                    <a:gd name="T57" fmla="*/ 102 h 402"/>
                    <a:gd name="T58" fmla="*/ 78 w 660"/>
                    <a:gd name="T59" fmla="*/ 102 h 402"/>
                    <a:gd name="T60" fmla="*/ 132 w 660"/>
                    <a:gd name="T61" fmla="*/ 96 h 402"/>
                    <a:gd name="T62" fmla="*/ 180 w 660"/>
                    <a:gd name="T63" fmla="*/ 114 h 402"/>
                    <a:gd name="T64" fmla="*/ 240 w 660"/>
                    <a:gd name="T65" fmla="*/ 114 h 402"/>
                    <a:gd name="T66" fmla="*/ 282 w 660"/>
                    <a:gd name="T67" fmla="*/ 96 h 402"/>
                    <a:gd name="T68" fmla="*/ 336 w 660"/>
                    <a:gd name="T69" fmla="*/ 78 h 402"/>
                    <a:gd name="T70" fmla="*/ 372 w 660"/>
                    <a:gd name="T71" fmla="*/ 42 h 402"/>
                    <a:gd name="T72" fmla="*/ 432 w 660"/>
                    <a:gd name="T73" fmla="*/ 54 h 402"/>
                    <a:gd name="T74" fmla="*/ 474 w 660"/>
                    <a:gd name="T75" fmla="*/ 12 h 402"/>
                    <a:gd name="T76" fmla="*/ 504 w 660"/>
                    <a:gd name="T77" fmla="*/ 30 h 402"/>
                    <a:gd name="T78" fmla="*/ 576 w 660"/>
                    <a:gd name="T79" fmla="*/ 0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660" h="402">
                      <a:moveTo>
                        <a:pt x="576" y="0"/>
                      </a:moveTo>
                      <a:lnTo>
                        <a:pt x="612" y="24"/>
                      </a:lnTo>
                      <a:lnTo>
                        <a:pt x="660" y="60"/>
                      </a:lnTo>
                      <a:lnTo>
                        <a:pt x="642" y="90"/>
                      </a:lnTo>
                      <a:lnTo>
                        <a:pt x="624" y="126"/>
                      </a:lnTo>
                      <a:lnTo>
                        <a:pt x="576" y="138"/>
                      </a:lnTo>
                      <a:lnTo>
                        <a:pt x="546" y="168"/>
                      </a:lnTo>
                      <a:lnTo>
                        <a:pt x="516" y="180"/>
                      </a:lnTo>
                      <a:lnTo>
                        <a:pt x="504" y="228"/>
                      </a:lnTo>
                      <a:lnTo>
                        <a:pt x="492" y="282"/>
                      </a:lnTo>
                      <a:lnTo>
                        <a:pt x="450" y="330"/>
                      </a:lnTo>
                      <a:lnTo>
                        <a:pt x="450" y="336"/>
                      </a:lnTo>
                      <a:lnTo>
                        <a:pt x="414" y="312"/>
                      </a:lnTo>
                      <a:lnTo>
                        <a:pt x="348" y="312"/>
                      </a:lnTo>
                      <a:lnTo>
                        <a:pt x="306" y="336"/>
                      </a:lnTo>
                      <a:lnTo>
                        <a:pt x="258" y="402"/>
                      </a:lnTo>
                      <a:lnTo>
                        <a:pt x="252" y="402"/>
                      </a:lnTo>
                      <a:lnTo>
                        <a:pt x="186" y="396"/>
                      </a:lnTo>
                      <a:lnTo>
                        <a:pt x="132" y="384"/>
                      </a:lnTo>
                      <a:lnTo>
                        <a:pt x="84" y="348"/>
                      </a:lnTo>
                      <a:lnTo>
                        <a:pt x="84" y="342"/>
                      </a:lnTo>
                      <a:lnTo>
                        <a:pt x="90" y="300"/>
                      </a:lnTo>
                      <a:lnTo>
                        <a:pt x="54" y="276"/>
                      </a:lnTo>
                      <a:lnTo>
                        <a:pt x="30" y="276"/>
                      </a:lnTo>
                      <a:lnTo>
                        <a:pt x="0" y="228"/>
                      </a:lnTo>
                      <a:lnTo>
                        <a:pt x="0" y="228"/>
                      </a:lnTo>
                      <a:lnTo>
                        <a:pt x="24" y="192"/>
                      </a:lnTo>
                      <a:lnTo>
                        <a:pt x="60" y="156"/>
                      </a:lnTo>
                      <a:lnTo>
                        <a:pt x="78" y="102"/>
                      </a:lnTo>
                      <a:lnTo>
                        <a:pt x="78" y="102"/>
                      </a:lnTo>
                      <a:lnTo>
                        <a:pt x="132" y="96"/>
                      </a:lnTo>
                      <a:lnTo>
                        <a:pt x="180" y="114"/>
                      </a:lnTo>
                      <a:lnTo>
                        <a:pt x="240" y="114"/>
                      </a:lnTo>
                      <a:lnTo>
                        <a:pt x="282" y="96"/>
                      </a:lnTo>
                      <a:lnTo>
                        <a:pt x="336" y="78"/>
                      </a:lnTo>
                      <a:lnTo>
                        <a:pt x="372" y="42"/>
                      </a:lnTo>
                      <a:lnTo>
                        <a:pt x="432" y="54"/>
                      </a:lnTo>
                      <a:lnTo>
                        <a:pt x="474" y="12"/>
                      </a:lnTo>
                      <a:lnTo>
                        <a:pt x="504" y="30"/>
                      </a:lnTo>
                      <a:lnTo>
                        <a:pt x="57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4" name="Freeform 24">
                  <a:extLst>
                    <a:ext uri="{FF2B5EF4-FFF2-40B4-BE49-F238E27FC236}">
                      <a16:creationId xmlns:a16="http://schemas.microsoft.com/office/drawing/2014/main" id="{0A5EA26F-98B4-40E3-93A0-C136084DB9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5" y="-1842"/>
                  <a:ext cx="612" cy="396"/>
                </a:xfrm>
                <a:custGeom>
                  <a:avLst/>
                  <a:gdLst>
                    <a:gd name="T0" fmla="*/ 426 w 612"/>
                    <a:gd name="T1" fmla="*/ 0 h 396"/>
                    <a:gd name="T2" fmla="*/ 468 w 612"/>
                    <a:gd name="T3" fmla="*/ 6 h 396"/>
                    <a:gd name="T4" fmla="*/ 516 w 612"/>
                    <a:gd name="T5" fmla="*/ 30 h 396"/>
                    <a:gd name="T6" fmla="*/ 546 w 612"/>
                    <a:gd name="T7" fmla="*/ 36 h 396"/>
                    <a:gd name="T8" fmla="*/ 606 w 612"/>
                    <a:gd name="T9" fmla="*/ 12 h 396"/>
                    <a:gd name="T10" fmla="*/ 606 w 612"/>
                    <a:gd name="T11" fmla="*/ 12 h 396"/>
                    <a:gd name="T12" fmla="*/ 606 w 612"/>
                    <a:gd name="T13" fmla="*/ 18 h 396"/>
                    <a:gd name="T14" fmla="*/ 612 w 612"/>
                    <a:gd name="T15" fmla="*/ 24 h 396"/>
                    <a:gd name="T16" fmla="*/ 612 w 612"/>
                    <a:gd name="T17" fmla="*/ 36 h 396"/>
                    <a:gd name="T18" fmla="*/ 612 w 612"/>
                    <a:gd name="T19" fmla="*/ 54 h 396"/>
                    <a:gd name="T20" fmla="*/ 612 w 612"/>
                    <a:gd name="T21" fmla="*/ 78 h 396"/>
                    <a:gd name="T22" fmla="*/ 606 w 612"/>
                    <a:gd name="T23" fmla="*/ 96 h 396"/>
                    <a:gd name="T24" fmla="*/ 600 w 612"/>
                    <a:gd name="T25" fmla="*/ 108 h 396"/>
                    <a:gd name="T26" fmla="*/ 582 w 612"/>
                    <a:gd name="T27" fmla="*/ 132 h 396"/>
                    <a:gd name="T28" fmla="*/ 570 w 612"/>
                    <a:gd name="T29" fmla="*/ 156 h 396"/>
                    <a:gd name="T30" fmla="*/ 558 w 612"/>
                    <a:gd name="T31" fmla="*/ 186 h 396"/>
                    <a:gd name="T32" fmla="*/ 552 w 612"/>
                    <a:gd name="T33" fmla="*/ 198 h 396"/>
                    <a:gd name="T34" fmla="*/ 552 w 612"/>
                    <a:gd name="T35" fmla="*/ 216 h 396"/>
                    <a:gd name="T36" fmla="*/ 552 w 612"/>
                    <a:gd name="T37" fmla="*/ 240 h 396"/>
                    <a:gd name="T38" fmla="*/ 552 w 612"/>
                    <a:gd name="T39" fmla="*/ 258 h 396"/>
                    <a:gd name="T40" fmla="*/ 552 w 612"/>
                    <a:gd name="T41" fmla="*/ 258 h 396"/>
                    <a:gd name="T42" fmla="*/ 504 w 612"/>
                    <a:gd name="T43" fmla="*/ 282 h 396"/>
                    <a:gd name="T44" fmla="*/ 468 w 612"/>
                    <a:gd name="T45" fmla="*/ 294 h 396"/>
                    <a:gd name="T46" fmla="*/ 414 w 612"/>
                    <a:gd name="T47" fmla="*/ 294 h 396"/>
                    <a:gd name="T48" fmla="*/ 414 w 612"/>
                    <a:gd name="T49" fmla="*/ 330 h 396"/>
                    <a:gd name="T50" fmla="*/ 390 w 612"/>
                    <a:gd name="T51" fmla="*/ 372 h 396"/>
                    <a:gd name="T52" fmla="*/ 354 w 612"/>
                    <a:gd name="T53" fmla="*/ 390 h 396"/>
                    <a:gd name="T54" fmla="*/ 324 w 612"/>
                    <a:gd name="T55" fmla="*/ 396 h 396"/>
                    <a:gd name="T56" fmla="*/ 294 w 612"/>
                    <a:gd name="T57" fmla="*/ 372 h 396"/>
                    <a:gd name="T58" fmla="*/ 240 w 612"/>
                    <a:gd name="T59" fmla="*/ 348 h 396"/>
                    <a:gd name="T60" fmla="*/ 198 w 612"/>
                    <a:gd name="T61" fmla="*/ 372 h 396"/>
                    <a:gd name="T62" fmla="*/ 138 w 612"/>
                    <a:gd name="T63" fmla="*/ 396 h 396"/>
                    <a:gd name="T64" fmla="*/ 90 w 612"/>
                    <a:gd name="T65" fmla="*/ 390 h 396"/>
                    <a:gd name="T66" fmla="*/ 90 w 612"/>
                    <a:gd name="T67" fmla="*/ 390 h 396"/>
                    <a:gd name="T68" fmla="*/ 78 w 612"/>
                    <a:gd name="T69" fmla="*/ 342 h 396"/>
                    <a:gd name="T70" fmla="*/ 48 w 612"/>
                    <a:gd name="T71" fmla="*/ 306 h 396"/>
                    <a:gd name="T72" fmla="*/ 48 w 612"/>
                    <a:gd name="T73" fmla="*/ 270 h 396"/>
                    <a:gd name="T74" fmla="*/ 6 w 612"/>
                    <a:gd name="T75" fmla="*/ 228 h 396"/>
                    <a:gd name="T76" fmla="*/ 12 w 612"/>
                    <a:gd name="T77" fmla="*/ 228 h 396"/>
                    <a:gd name="T78" fmla="*/ 48 w 612"/>
                    <a:gd name="T79" fmla="*/ 198 h 396"/>
                    <a:gd name="T80" fmla="*/ 66 w 612"/>
                    <a:gd name="T81" fmla="*/ 162 h 396"/>
                    <a:gd name="T82" fmla="*/ 36 w 612"/>
                    <a:gd name="T83" fmla="*/ 108 h 396"/>
                    <a:gd name="T84" fmla="*/ 36 w 612"/>
                    <a:gd name="T85" fmla="*/ 72 h 396"/>
                    <a:gd name="T86" fmla="*/ 0 w 612"/>
                    <a:gd name="T87" fmla="*/ 42 h 396"/>
                    <a:gd name="T88" fmla="*/ 6 w 612"/>
                    <a:gd name="T89" fmla="*/ 42 h 396"/>
                    <a:gd name="T90" fmla="*/ 54 w 612"/>
                    <a:gd name="T91" fmla="*/ 24 h 396"/>
                    <a:gd name="T92" fmla="*/ 84 w 612"/>
                    <a:gd name="T93" fmla="*/ 30 h 396"/>
                    <a:gd name="T94" fmla="*/ 108 w 612"/>
                    <a:gd name="T95" fmla="*/ 66 h 396"/>
                    <a:gd name="T96" fmla="*/ 156 w 612"/>
                    <a:gd name="T97" fmla="*/ 84 h 396"/>
                    <a:gd name="T98" fmla="*/ 216 w 612"/>
                    <a:gd name="T99" fmla="*/ 78 h 396"/>
                    <a:gd name="T100" fmla="*/ 282 w 612"/>
                    <a:gd name="T101" fmla="*/ 90 h 396"/>
                    <a:gd name="T102" fmla="*/ 318 w 612"/>
                    <a:gd name="T103" fmla="*/ 96 h 396"/>
                    <a:gd name="T104" fmla="*/ 360 w 612"/>
                    <a:gd name="T105" fmla="*/ 78 h 396"/>
                    <a:gd name="T106" fmla="*/ 372 w 612"/>
                    <a:gd name="T107" fmla="*/ 30 h 396"/>
                    <a:gd name="T108" fmla="*/ 426 w 612"/>
                    <a:gd name="T109" fmla="*/ 0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12" h="396">
                      <a:moveTo>
                        <a:pt x="426" y="0"/>
                      </a:moveTo>
                      <a:lnTo>
                        <a:pt x="468" y="6"/>
                      </a:lnTo>
                      <a:lnTo>
                        <a:pt x="516" y="30"/>
                      </a:lnTo>
                      <a:lnTo>
                        <a:pt x="546" y="36"/>
                      </a:lnTo>
                      <a:lnTo>
                        <a:pt x="606" y="12"/>
                      </a:lnTo>
                      <a:lnTo>
                        <a:pt x="606" y="12"/>
                      </a:lnTo>
                      <a:lnTo>
                        <a:pt x="606" y="18"/>
                      </a:lnTo>
                      <a:lnTo>
                        <a:pt x="612" y="24"/>
                      </a:lnTo>
                      <a:lnTo>
                        <a:pt x="612" y="36"/>
                      </a:lnTo>
                      <a:lnTo>
                        <a:pt x="612" y="54"/>
                      </a:lnTo>
                      <a:lnTo>
                        <a:pt x="612" y="78"/>
                      </a:lnTo>
                      <a:lnTo>
                        <a:pt x="606" y="96"/>
                      </a:lnTo>
                      <a:lnTo>
                        <a:pt x="600" y="108"/>
                      </a:lnTo>
                      <a:lnTo>
                        <a:pt x="582" y="132"/>
                      </a:lnTo>
                      <a:lnTo>
                        <a:pt x="570" y="156"/>
                      </a:lnTo>
                      <a:lnTo>
                        <a:pt x="558" y="186"/>
                      </a:lnTo>
                      <a:lnTo>
                        <a:pt x="552" y="198"/>
                      </a:lnTo>
                      <a:lnTo>
                        <a:pt x="552" y="216"/>
                      </a:lnTo>
                      <a:lnTo>
                        <a:pt x="552" y="240"/>
                      </a:lnTo>
                      <a:lnTo>
                        <a:pt x="552" y="258"/>
                      </a:lnTo>
                      <a:lnTo>
                        <a:pt x="552" y="258"/>
                      </a:lnTo>
                      <a:lnTo>
                        <a:pt x="504" y="282"/>
                      </a:lnTo>
                      <a:lnTo>
                        <a:pt x="468" y="294"/>
                      </a:lnTo>
                      <a:lnTo>
                        <a:pt x="414" y="294"/>
                      </a:lnTo>
                      <a:lnTo>
                        <a:pt x="414" y="330"/>
                      </a:lnTo>
                      <a:lnTo>
                        <a:pt x="390" y="372"/>
                      </a:lnTo>
                      <a:lnTo>
                        <a:pt x="354" y="390"/>
                      </a:lnTo>
                      <a:lnTo>
                        <a:pt x="324" y="396"/>
                      </a:lnTo>
                      <a:lnTo>
                        <a:pt x="294" y="372"/>
                      </a:lnTo>
                      <a:lnTo>
                        <a:pt x="240" y="348"/>
                      </a:lnTo>
                      <a:lnTo>
                        <a:pt x="198" y="372"/>
                      </a:lnTo>
                      <a:lnTo>
                        <a:pt x="138" y="396"/>
                      </a:lnTo>
                      <a:lnTo>
                        <a:pt x="90" y="390"/>
                      </a:lnTo>
                      <a:lnTo>
                        <a:pt x="90" y="390"/>
                      </a:lnTo>
                      <a:lnTo>
                        <a:pt x="78" y="342"/>
                      </a:lnTo>
                      <a:lnTo>
                        <a:pt x="48" y="306"/>
                      </a:lnTo>
                      <a:lnTo>
                        <a:pt x="48" y="270"/>
                      </a:lnTo>
                      <a:lnTo>
                        <a:pt x="6" y="228"/>
                      </a:lnTo>
                      <a:lnTo>
                        <a:pt x="12" y="228"/>
                      </a:lnTo>
                      <a:lnTo>
                        <a:pt x="48" y="198"/>
                      </a:lnTo>
                      <a:lnTo>
                        <a:pt x="66" y="162"/>
                      </a:lnTo>
                      <a:lnTo>
                        <a:pt x="36" y="108"/>
                      </a:lnTo>
                      <a:lnTo>
                        <a:pt x="36" y="72"/>
                      </a:lnTo>
                      <a:lnTo>
                        <a:pt x="0" y="42"/>
                      </a:lnTo>
                      <a:lnTo>
                        <a:pt x="6" y="42"/>
                      </a:lnTo>
                      <a:lnTo>
                        <a:pt x="54" y="24"/>
                      </a:lnTo>
                      <a:lnTo>
                        <a:pt x="84" y="30"/>
                      </a:lnTo>
                      <a:lnTo>
                        <a:pt x="108" y="66"/>
                      </a:lnTo>
                      <a:lnTo>
                        <a:pt x="156" y="84"/>
                      </a:lnTo>
                      <a:lnTo>
                        <a:pt x="216" y="78"/>
                      </a:lnTo>
                      <a:lnTo>
                        <a:pt x="282" y="90"/>
                      </a:lnTo>
                      <a:lnTo>
                        <a:pt x="318" y="96"/>
                      </a:lnTo>
                      <a:lnTo>
                        <a:pt x="360" y="78"/>
                      </a:lnTo>
                      <a:lnTo>
                        <a:pt x="372" y="30"/>
                      </a:lnTo>
                      <a:lnTo>
                        <a:pt x="42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5" name="Freeform 25">
                  <a:extLst>
                    <a:ext uri="{FF2B5EF4-FFF2-40B4-BE49-F238E27FC236}">
                      <a16:creationId xmlns:a16="http://schemas.microsoft.com/office/drawing/2014/main" id="{8F2C6292-F427-413D-A2F5-BA38944F366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03" y="-1584"/>
                  <a:ext cx="252" cy="270"/>
                </a:xfrm>
                <a:custGeom>
                  <a:avLst/>
                  <a:gdLst>
                    <a:gd name="T0" fmla="*/ 0 w 252"/>
                    <a:gd name="T1" fmla="*/ 240 h 270"/>
                    <a:gd name="T2" fmla="*/ 0 w 252"/>
                    <a:gd name="T3" fmla="*/ 240 h 270"/>
                    <a:gd name="T4" fmla="*/ 0 w 252"/>
                    <a:gd name="T5" fmla="*/ 240 h 270"/>
                    <a:gd name="T6" fmla="*/ 0 w 252"/>
                    <a:gd name="T7" fmla="*/ 240 h 270"/>
                    <a:gd name="T8" fmla="*/ 144 w 252"/>
                    <a:gd name="T9" fmla="*/ 0 h 270"/>
                    <a:gd name="T10" fmla="*/ 150 w 252"/>
                    <a:gd name="T11" fmla="*/ 24 h 270"/>
                    <a:gd name="T12" fmla="*/ 156 w 252"/>
                    <a:gd name="T13" fmla="*/ 42 h 270"/>
                    <a:gd name="T14" fmla="*/ 168 w 252"/>
                    <a:gd name="T15" fmla="*/ 54 h 270"/>
                    <a:gd name="T16" fmla="*/ 180 w 252"/>
                    <a:gd name="T17" fmla="*/ 78 h 270"/>
                    <a:gd name="T18" fmla="*/ 198 w 252"/>
                    <a:gd name="T19" fmla="*/ 96 h 270"/>
                    <a:gd name="T20" fmla="*/ 216 w 252"/>
                    <a:gd name="T21" fmla="*/ 120 h 270"/>
                    <a:gd name="T22" fmla="*/ 240 w 252"/>
                    <a:gd name="T23" fmla="*/ 132 h 270"/>
                    <a:gd name="T24" fmla="*/ 246 w 252"/>
                    <a:gd name="T25" fmla="*/ 144 h 270"/>
                    <a:gd name="T26" fmla="*/ 252 w 252"/>
                    <a:gd name="T27" fmla="*/ 150 h 270"/>
                    <a:gd name="T28" fmla="*/ 246 w 252"/>
                    <a:gd name="T29" fmla="*/ 162 h 270"/>
                    <a:gd name="T30" fmla="*/ 240 w 252"/>
                    <a:gd name="T31" fmla="*/ 168 h 270"/>
                    <a:gd name="T32" fmla="*/ 228 w 252"/>
                    <a:gd name="T33" fmla="*/ 174 h 270"/>
                    <a:gd name="T34" fmla="*/ 216 w 252"/>
                    <a:gd name="T35" fmla="*/ 174 h 270"/>
                    <a:gd name="T36" fmla="*/ 204 w 252"/>
                    <a:gd name="T37" fmla="*/ 174 h 270"/>
                    <a:gd name="T38" fmla="*/ 186 w 252"/>
                    <a:gd name="T39" fmla="*/ 168 h 270"/>
                    <a:gd name="T40" fmla="*/ 168 w 252"/>
                    <a:gd name="T41" fmla="*/ 168 h 270"/>
                    <a:gd name="T42" fmla="*/ 150 w 252"/>
                    <a:gd name="T43" fmla="*/ 180 h 270"/>
                    <a:gd name="T44" fmla="*/ 138 w 252"/>
                    <a:gd name="T45" fmla="*/ 192 h 270"/>
                    <a:gd name="T46" fmla="*/ 126 w 252"/>
                    <a:gd name="T47" fmla="*/ 210 h 270"/>
                    <a:gd name="T48" fmla="*/ 114 w 252"/>
                    <a:gd name="T49" fmla="*/ 222 h 270"/>
                    <a:gd name="T50" fmla="*/ 108 w 252"/>
                    <a:gd name="T51" fmla="*/ 234 h 270"/>
                    <a:gd name="T52" fmla="*/ 102 w 252"/>
                    <a:gd name="T53" fmla="*/ 234 h 270"/>
                    <a:gd name="T54" fmla="*/ 96 w 252"/>
                    <a:gd name="T55" fmla="*/ 240 h 270"/>
                    <a:gd name="T56" fmla="*/ 96 w 252"/>
                    <a:gd name="T57" fmla="*/ 240 h 270"/>
                    <a:gd name="T58" fmla="*/ 90 w 252"/>
                    <a:gd name="T59" fmla="*/ 234 h 270"/>
                    <a:gd name="T60" fmla="*/ 84 w 252"/>
                    <a:gd name="T61" fmla="*/ 234 h 270"/>
                    <a:gd name="T62" fmla="*/ 72 w 252"/>
                    <a:gd name="T63" fmla="*/ 240 h 270"/>
                    <a:gd name="T64" fmla="*/ 60 w 252"/>
                    <a:gd name="T65" fmla="*/ 240 h 270"/>
                    <a:gd name="T66" fmla="*/ 42 w 252"/>
                    <a:gd name="T67" fmla="*/ 252 h 270"/>
                    <a:gd name="T68" fmla="*/ 24 w 252"/>
                    <a:gd name="T69" fmla="*/ 264 h 270"/>
                    <a:gd name="T70" fmla="*/ 12 w 252"/>
                    <a:gd name="T71" fmla="*/ 270 h 270"/>
                    <a:gd name="T72" fmla="*/ 6 w 252"/>
                    <a:gd name="T73" fmla="*/ 270 h 270"/>
                    <a:gd name="T74" fmla="*/ 0 w 252"/>
                    <a:gd name="T75" fmla="*/ 270 h 270"/>
                    <a:gd name="T76" fmla="*/ 0 w 252"/>
                    <a:gd name="T77" fmla="*/ 270 h 270"/>
                    <a:gd name="T78" fmla="*/ 0 w 252"/>
                    <a:gd name="T79" fmla="*/ 264 h 270"/>
                    <a:gd name="T80" fmla="*/ 0 w 252"/>
                    <a:gd name="T81" fmla="*/ 258 h 270"/>
                    <a:gd name="T82" fmla="*/ 0 w 252"/>
                    <a:gd name="T83" fmla="*/ 252 h 270"/>
                    <a:gd name="T84" fmla="*/ 0 w 252"/>
                    <a:gd name="T85" fmla="*/ 240 h 270"/>
                    <a:gd name="T86" fmla="*/ 24 w 252"/>
                    <a:gd name="T87" fmla="*/ 198 h 270"/>
                    <a:gd name="T88" fmla="*/ 24 w 252"/>
                    <a:gd name="T89" fmla="*/ 156 h 270"/>
                    <a:gd name="T90" fmla="*/ 48 w 252"/>
                    <a:gd name="T91" fmla="*/ 126 h 270"/>
                    <a:gd name="T92" fmla="*/ 60 w 252"/>
                    <a:gd name="T93" fmla="*/ 90 h 270"/>
                    <a:gd name="T94" fmla="*/ 54 w 252"/>
                    <a:gd name="T95" fmla="*/ 30 h 270"/>
                    <a:gd name="T96" fmla="*/ 60 w 252"/>
                    <a:gd name="T97" fmla="*/ 30 h 270"/>
                    <a:gd name="T98" fmla="*/ 96 w 252"/>
                    <a:gd name="T99" fmla="*/ 24 h 270"/>
                    <a:gd name="T100" fmla="*/ 144 w 252"/>
                    <a:gd name="T101" fmla="*/ 0 h 270"/>
                    <a:gd name="T102" fmla="*/ 144 w 252"/>
                    <a:gd name="T103" fmla="*/ 0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52" h="270">
                      <a:moveTo>
                        <a:pt x="0" y="240"/>
                      </a:moveTo>
                      <a:lnTo>
                        <a:pt x="0" y="240"/>
                      </a:lnTo>
                      <a:lnTo>
                        <a:pt x="0" y="240"/>
                      </a:lnTo>
                      <a:lnTo>
                        <a:pt x="0" y="240"/>
                      </a:lnTo>
                      <a:close/>
                      <a:moveTo>
                        <a:pt x="144" y="0"/>
                      </a:moveTo>
                      <a:lnTo>
                        <a:pt x="150" y="24"/>
                      </a:lnTo>
                      <a:lnTo>
                        <a:pt x="156" y="42"/>
                      </a:lnTo>
                      <a:lnTo>
                        <a:pt x="168" y="54"/>
                      </a:lnTo>
                      <a:lnTo>
                        <a:pt x="180" y="78"/>
                      </a:lnTo>
                      <a:lnTo>
                        <a:pt x="198" y="96"/>
                      </a:lnTo>
                      <a:lnTo>
                        <a:pt x="216" y="120"/>
                      </a:lnTo>
                      <a:lnTo>
                        <a:pt x="240" y="132"/>
                      </a:lnTo>
                      <a:lnTo>
                        <a:pt x="246" y="144"/>
                      </a:lnTo>
                      <a:lnTo>
                        <a:pt x="252" y="150"/>
                      </a:lnTo>
                      <a:lnTo>
                        <a:pt x="246" y="162"/>
                      </a:lnTo>
                      <a:lnTo>
                        <a:pt x="240" y="168"/>
                      </a:lnTo>
                      <a:lnTo>
                        <a:pt x="228" y="174"/>
                      </a:lnTo>
                      <a:lnTo>
                        <a:pt x="216" y="174"/>
                      </a:lnTo>
                      <a:lnTo>
                        <a:pt x="204" y="174"/>
                      </a:lnTo>
                      <a:lnTo>
                        <a:pt x="186" y="168"/>
                      </a:lnTo>
                      <a:lnTo>
                        <a:pt x="168" y="168"/>
                      </a:lnTo>
                      <a:lnTo>
                        <a:pt x="150" y="180"/>
                      </a:lnTo>
                      <a:lnTo>
                        <a:pt x="138" y="192"/>
                      </a:lnTo>
                      <a:lnTo>
                        <a:pt x="126" y="210"/>
                      </a:lnTo>
                      <a:lnTo>
                        <a:pt x="114" y="222"/>
                      </a:lnTo>
                      <a:lnTo>
                        <a:pt x="108" y="234"/>
                      </a:lnTo>
                      <a:lnTo>
                        <a:pt x="102" y="234"/>
                      </a:lnTo>
                      <a:lnTo>
                        <a:pt x="96" y="240"/>
                      </a:lnTo>
                      <a:lnTo>
                        <a:pt x="96" y="240"/>
                      </a:lnTo>
                      <a:lnTo>
                        <a:pt x="90" y="234"/>
                      </a:lnTo>
                      <a:lnTo>
                        <a:pt x="84" y="234"/>
                      </a:lnTo>
                      <a:lnTo>
                        <a:pt x="72" y="240"/>
                      </a:lnTo>
                      <a:lnTo>
                        <a:pt x="60" y="240"/>
                      </a:lnTo>
                      <a:lnTo>
                        <a:pt x="42" y="252"/>
                      </a:lnTo>
                      <a:lnTo>
                        <a:pt x="24" y="264"/>
                      </a:lnTo>
                      <a:lnTo>
                        <a:pt x="12" y="270"/>
                      </a:lnTo>
                      <a:lnTo>
                        <a:pt x="6" y="270"/>
                      </a:lnTo>
                      <a:lnTo>
                        <a:pt x="0" y="270"/>
                      </a:lnTo>
                      <a:lnTo>
                        <a:pt x="0" y="270"/>
                      </a:lnTo>
                      <a:lnTo>
                        <a:pt x="0" y="264"/>
                      </a:lnTo>
                      <a:lnTo>
                        <a:pt x="0" y="258"/>
                      </a:lnTo>
                      <a:lnTo>
                        <a:pt x="0" y="252"/>
                      </a:lnTo>
                      <a:lnTo>
                        <a:pt x="0" y="240"/>
                      </a:lnTo>
                      <a:lnTo>
                        <a:pt x="24" y="198"/>
                      </a:lnTo>
                      <a:lnTo>
                        <a:pt x="24" y="156"/>
                      </a:lnTo>
                      <a:lnTo>
                        <a:pt x="48" y="126"/>
                      </a:lnTo>
                      <a:lnTo>
                        <a:pt x="60" y="90"/>
                      </a:lnTo>
                      <a:lnTo>
                        <a:pt x="54" y="30"/>
                      </a:lnTo>
                      <a:lnTo>
                        <a:pt x="60" y="30"/>
                      </a:lnTo>
                      <a:lnTo>
                        <a:pt x="96" y="24"/>
                      </a:lnTo>
                      <a:lnTo>
                        <a:pt x="144" y="0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6" name="Freeform 26">
                  <a:extLst>
                    <a:ext uri="{FF2B5EF4-FFF2-40B4-BE49-F238E27FC236}">
                      <a16:creationId xmlns:a16="http://schemas.microsoft.com/office/drawing/2014/main" id="{0D1A3335-B086-4DAC-B083-FE5DE95162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1" y="-2124"/>
                  <a:ext cx="450" cy="534"/>
                </a:xfrm>
                <a:custGeom>
                  <a:avLst/>
                  <a:gdLst>
                    <a:gd name="T0" fmla="*/ 96 w 450"/>
                    <a:gd name="T1" fmla="*/ 0 h 534"/>
                    <a:gd name="T2" fmla="*/ 162 w 450"/>
                    <a:gd name="T3" fmla="*/ 0 h 534"/>
                    <a:gd name="T4" fmla="*/ 198 w 450"/>
                    <a:gd name="T5" fmla="*/ 24 h 534"/>
                    <a:gd name="T6" fmla="*/ 228 w 450"/>
                    <a:gd name="T7" fmla="*/ 48 h 534"/>
                    <a:gd name="T8" fmla="*/ 240 w 450"/>
                    <a:gd name="T9" fmla="*/ 108 h 534"/>
                    <a:gd name="T10" fmla="*/ 258 w 450"/>
                    <a:gd name="T11" fmla="*/ 150 h 534"/>
                    <a:gd name="T12" fmla="*/ 288 w 450"/>
                    <a:gd name="T13" fmla="*/ 192 h 534"/>
                    <a:gd name="T14" fmla="*/ 300 w 450"/>
                    <a:gd name="T15" fmla="*/ 240 h 534"/>
                    <a:gd name="T16" fmla="*/ 336 w 450"/>
                    <a:gd name="T17" fmla="*/ 234 h 534"/>
                    <a:gd name="T18" fmla="*/ 378 w 450"/>
                    <a:gd name="T19" fmla="*/ 258 h 534"/>
                    <a:gd name="T20" fmla="*/ 384 w 450"/>
                    <a:gd name="T21" fmla="*/ 288 h 534"/>
                    <a:gd name="T22" fmla="*/ 384 w 450"/>
                    <a:gd name="T23" fmla="*/ 318 h 534"/>
                    <a:gd name="T24" fmla="*/ 420 w 450"/>
                    <a:gd name="T25" fmla="*/ 354 h 534"/>
                    <a:gd name="T26" fmla="*/ 420 w 450"/>
                    <a:gd name="T27" fmla="*/ 390 h 534"/>
                    <a:gd name="T28" fmla="*/ 450 w 450"/>
                    <a:gd name="T29" fmla="*/ 444 h 534"/>
                    <a:gd name="T30" fmla="*/ 432 w 450"/>
                    <a:gd name="T31" fmla="*/ 480 h 534"/>
                    <a:gd name="T32" fmla="*/ 396 w 450"/>
                    <a:gd name="T33" fmla="*/ 510 h 534"/>
                    <a:gd name="T34" fmla="*/ 396 w 450"/>
                    <a:gd name="T35" fmla="*/ 510 h 534"/>
                    <a:gd name="T36" fmla="*/ 354 w 450"/>
                    <a:gd name="T37" fmla="*/ 534 h 534"/>
                    <a:gd name="T38" fmla="*/ 348 w 450"/>
                    <a:gd name="T39" fmla="*/ 486 h 534"/>
                    <a:gd name="T40" fmla="*/ 330 w 450"/>
                    <a:gd name="T41" fmla="*/ 486 h 534"/>
                    <a:gd name="T42" fmla="*/ 318 w 450"/>
                    <a:gd name="T43" fmla="*/ 456 h 534"/>
                    <a:gd name="T44" fmla="*/ 306 w 450"/>
                    <a:gd name="T45" fmla="*/ 432 h 534"/>
                    <a:gd name="T46" fmla="*/ 282 w 450"/>
                    <a:gd name="T47" fmla="*/ 414 h 534"/>
                    <a:gd name="T48" fmla="*/ 252 w 450"/>
                    <a:gd name="T49" fmla="*/ 408 h 534"/>
                    <a:gd name="T50" fmla="*/ 228 w 450"/>
                    <a:gd name="T51" fmla="*/ 420 h 534"/>
                    <a:gd name="T52" fmla="*/ 192 w 450"/>
                    <a:gd name="T53" fmla="*/ 432 h 534"/>
                    <a:gd name="T54" fmla="*/ 162 w 450"/>
                    <a:gd name="T55" fmla="*/ 450 h 534"/>
                    <a:gd name="T56" fmla="*/ 162 w 450"/>
                    <a:gd name="T57" fmla="*/ 450 h 534"/>
                    <a:gd name="T58" fmla="*/ 144 w 450"/>
                    <a:gd name="T59" fmla="*/ 438 h 534"/>
                    <a:gd name="T60" fmla="*/ 120 w 450"/>
                    <a:gd name="T61" fmla="*/ 396 h 534"/>
                    <a:gd name="T62" fmla="*/ 90 w 450"/>
                    <a:gd name="T63" fmla="*/ 348 h 534"/>
                    <a:gd name="T64" fmla="*/ 96 w 450"/>
                    <a:gd name="T65" fmla="*/ 348 h 534"/>
                    <a:gd name="T66" fmla="*/ 90 w 450"/>
                    <a:gd name="T67" fmla="*/ 282 h 534"/>
                    <a:gd name="T68" fmla="*/ 48 w 450"/>
                    <a:gd name="T69" fmla="*/ 270 h 534"/>
                    <a:gd name="T70" fmla="*/ 36 w 450"/>
                    <a:gd name="T71" fmla="*/ 240 h 534"/>
                    <a:gd name="T72" fmla="*/ 60 w 450"/>
                    <a:gd name="T73" fmla="*/ 192 h 534"/>
                    <a:gd name="T74" fmla="*/ 12 w 450"/>
                    <a:gd name="T75" fmla="*/ 168 h 534"/>
                    <a:gd name="T76" fmla="*/ 12 w 450"/>
                    <a:gd name="T77" fmla="*/ 174 h 534"/>
                    <a:gd name="T78" fmla="*/ 12 w 450"/>
                    <a:gd name="T79" fmla="*/ 126 h 534"/>
                    <a:gd name="T80" fmla="*/ 0 w 450"/>
                    <a:gd name="T81" fmla="*/ 96 h 534"/>
                    <a:gd name="T82" fmla="*/ 6 w 450"/>
                    <a:gd name="T83" fmla="*/ 96 h 534"/>
                    <a:gd name="T84" fmla="*/ 54 w 450"/>
                    <a:gd name="T85" fmla="*/ 24 h 534"/>
                    <a:gd name="T86" fmla="*/ 96 w 450"/>
                    <a:gd name="T87" fmla="*/ 0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50" h="534">
                      <a:moveTo>
                        <a:pt x="96" y="0"/>
                      </a:moveTo>
                      <a:lnTo>
                        <a:pt x="162" y="0"/>
                      </a:lnTo>
                      <a:lnTo>
                        <a:pt x="198" y="24"/>
                      </a:lnTo>
                      <a:lnTo>
                        <a:pt x="228" y="48"/>
                      </a:lnTo>
                      <a:lnTo>
                        <a:pt x="240" y="108"/>
                      </a:lnTo>
                      <a:lnTo>
                        <a:pt x="258" y="150"/>
                      </a:lnTo>
                      <a:lnTo>
                        <a:pt x="288" y="192"/>
                      </a:lnTo>
                      <a:lnTo>
                        <a:pt x="300" y="240"/>
                      </a:lnTo>
                      <a:lnTo>
                        <a:pt x="336" y="234"/>
                      </a:lnTo>
                      <a:lnTo>
                        <a:pt x="378" y="258"/>
                      </a:lnTo>
                      <a:lnTo>
                        <a:pt x="384" y="288"/>
                      </a:lnTo>
                      <a:lnTo>
                        <a:pt x="384" y="318"/>
                      </a:lnTo>
                      <a:lnTo>
                        <a:pt x="420" y="354"/>
                      </a:lnTo>
                      <a:lnTo>
                        <a:pt x="420" y="390"/>
                      </a:lnTo>
                      <a:lnTo>
                        <a:pt x="450" y="444"/>
                      </a:lnTo>
                      <a:lnTo>
                        <a:pt x="432" y="480"/>
                      </a:lnTo>
                      <a:lnTo>
                        <a:pt x="396" y="510"/>
                      </a:lnTo>
                      <a:lnTo>
                        <a:pt x="396" y="510"/>
                      </a:lnTo>
                      <a:lnTo>
                        <a:pt x="354" y="534"/>
                      </a:lnTo>
                      <a:lnTo>
                        <a:pt x="348" y="486"/>
                      </a:lnTo>
                      <a:lnTo>
                        <a:pt x="330" y="486"/>
                      </a:lnTo>
                      <a:lnTo>
                        <a:pt x="318" y="456"/>
                      </a:lnTo>
                      <a:lnTo>
                        <a:pt x="306" y="432"/>
                      </a:lnTo>
                      <a:lnTo>
                        <a:pt x="282" y="414"/>
                      </a:lnTo>
                      <a:lnTo>
                        <a:pt x="252" y="408"/>
                      </a:lnTo>
                      <a:lnTo>
                        <a:pt x="228" y="420"/>
                      </a:lnTo>
                      <a:lnTo>
                        <a:pt x="192" y="432"/>
                      </a:lnTo>
                      <a:lnTo>
                        <a:pt x="162" y="450"/>
                      </a:lnTo>
                      <a:lnTo>
                        <a:pt x="162" y="450"/>
                      </a:lnTo>
                      <a:lnTo>
                        <a:pt x="144" y="438"/>
                      </a:lnTo>
                      <a:lnTo>
                        <a:pt x="120" y="396"/>
                      </a:lnTo>
                      <a:lnTo>
                        <a:pt x="90" y="348"/>
                      </a:lnTo>
                      <a:lnTo>
                        <a:pt x="96" y="348"/>
                      </a:lnTo>
                      <a:lnTo>
                        <a:pt x="90" y="282"/>
                      </a:lnTo>
                      <a:lnTo>
                        <a:pt x="48" y="270"/>
                      </a:lnTo>
                      <a:lnTo>
                        <a:pt x="36" y="240"/>
                      </a:lnTo>
                      <a:lnTo>
                        <a:pt x="60" y="192"/>
                      </a:lnTo>
                      <a:lnTo>
                        <a:pt x="12" y="168"/>
                      </a:lnTo>
                      <a:lnTo>
                        <a:pt x="12" y="174"/>
                      </a:lnTo>
                      <a:lnTo>
                        <a:pt x="12" y="126"/>
                      </a:lnTo>
                      <a:lnTo>
                        <a:pt x="0" y="96"/>
                      </a:lnTo>
                      <a:lnTo>
                        <a:pt x="6" y="96"/>
                      </a:lnTo>
                      <a:lnTo>
                        <a:pt x="54" y="24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7" name="Freeform 27">
                  <a:extLst>
                    <a:ext uri="{FF2B5EF4-FFF2-40B4-BE49-F238E27FC236}">
                      <a16:creationId xmlns:a16="http://schemas.microsoft.com/office/drawing/2014/main" id="{14CC6319-9ED6-405F-A9A2-30C4A42B10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297" y="-1554"/>
                  <a:ext cx="666" cy="762"/>
                </a:xfrm>
                <a:custGeom>
                  <a:avLst/>
                  <a:gdLst>
                    <a:gd name="T0" fmla="*/ 606 w 666"/>
                    <a:gd name="T1" fmla="*/ 210 h 762"/>
                    <a:gd name="T2" fmla="*/ 660 w 666"/>
                    <a:gd name="T3" fmla="*/ 6 h 762"/>
                    <a:gd name="T4" fmla="*/ 630 w 666"/>
                    <a:gd name="T5" fmla="*/ 126 h 762"/>
                    <a:gd name="T6" fmla="*/ 594 w 666"/>
                    <a:gd name="T7" fmla="*/ 204 h 762"/>
                    <a:gd name="T8" fmla="*/ 564 w 666"/>
                    <a:gd name="T9" fmla="*/ 198 h 762"/>
                    <a:gd name="T10" fmla="*/ 534 w 666"/>
                    <a:gd name="T11" fmla="*/ 186 h 762"/>
                    <a:gd name="T12" fmla="*/ 498 w 666"/>
                    <a:gd name="T13" fmla="*/ 186 h 762"/>
                    <a:gd name="T14" fmla="*/ 468 w 666"/>
                    <a:gd name="T15" fmla="*/ 204 h 762"/>
                    <a:gd name="T16" fmla="*/ 426 w 666"/>
                    <a:gd name="T17" fmla="*/ 186 h 762"/>
                    <a:gd name="T18" fmla="*/ 396 w 666"/>
                    <a:gd name="T19" fmla="*/ 180 h 762"/>
                    <a:gd name="T20" fmla="*/ 366 w 666"/>
                    <a:gd name="T21" fmla="*/ 198 h 762"/>
                    <a:gd name="T22" fmla="*/ 354 w 666"/>
                    <a:gd name="T23" fmla="*/ 222 h 762"/>
                    <a:gd name="T24" fmla="*/ 390 w 666"/>
                    <a:gd name="T25" fmla="*/ 252 h 762"/>
                    <a:gd name="T26" fmla="*/ 378 w 666"/>
                    <a:gd name="T27" fmla="*/ 276 h 762"/>
                    <a:gd name="T28" fmla="*/ 354 w 666"/>
                    <a:gd name="T29" fmla="*/ 288 h 762"/>
                    <a:gd name="T30" fmla="*/ 318 w 666"/>
                    <a:gd name="T31" fmla="*/ 282 h 762"/>
                    <a:gd name="T32" fmla="*/ 288 w 666"/>
                    <a:gd name="T33" fmla="*/ 228 h 762"/>
                    <a:gd name="T34" fmla="*/ 258 w 666"/>
                    <a:gd name="T35" fmla="*/ 228 h 762"/>
                    <a:gd name="T36" fmla="*/ 240 w 666"/>
                    <a:gd name="T37" fmla="*/ 282 h 762"/>
                    <a:gd name="T38" fmla="*/ 264 w 666"/>
                    <a:gd name="T39" fmla="*/ 324 h 762"/>
                    <a:gd name="T40" fmla="*/ 306 w 666"/>
                    <a:gd name="T41" fmla="*/ 354 h 762"/>
                    <a:gd name="T42" fmla="*/ 336 w 666"/>
                    <a:gd name="T43" fmla="*/ 408 h 762"/>
                    <a:gd name="T44" fmla="*/ 342 w 666"/>
                    <a:gd name="T45" fmla="*/ 456 h 762"/>
                    <a:gd name="T46" fmla="*/ 372 w 666"/>
                    <a:gd name="T47" fmla="*/ 480 h 762"/>
                    <a:gd name="T48" fmla="*/ 420 w 666"/>
                    <a:gd name="T49" fmla="*/ 534 h 762"/>
                    <a:gd name="T50" fmla="*/ 414 w 666"/>
                    <a:gd name="T51" fmla="*/ 564 h 762"/>
                    <a:gd name="T52" fmla="*/ 366 w 666"/>
                    <a:gd name="T53" fmla="*/ 582 h 762"/>
                    <a:gd name="T54" fmla="*/ 342 w 666"/>
                    <a:gd name="T55" fmla="*/ 618 h 762"/>
                    <a:gd name="T56" fmla="*/ 336 w 666"/>
                    <a:gd name="T57" fmla="*/ 648 h 762"/>
                    <a:gd name="T58" fmla="*/ 330 w 666"/>
                    <a:gd name="T59" fmla="*/ 684 h 762"/>
                    <a:gd name="T60" fmla="*/ 348 w 666"/>
                    <a:gd name="T61" fmla="*/ 726 h 762"/>
                    <a:gd name="T62" fmla="*/ 336 w 666"/>
                    <a:gd name="T63" fmla="*/ 738 h 762"/>
                    <a:gd name="T64" fmla="*/ 318 w 666"/>
                    <a:gd name="T65" fmla="*/ 744 h 762"/>
                    <a:gd name="T66" fmla="*/ 312 w 666"/>
                    <a:gd name="T67" fmla="*/ 762 h 762"/>
                    <a:gd name="T68" fmla="*/ 282 w 666"/>
                    <a:gd name="T69" fmla="*/ 744 h 762"/>
                    <a:gd name="T70" fmla="*/ 258 w 666"/>
                    <a:gd name="T71" fmla="*/ 708 h 762"/>
                    <a:gd name="T72" fmla="*/ 228 w 666"/>
                    <a:gd name="T73" fmla="*/ 696 h 762"/>
                    <a:gd name="T74" fmla="*/ 192 w 666"/>
                    <a:gd name="T75" fmla="*/ 690 h 762"/>
                    <a:gd name="T76" fmla="*/ 174 w 666"/>
                    <a:gd name="T77" fmla="*/ 654 h 762"/>
                    <a:gd name="T78" fmla="*/ 156 w 666"/>
                    <a:gd name="T79" fmla="*/ 624 h 762"/>
                    <a:gd name="T80" fmla="*/ 126 w 666"/>
                    <a:gd name="T81" fmla="*/ 582 h 762"/>
                    <a:gd name="T82" fmla="*/ 144 w 666"/>
                    <a:gd name="T83" fmla="*/ 552 h 762"/>
                    <a:gd name="T84" fmla="*/ 240 w 666"/>
                    <a:gd name="T85" fmla="*/ 558 h 762"/>
                    <a:gd name="T86" fmla="*/ 288 w 666"/>
                    <a:gd name="T87" fmla="*/ 564 h 762"/>
                    <a:gd name="T88" fmla="*/ 324 w 666"/>
                    <a:gd name="T89" fmla="*/ 564 h 762"/>
                    <a:gd name="T90" fmla="*/ 324 w 666"/>
                    <a:gd name="T91" fmla="*/ 528 h 762"/>
                    <a:gd name="T92" fmla="*/ 306 w 666"/>
                    <a:gd name="T93" fmla="*/ 504 h 762"/>
                    <a:gd name="T94" fmla="*/ 252 w 666"/>
                    <a:gd name="T95" fmla="*/ 504 h 762"/>
                    <a:gd name="T96" fmla="*/ 204 w 666"/>
                    <a:gd name="T97" fmla="*/ 492 h 762"/>
                    <a:gd name="T98" fmla="*/ 162 w 666"/>
                    <a:gd name="T99" fmla="*/ 492 h 762"/>
                    <a:gd name="T100" fmla="*/ 126 w 666"/>
                    <a:gd name="T101" fmla="*/ 504 h 762"/>
                    <a:gd name="T102" fmla="*/ 114 w 666"/>
                    <a:gd name="T103" fmla="*/ 480 h 762"/>
                    <a:gd name="T104" fmla="*/ 102 w 666"/>
                    <a:gd name="T105" fmla="*/ 444 h 762"/>
                    <a:gd name="T106" fmla="*/ 42 w 666"/>
                    <a:gd name="T107" fmla="*/ 390 h 762"/>
                    <a:gd name="T108" fmla="*/ 0 w 666"/>
                    <a:gd name="T109" fmla="*/ 342 h 762"/>
                    <a:gd name="T110" fmla="*/ 66 w 666"/>
                    <a:gd name="T111" fmla="*/ 270 h 762"/>
                    <a:gd name="T112" fmla="*/ 90 w 666"/>
                    <a:gd name="T113" fmla="*/ 180 h 762"/>
                    <a:gd name="T114" fmla="*/ 198 w 666"/>
                    <a:gd name="T115" fmla="*/ 150 h 762"/>
                    <a:gd name="T116" fmla="*/ 288 w 666"/>
                    <a:gd name="T117" fmla="*/ 102 h 762"/>
                    <a:gd name="T118" fmla="*/ 438 w 666"/>
                    <a:gd name="T119" fmla="*/ 60 h 762"/>
                    <a:gd name="T120" fmla="*/ 552 w 666"/>
                    <a:gd name="T121" fmla="*/ 102 h 762"/>
                    <a:gd name="T122" fmla="*/ 612 w 666"/>
                    <a:gd name="T123" fmla="*/ 6 h 762"/>
                    <a:gd name="T124" fmla="*/ 660 w 666"/>
                    <a:gd name="T125" fmla="*/ 6 h 7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666" h="762">
                      <a:moveTo>
                        <a:pt x="606" y="210"/>
                      </a:moveTo>
                      <a:lnTo>
                        <a:pt x="606" y="210"/>
                      </a:lnTo>
                      <a:lnTo>
                        <a:pt x="606" y="210"/>
                      </a:lnTo>
                      <a:lnTo>
                        <a:pt x="606" y="210"/>
                      </a:lnTo>
                      <a:close/>
                      <a:moveTo>
                        <a:pt x="612" y="6"/>
                      </a:moveTo>
                      <a:lnTo>
                        <a:pt x="660" y="6"/>
                      </a:lnTo>
                      <a:lnTo>
                        <a:pt x="666" y="60"/>
                      </a:lnTo>
                      <a:lnTo>
                        <a:pt x="654" y="96"/>
                      </a:lnTo>
                      <a:lnTo>
                        <a:pt x="630" y="126"/>
                      </a:lnTo>
                      <a:lnTo>
                        <a:pt x="630" y="168"/>
                      </a:lnTo>
                      <a:lnTo>
                        <a:pt x="606" y="210"/>
                      </a:lnTo>
                      <a:lnTo>
                        <a:pt x="594" y="204"/>
                      </a:lnTo>
                      <a:lnTo>
                        <a:pt x="588" y="198"/>
                      </a:lnTo>
                      <a:lnTo>
                        <a:pt x="576" y="198"/>
                      </a:lnTo>
                      <a:lnTo>
                        <a:pt x="564" y="198"/>
                      </a:lnTo>
                      <a:lnTo>
                        <a:pt x="552" y="198"/>
                      </a:lnTo>
                      <a:lnTo>
                        <a:pt x="546" y="192"/>
                      </a:lnTo>
                      <a:lnTo>
                        <a:pt x="534" y="186"/>
                      </a:lnTo>
                      <a:lnTo>
                        <a:pt x="522" y="180"/>
                      </a:lnTo>
                      <a:lnTo>
                        <a:pt x="510" y="180"/>
                      </a:lnTo>
                      <a:lnTo>
                        <a:pt x="498" y="186"/>
                      </a:lnTo>
                      <a:lnTo>
                        <a:pt x="486" y="192"/>
                      </a:lnTo>
                      <a:lnTo>
                        <a:pt x="480" y="204"/>
                      </a:lnTo>
                      <a:lnTo>
                        <a:pt x="468" y="204"/>
                      </a:lnTo>
                      <a:lnTo>
                        <a:pt x="450" y="204"/>
                      </a:lnTo>
                      <a:lnTo>
                        <a:pt x="438" y="198"/>
                      </a:lnTo>
                      <a:lnTo>
                        <a:pt x="426" y="186"/>
                      </a:lnTo>
                      <a:lnTo>
                        <a:pt x="414" y="180"/>
                      </a:lnTo>
                      <a:lnTo>
                        <a:pt x="408" y="174"/>
                      </a:lnTo>
                      <a:lnTo>
                        <a:pt x="396" y="180"/>
                      </a:lnTo>
                      <a:lnTo>
                        <a:pt x="390" y="186"/>
                      </a:lnTo>
                      <a:lnTo>
                        <a:pt x="378" y="192"/>
                      </a:lnTo>
                      <a:lnTo>
                        <a:pt x="366" y="198"/>
                      </a:lnTo>
                      <a:lnTo>
                        <a:pt x="354" y="204"/>
                      </a:lnTo>
                      <a:lnTo>
                        <a:pt x="348" y="216"/>
                      </a:lnTo>
                      <a:lnTo>
                        <a:pt x="354" y="222"/>
                      </a:lnTo>
                      <a:lnTo>
                        <a:pt x="360" y="234"/>
                      </a:lnTo>
                      <a:lnTo>
                        <a:pt x="378" y="240"/>
                      </a:lnTo>
                      <a:lnTo>
                        <a:pt x="390" y="252"/>
                      </a:lnTo>
                      <a:lnTo>
                        <a:pt x="390" y="258"/>
                      </a:lnTo>
                      <a:lnTo>
                        <a:pt x="390" y="264"/>
                      </a:lnTo>
                      <a:lnTo>
                        <a:pt x="378" y="276"/>
                      </a:lnTo>
                      <a:lnTo>
                        <a:pt x="372" y="282"/>
                      </a:lnTo>
                      <a:lnTo>
                        <a:pt x="360" y="288"/>
                      </a:lnTo>
                      <a:lnTo>
                        <a:pt x="354" y="288"/>
                      </a:lnTo>
                      <a:lnTo>
                        <a:pt x="342" y="294"/>
                      </a:lnTo>
                      <a:lnTo>
                        <a:pt x="330" y="288"/>
                      </a:lnTo>
                      <a:lnTo>
                        <a:pt x="318" y="282"/>
                      </a:lnTo>
                      <a:lnTo>
                        <a:pt x="306" y="270"/>
                      </a:lnTo>
                      <a:lnTo>
                        <a:pt x="294" y="246"/>
                      </a:lnTo>
                      <a:lnTo>
                        <a:pt x="288" y="228"/>
                      </a:lnTo>
                      <a:lnTo>
                        <a:pt x="276" y="222"/>
                      </a:lnTo>
                      <a:lnTo>
                        <a:pt x="264" y="222"/>
                      </a:lnTo>
                      <a:lnTo>
                        <a:pt x="258" y="228"/>
                      </a:lnTo>
                      <a:lnTo>
                        <a:pt x="246" y="240"/>
                      </a:lnTo>
                      <a:lnTo>
                        <a:pt x="240" y="264"/>
                      </a:lnTo>
                      <a:lnTo>
                        <a:pt x="240" y="282"/>
                      </a:lnTo>
                      <a:lnTo>
                        <a:pt x="246" y="294"/>
                      </a:lnTo>
                      <a:lnTo>
                        <a:pt x="252" y="312"/>
                      </a:lnTo>
                      <a:lnTo>
                        <a:pt x="264" y="324"/>
                      </a:lnTo>
                      <a:lnTo>
                        <a:pt x="282" y="336"/>
                      </a:lnTo>
                      <a:lnTo>
                        <a:pt x="294" y="348"/>
                      </a:lnTo>
                      <a:lnTo>
                        <a:pt x="306" y="354"/>
                      </a:lnTo>
                      <a:lnTo>
                        <a:pt x="318" y="372"/>
                      </a:lnTo>
                      <a:lnTo>
                        <a:pt x="330" y="390"/>
                      </a:lnTo>
                      <a:lnTo>
                        <a:pt x="336" y="408"/>
                      </a:lnTo>
                      <a:lnTo>
                        <a:pt x="336" y="432"/>
                      </a:lnTo>
                      <a:lnTo>
                        <a:pt x="336" y="444"/>
                      </a:lnTo>
                      <a:lnTo>
                        <a:pt x="342" y="456"/>
                      </a:lnTo>
                      <a:lnTo>
                        <a:pt x="348" y="462"/>
                      </a:lnTo>
                      <a:lnTo>
                        <a:pt x="354" y="468"/>
                      </a:lnTo>
                      <a:lnTo>
                        <a:pt x="372" y="480"/>
                      </a:lnTo>
                      <a:lnTo>
                        <a:pt x="390" y="498"/>
                      </a:lnTo>
                      <a:lnTo>
                        <a:pt x="408" y="516"/>
                      </a:lnTo>
                      <a:lnTo>
                        <a:pt x="420" y="534"/>
                      </a:lnTo>
                      <a:lnTo>
                        <a:pt x="426" y="546"/>
                      </a:lnTo>
                      <a:lnTo>
                        <a:pt x="420" y="558"/>
                      </a:lnTo>
                      <a:lnTo>
                        <a:pt x="414" y="564"/>
                      </a:lnTo>
                      <a:lnTo>
                        <a:pt x="396" y="576"/>
                      </a:lnTo>
                      <a:lnTo>
                        <a:pt x="378" y="576"/>
                      </a:lnTo>
                      <a:lnTo>
                        <a:pt x="366" y="582"/>
                      </a:lnTo>
                      <a:lnTo>
                        <a:pt x="354" y="594"/>
                      </a:lnTo>
                      <a:lnTo>
                        <a:pt x="348" y="606"/>
                      </a:lnTo>
                      <a:lnTo>
                        <a:pt x="342" y="618"/>
                      </a:lnTo>
                      <a:lnTo>
                        <a:pt x="342" y="630"/>
                      </a:lnTo>
                      <a:lnTo>
                        <a:pt x="336" y="642"/>
                      </a:lnTo>
                      <a:lnTo>
                        <a:pt x="336" y="648"/>
                      </a:lnTo>
                      <a:lnTo>
                        <a:pt x="330" y="654"/>
                      </a:lnTo>
                      <a:lnTo>
                        <a:pt x="330" y="666"/>
                      </a:lnTo>
                      <a:lnTo>
                        <a:pt x="330" y="684"/>
                      </a:lnTo>
                      <a:lnTo>
                        <a:pt x="336" y="696"/>
                      </a:lnTo>
                      <a:lnTo>
                        <a:pt x="342" y="714"/>
                      </a:lnTo>
                      <a:lnTo>
                        <a:pt x="348" y="726"/>
                      </a:lnTo>
                      <a:lnTo>
                        <a:pt x="348" y="732"/>
                      </a:lnTo>
                      <a:lnTo>
                        <a:pt x="342" y="732"/>
                      </a:lnTo>
                      <a:lnTo>
                        <a:pt x="336" y="738"/>
                      </a:lnTo>
                      <a:lnTo>
                        <a:pt x="330" y="738"/>
                      </a:lnTo>
                      <a:lnTo>
                        <a:pt x="324" y="738"/>
                      </a:lnTo>
                      <a:lnTo>
                        <a:pt x="318" y="744"/>
                      </a:lnTo>
                      <a:lnTo>
                        <a:pt x="318" y="750"/>
                      </a:lnTo>
                      <a:lnTo>
                        <a:pt x="318" y="756"/>
                      </a:lnTo>
                      <a:lnTo>
                        <a:pt x="312" y="762"/>
                      </a:lnTo>
                      <a:lnTo>
                        <a:pt x="306" y="756"/>
                      </a:lnTo>
                      <a:lnTo>
                        <a:pt x="294" y="750"/>
                      </a:lnTo>
                      <a:lnTo>
                        <a:pt x="282" y="744"/>
                      </a:lnTo>
                      <a:lnTo>
                        <a:pt x="276" y="732"/>
                      </a:lnTo>
                      <a:lnTo>
                        <a:pt x="270" y="720"/>
                      </a:lnTo>
                      <a:lnTo>
                        <a:pt x="258" y="708"/>
                      </a:lnTo>
                      <a:lnTo>
                        <a:pt x="252" y="702"/>
                      </a:lnTo>
                      <a:lnTo>
                        <a:pt x="240" y="696"/>
                      </a:lnTo>
                      <a:lnTo>
                        <a:pt x="228" y="696"/>
                      </a:lnTo>
                      <a:lnTo>
                        <a:pt x="216" y="696"/>
                      </a:lnTo>
                      <a:lnTo>
                        <a:pt x="204" y="696"/>
                      </a:lnTo>
                      <a:lnTo>
                        <a:pt x="192" y="690"/>
                      </a:lnTo>
                      <a:lnTo>
                        <a:pt x="180" y="678"/>
                      </a:lnTo>
                      <a:lnTo>
                        <a:pt x="174" y="666"/>
                      </a:lnTo>
                      <a:lnTo>
                        <a:pt x="174" y="654"/>
                      </a:lnTo>
                      <a:lnTo>
                        <a:pt x="174" y="648"/>
                      </a:lnTo>
                      <a:lnTo>
                        <a:pt x="168" y="636"/>
                      </a:lnTo>
                      <a:lnTo>
                        <a:pt x="156" y="624"/>
                      </a:lnTo>
                      <a:lnTo>
                        <a:pt x="144" y="606"/>
                      </a:lnTo>
                      <a:lnTo>
                        <a:pt x="132" y="594"/>
                      </a:lnTo>
                      <a:lnTo>
                        <a:pt x="126" y="582"/>
                      </a:lnTo>
                      <a:lnTo>
                        <a:pt x="126" y="576"/>
                      </a:lnTo>
                      <a:lnTo>
                        <a:pt x="132" y="564"/>
                      </a:lnTo>
                      <a:lnTo>
                        <a:pt x="144" y="552"/>
                      </a:lnTo>
                      <a:lnTo>
                        <a:pt x="180" y="546"/>
                      </a:lnTo>
                      <a:lnTo>
                        <a:pt x="216" y="552"/>
                      </a:lnTo>
                      <a:lnTo>
                        <a:pt x="240" y="558"/>
                      </a:lnTo>
                      <a:lnTo>
                        <a:pt x="252" y="564"/>
                      </a:lnTo>
                      <a:lnTo>
                        <a:pt x="270" y="564"/>
                      </a:lnTo>
                      <a:lnTo>
                        <a:pt x="288" y="564"/>
                      </a:lnTo>
                      <a:lnTo>
                        <a:pt x="306" y="570"/>
                      </a:lnTo>
                      <a:lnTo>
                        <a:pt x="318" y="570"/>
                      </a:lnTo>
                      <a:lnTo>
                        <a:pt x="324" y="564"/>
                      </a:lnTo>
                      <a:lnTo>
                        <a:pt x="324" y="558"/>
                      </a:lnTo>
                      <a:lnTo>
                        <a:pt x="324" y="546"/>
                      </a:lnTo>
                      <a:lnTo>
                        <a:pt x="324" y="528"/>
                      </a:lnTo>
                      <a:lnTo>
                        <a:pt x="318" y="516"/>
                      </a:lnTo>
                      <a:lnTo>
                        <a:pt x="312" y="510"/>
                      </a:lnTo>
                      <a:lnTo>
                        <a:pt x="306" y="504"/>
                      </a:lnTo>
                      <a:lnTo>
                        <a:pt x="294" y="504"/>
                      </a:lnTo>
                      <a:lnTo>
                        <a:pt x="276" y="504"/>
                      </a:lnTo>
                      <a:lnTo>
                        <a:pt x="252" y="504"/>
                      </a:lnTo>
                      <a:lnTo>
                        <a:pt x="234" y="504"/>
                      </a:lnTo>
                      <a:lnTo>
                        <a:pt x="222" y="498"/>
                      </a:lnTo>
                      <a:lnTo>
                        <a:pt x="204" y="492"/>
                      </a:lnTo>
                      <a:lnTo>
                        <a:pt x="192" y="492"/>
                      </a:lnTo>
                      <a:lnTo>
                        <a:pt x="180" y="486"/>
                      </a:lnTo>
                      <a:lnTo>
                        <a:pt x="162" y="492"/>
                      </a:lnTo>
                      <a:lnTo>
                        <a:pt x="144" y="498"/>
                      </a:lnTo>
                      <a:lnTo>
                        <a:pt x="132" y="504"/>
                      </a:lnTo>
                      <a:lnTo>
                        <a:pt x="126" y="504"/>
                      </a:lnTo>
                      <a:lnTo>
                        <a:pt x="120" y="498"/>
                      </a:lnTo>
                      <a:lnTo>
                        <a:pt x="120" y="492"/>
                      </a:lnTo>
                      <a:lnTo>
                        <a:pt x="114" y="480"/>
                      </a:lnTo>
                      <a:lnTo>
                        <a:pt x="114" y="468"/>
                      </a:lnTo>
                      <a:lnTo>
                        <a:pt x="108" y="456"/>
                      </a:lnTo>
                      <a:lnTo>
                        <a:pt x="102" y="444"/>
                      </a:lnTo>
                      <a:lnTo>
                        <a:pt x="96" y="432"/>
                      </a:lnTo>
                      <a:lnTo>
                        <a:pt x="66" y="414"/>
                      </a:lnTo>
                      <a:lnTo>
                        <a:pt x="42" y="390"/>
                      </a:lnTo>
                      <a:lnTo>
                        <a:pt x="24" y="372"/>
                      </a:lnTo>
                      <a:lnTo>
                        <a:pt x="6" y="348"/>
                      </a:lnTo>
                      <a:lnTo>
                        <a:pt x="0" y="342"/>
                      </a:lnTo>
                      <a:lnTo>
                        <a:pt x="0" y="342"/>
                      </a:lnTo>
                      <a:lnTo>
                        <a:pt x="24" y="306"/>
                      </a:lnTo>
                      <a:lnTo>
                        <a:pt x="66" y="270"/>
                      </a:lnTo>
                      <a:lnTo>
                        <a:pt x="90" y="234"/>
                      </a:lnTo>
                      <a:lnTo>
                        <a:pt x="90" y="180"/>
                      </a:lnTo>
                      <a:lnTo>
                        <a:pt x="90" y="180"/>
                      </a:lnTo>
                      <a:lnTo>
                        <a:pt x="138" y="162"/>
                      </a:lnTo>
                      <a:lnTo>
                        <a:pt x="180" y="168"/>
                      </a:lnTo>
                      <a:lnTo>
                        <a:pt x="198" y="150"/>
                      </a:lnTo>
                      <a:lnTo>
                        <a:pt x="252" y="132"/>
                      </a:lnTo>
                      <a:lnTo>
                        <a:pt x="288" y="102"/>
                      </a:lnTo>
                      <a:lnTo>
                        <a:pt x="288" y="102"/>
                      </a:lnTo>
                      <a:lnTo>
                        <a:pt x="336" y="108"/>
                      </a:lnTo>
                      <a:lnTo>
                        <a:pt x="396" y="84"/>
                      </a:lnTo>
                      <a:lnTo>
                        <a:pt x="438" y="60"/>
                      </a:lnTo>
                      <a:lnTo>
                        <a:pt x="492" y="84"/>
                      </a:lnTo>
                      <a:lnTo>
                        <a:pt x="522" y="108"/>
                      </a:lnTo>
                      <a:lnTo>
                        <a:pt x="552" y="102"/>
                      </a:lnTo>
                      <a:lnTo>
                        <a:pt x="588" y="84"/>
                      </a:lnTo>
                      <a:lnTo>
                        <a:pt x="612" y="42"/>
                      </a:lnTo>
                      <a:lnTo>
                        <a:pt x="612" y="6"/>
                      </a:lnTo>
                      <a:close/>
                      <a:moveTo>
                        <a:pt x="660" y="0"/>
                      </a:moveTo>
                      <a:lnTo>
                        <a:pt x="666" y="6"/>
                      </a:lnTo>
                      <a:lnTo>
                        <a:pt x="660" y="6"/>
                      </a:lnTo>
                      <a:lnTo>
                        <a:pt x="66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8" name="Freeform 28">
                  <a:extLst>
                    <a:ext uri="{FF2B5EF4-FFF2-40B4-BE49-F238E27FC236}">
                      <a16:creationId xmlns:a16="http://schemas.microsoft.com/office/drawing/2014/main" id="{A013AC28-F848-41C9-BC37-F6E40ACF2C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9" y="-1614"/>
                  <a:ext cx="246" cy="246"/>
                </a:xfrm>
                <a:custGeom>
                  <a:avLst/>
                  <a:gdLst>
                    <a:gd name="T0" fmla="*/ 162 w 246"/>
                    <a:gd name="T1" fmla="*/ 0 h 246"/>
                    <a:gd name="T2" fmla="*/ 204 w 246"/>
                    <a:gd name="T3" fmla="*/ 42 h 246"/>
                    <a:gd name="T4" fmla="*/ 204 w 246"/>
                    <a:gd name="T5" fmla="*/ 78 h 246"/>
                    <a:gd name="T6" fmla="*/ 234 w 246"/>
                    <a:gd name="T7" fmla="*/ 114 h 246"/>
                    <a:gd name="T8" fmla="*/ 246 w 246"/>
                    <a:gd name="T9" fmla="*/ 162 h 246"/>
                    <a:gd name="T10" fmla="*/ 246 w 246"/>
                    <a:gd name="T11" fmla="*/ 162 h 246"/>
                    <a:gd name="T12" fmla="*/ 210 w 246"/>
                    <a:gd name="T13" fmla="*/ 192 h 246"/>
                    <a:gd name="T14" fmla="*/ 156 w 246"/>
                    <a:gd name="T15" fmla="*/ 210 h 246"/>
                    <a:gd name="T16" fmla="*/ 138 w 246"/>
                    <a:gd name="T17" fmla="*/ 228 h 246"/>
                    <a:gd name="T18" fmla="*/ 96 w 246"/>
                    <a:gd name="T19" fmla="*/ 222 h 246"/>
                    <a:gd name="T20" fmla="*/ 54 w 246"/>
                    <a:gd name="T21" fmla="*/ 246 h 246"/>
                    <a:gd name="T22" fmla="*/ 48 w 246"/>
                    <a:gd name="T23" fmla="*/ 246 h 246"/>
                    <a:gd name="T24" fmla="*/ 30 w 246"/>
                    <a:gd name="T25" fmla="*/ 204 h 246"/>
                    <a:gd name="T26" fmla="*/ 0 w 246"/>
                    <a:gd name="T27" fmla="*/ 162 h 246"/>
                    <a:gd name="T28" fmla="*/ 0 w 246"/>
                    <a:gd name="T29" fmla="*/ 114 h 246"/>
                    <a:gd name="T30" fmla="*/ 0 w 246"/>
                    <a:gd name="T31" fmla="*/ 114 h 246"/>
                    <a:gd name="T32" fmla="*/ 54 w 246"/>
                    <a:gd name="T33" fmla="*/ 72 h 246"/>
                    <a:gd name="T34" fmla="*/ 90 w 246"/>
                    <a:gd name="T35" fmla="*/ 54 h 246"/>
                    <a:gd name="T36" fmla="*/ 126 w 246"/>
                    <a:gd name="T37" fmla="*/ 24 h 246"/>
                    <a:gd name="T38" fmla="*/ 162 w 246"/>
                    <a:gd name="T39" fmla="*/ 0 h 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6" h="246">
                      <a:moveTo>
                        <a:pt x="162" y="0"/>
                      </a:moveTo>
                      <a:lnTo>
                        <a:pt x="204" y="42"/>
                      </a:lnTo>
                      <a:lnTo>
                        <a:pt x="204" y="78"/>
                      </a:lnTo>
                      <a:lnTo>
                        <a:pt x="234" y="114"/>
                      </a:lnTo>
                      <a:lnTo>
                        <a:pt x="246" y="162"/>
                      </a:lnTo>
                      <a:lnTo>
                        <a:pt x="246" y="162"/>
                      </a:lnTo>
                      <a:lnTo>
                        <a:pt x="210" y="192"/>
                      </a:lnTo>
                      <a:lnTo>
                        <a:pt x="156" y="210"/>
                      </a:lnTo>
                      <a:lnTo>
                        <a:pt x="138" y="228"/>
                      </a:lnTo>
                      <a:lnTo>
                        <a:pt x="96" y="222"/>
                      </a:lnTo>
                      <a:lnTo>
                        <a:pt x="54" y="246"/>
                      </a:lnTo>
                      <a:lnTo>
                        <a:pt x="48" y="246"/>
                      </a:lnTo>
                      <a:lnTo>
                        <a:pt x="30" y="204"/>
                      </a:lnTo>
                      <a:lnTo>
                        <a:pt x="0" y="162"/>
                      </a:lnTo>
                      <a:lnTo>
                        <a:pt x="0" y="114"/>
                      </a:lnTo>
                      <a:lnTo>
                        <a:pt x="0" y="114"/>
                      </a:lnTo>
                      <a:lnTo>
                        <a:pt x="54" y="72"/>
                      </a:lnTo>
                      <a:lnTo>
                        <a:pt x="90" y="54"/>
                      </a:lnTo>
                      <a:lnTo>
                        <a:pt x="126" y="24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69" name="Freeform 29">
                  <a:extLst>
                    <a:ext uri="{FF2B5EF4-FFF2-40B4-BE49-F238E27FC236}">
                      <a16:creationId xmlns:a16="http://schemas.microsoft.com/office/drawing/2014/main" id="{7EF2648A-D82E-4C3D-8487-4C0A9A62761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255" y="-1716"/>
                  <a:ext cx="210" cy="216"/>
                </a:xfrm>
                <a:custGeom>
                  <a:avLst/>
                  <a:gdLst>
                    <a:gd name="T0" fmla="*/ 0 w 210"/>
                    <a:gd name="T1" fmla="*/ 78 h 216"/>
                    <a:gd name="T2" fmla="*/ 6 w 210"/>
                    <a:gd name="T3" fmla="*/ 84 h 216"/>
                    <a:gd name="T4" fmla="*/ 6 w 210"/>
                    <a:gd name="T5" fmla="*/ 84 h 216"/>
                    <a:gd name="T6" fmla="*/ 0 w 210"/>
                    <a:gd name="T7" fmla="*/ 78 h 216"/>
                    <a:gd name="T8" fmla="*/ 108 w 210"/>
                    <a:gd name="T9" fmla="*/ 0 h 216"/>
                    <a:gd name="T10" fmla="*/ 138 w 210"/>
                    <a:gd name="T11" fmla="*/ 6 h 216"/>
                    <a:gd name="T12" fmla="*/ 162 w 210"/>
                    <a:gd name="T13" fmla="*/ 24 h 216"/>
                    <a:gd name="T14" fmla="*/ 174 w 210"/>
                    <a:gd name="T15" fmla="*/ 48 h 216"/>
                    <a:gd name="T16" fmla="*/ 186 w 210"/>
                    <a:gd name="T17" fmla="*/ 78 h 216"/>
                    <a:gd name="T18" fmla="*/ 204 w 210"/>
                    <a:gd name="T19" fmla="*/ 78 h 216"/>
                    <a:gd name="T20" fmla="*/ 210 w 210"/>
                    <a:gd name="T21" fmla="*/ 126 h 216"/>
                    <a:gd name="T22" fmla="*/ 174 w 210"/>
                    <a:gd name="T23" fmla="*/ 156 h 216"/>
                    <a:gd name="T24" fmla="*/ 138 w 210"/>
                    <a:gd name="T25" fmla="*/ 174 h 216"/>
                    <a:gd name="T26" fmla="*/ 84 w 210"/>
                    <a:gd name="T27" fmla="*/ 216 h 216"/>
                    <a:gd name="T28" fmla="*/ 84 w 210"/>
                    <a:gd name="T29" fmla="*/ 216 h 216"/>
                    <a:gd name="T30" fmla="*/ 84 w 210"/>
                    <a:gd name="T31" fmla="*/ 162 h 216"/>
                    <a:gd name="T32" fmla="*/ 78 w 210"/>
                    <a:gd name="T33" fmla="*/ 126 h 216"/>
                    <a:gd name="T34" fmla="*/ 36 w 210"/>
                    <a:gd name="T35" fmla="*/ 108 h 216"/>
                    <a:gd name="T36" fmla="*/ 6 w 210"/>
                    <a:gd name="T37" fmla="*/ 84 h 216"/>
                    <a:gd name="T38" fmla="*/ 18 w 210"/>
                    <a:gd name="T39" fmla="*/ 48 h 216"/>
                    <a:gd name="T40" fmla="*/ 18 w 210"/>
                    <a:gd name="T41" fmla="*/ 48 h 216"/>
                    <a:gd name="T42" fmla="*/ 48 w 210"/>
                    <a:gd name="T43" fmla="*/ 30 h 216"/>
                    <a:gd name="T44" fmla="*/ 84 w 210"/>
                    <a:gd name="T45" fmla="*/ 12 h 216"/>
                    <a:gd name="T46" fmla="*/ 108 w 210"/>
                    <a:gd name="T47" fmla="*/ 0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10" h="216">
                      <a:moveTo>
                        <a:pt x="0" y="78"/>
                      </a:moveTo>
                      <a:lnTo>
                        <a:pt x="6" y="84"/>
                      </a:lnTo>
                      <a:lnTo>
                        <a:pt x="6" y="84"/>
                      </a:lnTo>
                      <a:lnTo>
                        <a:pt x="0" y="78"/>
                      </a:lnTo>
                      <a:close/>
                      <a:moveTo>
                        <a:pt x="108" y="0"/>
                      </a:moveTo>
                      <a:lnTo>
                        <a:pt x="138" y="6"/>
                      </a:lnTo>
                      <a:lnTo>
                        <a:pt x="162" y="24"/>
                      </a:lnTo>
                      <a:lnTo>
                        <a:pt x="174" y="48"/>
                      </a:lnTo>
                      <a:lnTo>
                        <a:pt x="186" y="78"/>
                      </a:lnTo>
                      <a:lnTo>
                        <a:pt x="204" y="78"/>
                      </a:lnTo>
                      <a:lnTo>
                        <a:pt x="210" y="126"/>
                      </a:lnTo>
                      <a:lnTo>
                        <a:pt x="174" y="156"/>
                      </a:lnTo>
                      <a:lnTo>
                        <a:pt x="138" y="174"/>
                      </a:lnTo>
                      <a:lnTo>
                        <a:pt x="84" y="216"/>
                      </a:lnTo>
                      <a:lnTo>
                        <a:pt x="84" y="216"/>
                      </a:lnTo>
                      <a:lnTo>
                        <a:pt x="84" y="162"/>
                      </a:lnTo>
                      <a:lnTo>
                        <a:pt x="78" y="126"/>
                      </a:lnTo>
                      <a:lnTo>
                        <a:pt x="36" y="108"/>
                      </a:lnTo>
                      <a:lnTo>
                        <a:pt x="6" y="84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48" y="30"/>
                      </a:lnTo>
                      <a:lnTo>
                        <a:pt x="84" y="12"/>
                      </a:lnTo>
                      <a:lnTo>
                        <a:pt x="10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0" name="Freeform 30">
                  <a:extLst>
                    <a:ext uri="{FF2B5EF4-FFF2-40B4-BE49-F238E27FC236}">
                      <a16:creationId xmlns:a16="http://schemas.microsoft.com/office/drawing/2014/main" id="{9478E752-38C5-4B01-A581-66F0BAC14BD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213" y="-1638"/>
                  <a:ext cx="174" cy="426"/>
                </a:xfrm>
                <a:custGeom>
                  <a:avLst/>
                  <a:gdLst>
                    <a:gd name="T0" fmla="*/ 84 w 174"/>
                    <a:gd name="T1" fmla="*/ 426 h 426"/>
                    <a:gd name="T2" fmla="*/ 84 w 174"/>
                    <a:gd name="T3" fmla="*/ 426 h 426"/>
                    <a:gd name="T4" fmla="*/ 84 w 174"/>
                    <a:gd name="T5" fmla="*/ 426 h 426"/>
                    <a:gd name="T6" fmla="*/ 84 w 174"/>
                    <a:gd name="T7" fmla="*/ 426 h 426"/>
                    <a:gd name="T8" fmla="*/ 48 w 174"/>
                    <a:gd name="T9" fmla="*/ 6 h 426"/>
                    <a:gd name="T10" fmla="*/ 78 w 174"/>
                    <a:gd name="T11" fmla="*/ 30 h 426"/>
                    <a:gd name="T12" fmla="*/ 120 w 174"/>
                    <a:gd name="T13" fmla="*/ 48 h 426"/>
                    <a:gd name="T14" fmla="*/ 126 w 174"/>
                    <a:gd name="T15" fmla="*/ 84 h 426"/>
                    <a:gd name="T16" fmla="*/ 126 w 174"/>
                    <a:gd name="T17" fmla="*/ 186 h 426"/>
                    <a:gd name="T18" fmla="*/ 156 w 174"/>
                    <a:gd name="T19" fmla="*/ 228 h 426"/>
                    <a:gd name="T20" fmla="*/ 174 w 174"/>
                    <a:gd name="T21" fmla="*/ 264 h 426"/>
                    <a:gd name="T22" fmla="*/ 174 w 174"/>
                    <a:gd name="T23" fmla="*/ 318 h 426"/>
                    <a:gd name="T24" fmla="*/ 150 w 174"/>
                    <a:gd name="T25" fmla="*/ 354 h 426"/>
                    <a:gd name="T26" fmla="*/ 108 w 174"/>
                    <a:gd name="T27" fmla="*/ 390 h 426"/>
                    <a:gd name="T28" fmla="*/ 84 w 174"/>
                    <a:gd name="T29" fmla="*/ 426 h 426"/>
                    <a:gd name="T30" fmla="*/ 48 w 174"/>
                    <a:gd name="T31" fmla="*/ 366 h 426"/>
                    <a:gd name="T32" fmla="*/ 18 w 174"/>
                    <a:gd name="T33" fmla="*/ 306 h 426"/>
                    <a:gd name="T34" fmla="*/ 6 w 174"/>
                    <a:gd name="T35" fmla="*/ 270 h 426"/>
                    <a:gd name="T36" fmla="*/ 0 w 174"/>
                    <a:gd name="T37" fmla="*/ 240 h 426"/>
                    <a:gd name="T38" fmla="*/ 18 w 174"/>
                    <a:gd name="T39" fmla="*/ 204 h 426"/>
                    <a:gd name="T40" fmla="*/ 30 w 174"/>
                    <a:gd name="T41" fmla="*/ 186 h 426"/>
                    <a:gd name="T42" fmla="*/ 30 w 174"/>
                    <a:gd name="T43" fmla="*/ 168 h 426"/>
                    <a:gd name="T44" fmla="*/ 24 w 174"/>
                    <a:gd name="T45" fmla="*/ 156 h 426"/>
                    <a:gd name="T46" fmla="*/ 12 w 174"/>
                    <a:gd name="T47" fmla="*/ 138 h 426"/>
                    <a:gd name="T48" fmla="*/ 12 w 174"/>
                    <a:gd name="T49" fmla="*/ 138 h 426"/>
                    <a:gd name="T50" fmla="*/ 24 w 174"/>
                    <a:gd name="T51" fmla="*/ 108 h 426"/>
                    <a:gd name="T52" fmla="*/ 12 w 174"/>
                    <a:gd name="T53" fmla="*/ 78 h 426"/>
                    <a:gd name="T54" fmla="*/ 30 w 174"/>
                    <a:gd name="T55" fmla="*/ 30 h 426"/>
                    <a:gd name="T56" fmla="*/ 48 w 174"/>
                    <a:gd name="T57" fmla="*/ 6 h 426"/>
                    <a:gd name="T58" fmla="*/ 48 w 174"/>
                    <a:gd name="T59" fmla="*/ 0 h 426"/>
                    <a:gd name="T60" fmla="*/ 48 w 174"/>
                    <a:gd name="T61" fmla="*/ 6 h 426"/>
                    <a:gd name="T62" fmla="*/ 42 w 174"/>
                    <a:gd name="T63" fmla="*/ 0 h 426"/>
                    <a:gd name="T64" fmla="*/ 48 w 174"/>
                    <a:gd name="T65" fmla="*/ 0 h 4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4" h="426">
                      <a:moveTo>
                        <a:pt x="84" y="426"/>
                      </a:moveTo>
                      <a:lnTo>
                        <a:pt x="84" y="426"/>
                      </a:lnTo>
                      <a:lnTo>
                        <a:pt x="84" y="426"/>
                      </a:lnTo>
                      <a:lnTo>
                        <a:pt x="84" y="426"/>
                      </a:lnTo>
                      <a:close/>
                      <a:moveTo>
                        <a:pt x="48" y="6"/>
                      </a:moveTo>
                      <a:lnTo>
                        <a:pt x="78" y="30"/>
                      </a:lnTo>
                      <a:lnTo>
                        <a:pt x="120" y="48"/>
                      </a:lnTo>
                      <a:lnTo>
                        <a:pt x="126" y="84"/>
                      </a:lnTo>
                      <a:lnTo>
                        <a:pt x="126" y="186"/>
                      </a:lnTo>
                      <a:lnTo>
                        <a:pt x="156" y="228"/>
                      </a:lnTo>
                      <a:lnTo>
                        <a:pt x="174" y="264"/>
                      </a:lnTo>
                      <a:lnTo>
                        <a:pt x="174" y="318"/>
                      </a:lnTo>
                      <a:lnTo>
                        <a:pt x="150" y="354"/>
                      </a:lnTo>
                      <a:lnTo>
                        <a:pt x="108" y="390"/>
                      </a:lnTo>
                      <a:lnTo>
                        <a:pt x="84" y="426"/>
                      </a:lnTo>
                      <a:lnTo>
                        <a:pt x="48" y="366"/>
                      </a:lnTo>
                      <a:lnTo>
                        <a:pt x="18" y="306"/>
                      </a:lnTo>
                      <a:lnTo>
                        <a:pt x="6" y="270"/>
                      </a:lnTo>
                      <a:lnTo>
                        <a:pt x="0" y="240"/>
                      </a:lnTo>
                      <a:lnTo>
                        <a:pt x="18" y="204"/>
                      </a:lnTo>
                      <a:lnTo>
                        <a:pt x="30" y="186"/>
                      </a:lnTo>
                      <a:lnTo>
                        <a:pt x="30" y="168"/>
                      </a:lnTo>
                      <a:lnTo>
                        <a:pt x="24" y="156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24" y="108"/>
                      </a:lnTo>
                      <a:lnTo>
                        <a:pt x="12" y="78"/>
                      </a:lnTo>
                      <a:lnTo>
                        <a:pt x="30" y="30"/>
                      </a:lnTo>
                      <a:lnTo>
                        <a:pt x="48" y="6"/>
                      </a:lnTo>
                      <a:close/>
                      <a:moveTo>
                        <a:pt x="48" y="0"/>
                      </a:moveTo>
                      <a:lnTo>
                        <a:pt x="48" y="6"/>
                      </a:lnTo>
                      <a:lnTo>
                        <a:pt x="42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1" name="Freeform 31">
                  <a:extLst>
                    <a:ext uri="{FF2B5EF4-FFF2-40B4-BE49-F238E27FC236}">
                      <a16:creationId xmlns:a16="http://schemas.microsoft.com/office/drawing/2014/main" id="{901A4000-3894-4B1E-B912-776D45D9A84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05" y="-1776"/>
                  <a:ext cx="168" cy="276"/>
                </a:xfrm>
                <a:custGeom>
                  <a:avLst/>
                  <a:gdLst>
                    <a:gd name="T0" fmla="*/ 120 w 168"/>
                    <a:gd name="T1" fmla="*/ 276 h 276"/>
                    <a:gd name="T2" fmla="*/ 120 w 168"/>
                    <a:gd name="T3" fmla="*/ 276 h 276"/>
                    <a:gd name="T4" fmla="*/ 120 w 168"/>
                    <a:gd name="T5" fmla="*/ 276 h 276"/>
                    <a:gd name="T6" fmla="*/ 120 w 168"/>
                    <a:gd name="T7" fmla="*/ 276 h 276"/>
                    <a:gd name="T8" fmla="*/ 96 w 168"/>
                    <a:gd name="T9" fmla="*/ 0 h 276"/>
                    <a:gd name="T10" fmla="*/ 126 w 168"/>
                    <a:gd name="T11" fmla="*/ 48 h 276"/>
                    <a:gd name="T12" fmla="*/ 150 w 168"/>
                    <a:gd name="T13" fmla="*/ 90 h 276"/>
                    <a:gd name="T14" fmla="*/ 168 w 168"/>
                    <a:gd name="T15" fmla="*/ 102 h 276"/>
                    <a:gd name="T16" fmla="*/ 156 w 168"/>
                    <a:gd name="T17" fmla="*/ 138 h 276"/>
                    <a:gd name="T18" fmla="*/ 138 w 168"/>
                    <a:gd name="T19" fmla="*/ 168 h 276"/>
                    <a:gd name="T20" fmla="*/ 120 w 168"/>
                    <a:gd name="T21" fmla="*/ 216 h 276"/>
                    <a:gd name="T22" fmla="*/ 132 w 168"/>
                    <a:gd name="T23" fmla="*/ 246 h 276"/>
                    <a:gd name="T24" fmla="*/ 120 w 168"/>
                    <a:gd name="T25" fmla="*/ 276 h 276"/>
                    <a:gd name="T26" fmla="*/ 102 w 168"/>
                    <a:gd name="T27" fmla="*/ 264 h 276"/>
                    <a:gd name="T28" fmla="*/ 90 w 168"/>
                    <a:gd name="T29" fmla="*/ 252 h 276"/>
                    <a:gd name="T30" fmla="*/ 72 w 168"/>
                    <a:gd name="T31" fmla="*/ 240 h 276"/>
                    <a:gd name="T32" fmla="*/ 54 w 168"/>
                    <a:gd name="T33" fmla="*/ 228 h 276"/>
                    <a:gd name="T34" fmla="*/ 30 w 168"/>
                    <a:gd name="T35" fmla="*/ 222 h 276"/>
                    <a:gd name="T36" fmla="*/ 6 w 168"/>
                    <a:gd name="T37" fmla="*/ 210 h 276"/>
                    <a:gd name="T38" fmla="*/ 0 w 168"/>
                    <a:gd name="T39" fmla="*/ 210 h 276"/>
                    <a:gd name="T40" fmla="*/ 18 w 168"/>
                    <a:gd name="T41" fmla="*/ 174 h 276"/>
                    <a:gd name="T42" fmla="*/ 18 w 168"/>
                    <a:gd name="T43" fmla="*/ 180 h 276"/>
                    <a:gd name="T44" fmla="*/ 30 w 168"/>
                    <a:gd name="T45" fmla="*/ 126 h 276"/>
                    <a:gd name="T46" fmla="*/ 30 w 168"/>
                    <a:gd name="T47" fmla="*/ 90 h 276"/>
                    <a:gd name="T48" fmla="*/ 60 w 168"/>
                    <a:gd name="T49" fmla="*/ 48 h 276"/>
                    <a:gd name="T50" fmla="*/ 84 w 168"/>
                    <a:gd name="T51" fmla="*/ 12 h 276"/>
                    <a:gd name="T52" fmla="*/ 96 w 168"/>
                    <a:gd name="T53" fmla="*/ 0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68" h="276">
                      <a:moveTo>
                        <a:pt x="120" y="276"/>
                      </a:moveTo>
                      <a:lnTo>
                        <a:pt x="120" y="276"/>
                      </a:lnTo>
                      <a:lnTo>
                        <a:pt x="120" y="276"/>
                      </a:lnTo>
                      <a:lnTo>
                        <a:pt x="120" y="276"/>
                      </a:lnTo>
                      <a:close/>
                      <a:moveTo>
                        <a:pt x="96" y="0"/>
                      </a:moveTo>
                      <a:lnTo>
                        <a:pt x="126" y="48"/>
                      </a:lnTo>
                      <a:lnTo>
                        <a:pt x="150" y="90"/>
                      </a:lnTo>
                      <a:lnTo>
                        <a:pt x="168" y="102"/>
                      </a:lnTo>
                      <a:lnTo>
                        <a:pt x="156" y="138"/>
                      </a:lnTo>
                      <a:lnTo>
                        <a:pt x="138" y="168"/>
                      </a:lnTo>
                      <a:lnTo>
                        <a:pt x="120" y="216"/>
                      </a:lnTo>
                      <a:lnTo>
                        <a:pt x="132" y="246"/>
                      </a:lnTo>
                      <a:lnTo>
                        <a:pt x="120" y="276"/>
                      </a:lnTo>
                      <a:lnTo>
                        <a:pt x="102" y="264"/>
                      </a:lnTo>
                      <a:lnTo>
                        <a:pt x="90" y="252"/>
                      </a:lnTo>
                      <a:lnTo>
                        <a:pt x="72" y="240"/>
                      </a:lnTo>
                      <a:lnTo>
                        <a:pt x="54" y="228"/>
                      </a:lnTo>
                      <a:lnTo>
                        <a:pt x="30" y="222"/>
                      </a:lnTo>
                      <a:lnTo>
                        <a:pt x="6" y="210"/>
                      </a:lnTo>
                      <a:lnTo>
                        <a:pt x="0" y="210"/>
                      </a:lnTo>
                      <a:lnTo>
                        <a:pt x="18" y="174"/>
                      </a:lnTo>
                      <a:lnTo>
                        <a:pt x="18" y="180"/>
                      </a:lnTo>
                      <a:lnTo>
                        <a:pt x="30" y="126"/>
                      </a:lnTo>
                      <a:lnTo>
                        <a:pt x="30" y="90"/>
                      </a:lnTo>
                      <a:lnTo>
                        <a:pt x="60" y="48"/>
                      </a:lnTo>
                      <a:lnTo>
                        <a:pt x="84" y="12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2" name="Freeform 32">
                  <a:extLst>
                    <a:ext uri="{FF2B5EF4-FFF2-40B4-BE49-F238E27FC236}">
                      <a16:creationId xmlns:a16="http://schemas.microsoft.com/office/drawing/2014/main" id="{0FC49E1B-1A8B-4E99-BC2C-9907D423FDE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11" y="-1962"/>
                  <a:ext cx="396" cy="366"/>
                </a:xfrm>
                <a:custGeom>
                  <a:avLst/>
                  <a:gdLst>
                    <a:gd name="T0" fmla="*/ 312 w 396"/>
                    <a:gd name="T1" fmla="*/ 360 h 366"/>
                    <a:gd name="T2" fmla="*/ 312 w 396"/>
                    <a:gd name="T3" fmla="*/ 360 h 366"/>
                    <a:gd name="T4" fmla="*/ 312 w 396"/>
                    <a:gd name="T5" fmla="*/ 366 h 366"/>
                    <a:gd name="T6" fmla="*/ 312 w 396"/>
                    <a:gd name="T7" fmla="*/ 360 h 366"/>
                    <a:gd name="T8" fmla="*/ 222 w 396"/>
                    <a:gd name="T9" fmla="*/ 0 h 366"/>
                    <a:gd name="T10" fmla="*/ 258 w 396"/>
                    <a:gd name="T11" fmla="*/ 12 h 366"/>
                    <a:gd name="T12" fmla="*/ 312 w 396"/>
                    <a:gd name="T13" fmla="*/ 12 h 366"/>
                    <a:gd name="T14" fmla="*/ 318 w 396"/>
                    <a:gd name="T15" fmla="*/ 6 h 366"/>
                    <a:gd name="T16" fmla="*/ 360 w 396"/>
                    <a:gd name="T17" fmla="*/ 30 h 366"/>
                    <a:gd name="T18" fmla="*/ 336 w 396"/>
                    <a:gd name="T19" fmla="*/ 78 h 366"/>
                    <a:gd name="T20" fmla="*/ 348 w 396"/>
                    <a:gd name="T21" fmla="*/ 108 h 366"/>
                    <a:gd name="T22" fmla="*/ 390 w 396"/>
                    <a:gd name="T23" fmla="*/ 120 h 366"/>
                    <a:gd name="T24" fmla="*/ 396 w 396"/>
                    <a:gd name="T25" fmla="*/ 186 h 366"/>
                    <a:gd name="T26" fmla="*/ 390 w 396"/>
                    <a:gd name="T27" fmla="*/ 186 h 366"/>
                    <a:gd name="T28" fmla="*/ 378 w 396"/>
                    <a:gd name="T29" fmla="*/ 198 h 366"/>
                    <a:gd name="T30" fmla="*/ 354 w 396"/>
                    <a:gd name="T31" fmla="*/ 234 h 366"/>
                    <a:gd name="T32" fmla="*/ 324 w 396"/>
                    <a:gd name="T33" fmla="*/ 276 h 366"/>
                    <a:gd name="T34" fmla="*/ 324 w 396"/>
                    <a:gd name="T35" fmla="*/ 312 h 366"/>
                    <a:gd name="T36" fmla="*/ 312 w 396"/>
                    <a:gd name="T37" fmla="*/ 360 h 366"/>
                    <a:gd name="T38" fmla="*/ 264 w 396"/>
                    <a:gd name="T39" fmla="*/ 330 h 366"/>
                    <a:gd name="T40" fmla="*/ 228 w 396"/>
                    <a:gd name="T41" fmla="*/ 300 h 366"/>
                    <a:gd name="T42" fmla="*/ 204 w 396"/>
                    <a:gd name="T43" fmla="*/ 264 h 366"/>
                    <a:gd name="T44" fmla="*/ 174 w 396"/>
                    <a:gd name="T45" fmla="*/ 240 h 366"/>
                    <a:gd name="T46" fmla="*/ 156 w 396"/>
                    <a:gd name="T47" fmla="*/ 216 h 366"/>
                    <a:gd name="T48" fmla="*/ 108 w 396"/>
                    <a:gd name="T49" fmla="*/ 186 h 366"/>
                    <a:gd name="T50" fmla="*/ 96 w 396"/>
                    <a:gd name="T51" fmla="*/ 162 h 366"/>
                    <a:gd name="T52" fmla="*/ 54 w 396"/>
                    <a:gd name="T53" fmla="*/ 114 h 366"/>
                    <a:gd name="T54" fmla="*/ 18 w 396"/>
                    <a:gd name="T55" fmla="*/ 78 h 366"/>
                    <a:gd name="T56" fmla="*/ 0 w 396"/>
                    <a:gd name="T57" fmla="*/ 30 h 366"/>
                    <a:gd name="T58" fmla="*/ 12 w 396"/>
                    <a:gd name="T59" fmla="*/ 0 h 366"/>
                    <a:gd name="T60" fmla="*/ 78 w 396"/>
                    <a:gd name="T61" fmla="*/ 12 h 366"/>
                    <a:gd name="T62" fmla="*/ 180 w 396"/>
                    <a:gd name="T63" fmla="*/ 12 h 366"/>
                    <a:gd name="T64" fmla="*/ 222 w 396"/>
                    <a:gd name="T65" fmla="*/ 0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96" h="366">
                      <a:moveTo>
                        <a:pt x="312" y="360"/>
                      </a:moveTo>
                      <a:lnTo>
                        <a:pt x="312" y="360"/>
                      </a:lnTo>
                      <a:lnTo>
                        <a:pt x="312" y="366"/>
                      </a:lnTo>
                      <a:lnTo>
                        <a:pt x="312" y="360"/>
                      </a:lnTo>
                      <a:close/>
                      <a:moveTo>
                        <a:pt x="222" y="0"/>
                      </a:moveTo>
                      <a:lnTo>
                        <a:pt x="258" y="12"/>
                      </a:lnTo>
                      <a:lnTo>
                        <a:pt x="312" y="12"/>
                      </a:lnTo>
                      <a:lnTo>
                        <a:pt x="318" y="6"/>
                      </a:lnTo>
                      <a:lnTo>
                        <a:pt x="360" y="30"/>
                      </a:lnTo>
                      <a:lnTo>
                        <a:pt x="336" y="78"/>
                      </a:lnTo>
                      <a:lnTo>
                        <a:pt x="348" y="108"/>
                      </a:lnTo>
                      <a:lnTo>
                        <a:pt x="390" y="120"/>
                      </a:lnTo>
                      <a:lnTo>
                        <a:pt x="396" y="186"/>
                      </a:lnTo>
                      <a:lnTo>
                        <a:pt x="390" y="186"/>
                      </a:lnTo>
                      <a:lnTo>
                        <a:pt x="378" y="198"/>
                      </a:lnTo>
                      <a:lnTo>
                        <a:pt x="354" y="234"/>
                      </a:lnTo>
                      <a:lnTo>
                        <a:pt x="324" y="276"/>
                      </a:lnTo>
                      <a:lnTo>
                        <a:pt x="324" y="312"/>
                      </a:lnTo>
                      <a:lnTo>
                        <a:pt x="312" y="360"/>
                      </a:lnTo>
                      <a:lnTo>
                        <a:pt x="264" y="330"/>
                      </a:lnTo>
                      <a:lnTo>
                        <a:pt x="228" y="300"/>
                      </a:lnTo>
                      <a:lnTo>
                        <a:pt x="204" y="264"/>
                      </a:lnTo>
                      <a:lnTo>
                        <a:pt x="174" y="240"/>
                      </a:lnTo>
                      <a:lnTo>
                        <a:pt x="156" y="216"/>
                      </a:lnTo>
                      <a:lnTo>
                        <a:pt x="108" y="186"/>
                      </a:lnTo>
                      <a:lnTo>
                        <a:pt x="96" y="162"/>
                      </a:lnTo>
                      <a:lnTo>
                        <a:pt x="54" y="114"/>
                      </a:lnTo>
                      <a:lnTo>
                        <a:pt x="18" y="78"/>
                      </a:lnTo>
                      <a:lnTo>
                        <a:pt x="0" y="30"/>
                      </a:lnTo>
                      <a:lnTo>
                        <a:pt x="12" y="0"/>
                      </a:lnTo>
                      <a:lnTo>
                        <a:pt x="78" y="12"/>
                      </a:lnTo>
                      <a:lnTo>
                        <a:pt x="180" y="12"/>
                      </a:lnTo>
                      <a:lnTo>
                        <a:pt x="22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3" name="Freeform 33">
                  <a:extLst>
                    <a:ext uri="{FF2B5EF4-FFF2-40B4-BE49-F238E27FC236}">
                      <a16:creationId xmlns:a16="http://schemas.microsoft.com/office/drawing/2014/main" id="{A497FEFD-2DF8-4C8B-B828-A10D35A7395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83" y="-2112"/>
                  <a:ext cx="546" cy="546"/>
                </a:xfrm>
                <a:custGeom>
                  <a:avLst/>
                  <a:gdLst>
                    <a:gd name="T0" fmla="*/ 528 w 546"/>
                    <a:gd name="T1" fmla="*/ 546 h 546"/>
                    <a:gd name="T2" fmla="*/ 528 w 546"/>
                    <a:gd name="T3" fmla="*/ 546 h 546"/>
                    <a:gd name="T4" fmla="*/ 336 w 546"/>
                    <a:gd name="T5" fmla="*/ 12 h 546"/>
                    <a:gd name="T6" fmla="*/ 360 w 546"/>
                    <a:gd name="T7" fmla="*/ 18 h 546"/>
                    <a:gd name="T8" fmla="*/ 462 w 546"/>
                    <a:gd name="T9" fmla="*/ 72 h 546"/>
                    <a:gd name="T10" fmla="*/ 528 w 546"/>
                    <a:gd name="T11" fmla="*/ 84 h 546"/>
                    <a:gd name="T12" fmla="*/ 540 w 546"/>
                    <a:gd name="T13" fmla="*/ 162 h 546"/>
                    <a:gd name="T14" fmla="*/ 450 w 546"/>
                    <a:gd name="T15" fmla="*/ 150 h 546"/>
                    <a:gd name="T16" fmla="*/ 306 w 546"/>
                    <a:gd name="T17" fmla="*/ 162 h 546"/>
                    <a:gd name="T18" fmla="*/ 228 w 546"/>
                    <a:gd name="T19" fmla="*/ 180 h 546"/>
                    <a:gd name="T20" fmla="*/ 282 w 546"/>
                    <a:gd name="T21" fmla="*/ 264 h 546"/>
                    <a:gd name="T22" fmla="*/ 336 w 546"/>
                    <a:gd name="T23" fmla="*/ 336 h 546"/>
                    <a:gd name="T24" fmla="*/ 402 w 546"/>
                    <a:gd name="T25" fmla="*/ 390 h 546"/>
                    <a:gd name="T26" fmla="*/ 456 w 546"/>
                    <a:gd name="T27" fmla="*/ 450 h 546"/>
                    <a:gd name="T28" fmla="*/ 546 w 546"/>
                    <a:gd name="T29" fmla="*/ 510 h 546"/>
                    <a:gd name="T30" fmla="*/ 498 w 546"/>
                    <a:gd name="T31" fmla="*/ 528 h 546"/>
                    <a:gd name="T32" fmla="*/ 444 w 546"/>
                    <a:gd name="T33" fmla="*/ 504 h 546"/>
                    <a:gd name="T34" fmla="*/ 414 w 546"/>
                    <a:gd name="T35" fmla="*/ 480 h 546"/>
                    <a:gd name="T36" fmla="*/ 396 w 546"/>
                    <a:gd name="T37" fmla="*/ 456 h 546"/>
                    <a:gd name="T38" fmla="*/ 378 w 546"/>
                    <a:gd name="T39" fmla="*/ 456 h 546"/>
                    <a:gd name="T40" fmla="*/ 354 w 546"/>
                    <a:gd name="T41" fmla="*/ 456 h 546"/>
                    <a:gd name="T42" fmla="*/ 330 w 546"/>
                    <a:gd name="T43" fmla="*/ 444 h 546"/>
                    <a:gd name="T44" fmla="*/ 300 w 546"/>
                    <a:gd name="T45" fmla="*/ 432 h 546"/>
                    <a:gd name="T46" fmla="*/ 276 w 546"/>
                    <a:gd name="T47" fmla="*/ 432 h 546"/>
                    <a:gd name="T48" fmla="*/ 228 w 546"/>
                    <a:gd name="T49" fmla="*/ 402 h 546"/>
                    <a:gd name="T50" fmla="*/ 174 w 546"/>
                    <a:gd name="T51" fmla="*/ 324 h 546"/>
                    <a:gd name="T52" fmla="*/ 156 w 546"/>
                    <a:gd name="T53" fmla="*/ 252 h 546"/>
                    <a:gd name="T54" fmla="*/ 120 w 546"/>
                    <a:gd name="T55" fmla="*/ 204 h 546"/>
                    <a:gd name="T56" fmla="*/ 102 w 546"/>
                    <a:gd name="T57" fmla="*/ 198 h 546"/>
                    <a:gd name="T58" fmla="*/ 84 w 546"/>
                    <a:gd name="T59" fmla="*/ 210 h 546"/>
                    <a:gd name="T60" fmla="*/ 54 w 546"/>
                    <a:gd name="T61" fmla="*/ 234 h 546"/>
                    <a:gd name="T62" fmla="*/ 30 w 546"/>
                    <a:gd name="T63" fmla="*/ 228 h 546"/>
                    <a:gd name="T64" fmla="*/ 12 w 546"/>
                    <a:gd name="T65" fmla="*/ 204 h 546"/>
                    <a:gd name="T66" fmla="*/ 6 w 546"/>
                    <a:gd name="T67" fmla="*/ 180 h 546"/>
                    <a:gd name="T68" fmla="*/ 0 w 546"/>
                    <a:gd name="T69" fmla="*/ 156 h 546"/>
                    <a:gd name="T70" fmla="*/ 6 w 546"/>
                    <a:gd name="T71" fmla="*/ 126 h 546"/>
                    <a:gd name="T72" fmla="*/ 0 w 546"/>
                    <a:gd name="T73" fmla="*/ 114 h 546"/>
                    <a:gd name="T74" fmla="*/ 48 w 546"/>
                    <a:gd name="T75" fmla="*/ 90 h 546"/>
                    <a:gd name="T76" fmla="*/ 132 w 546"/>
                    <a:gd name="T77" fmla="*/ 90 h 546"/>
                    <a:gd name="T78" fmla="*/ 204 w 546"/>
                    <a:gd name="T79" fmla="*/ 54 h 546"/>
                    <a:gd name="T80" fmla="*/ 282 w 546"/>
                    <a:gd name="T81" fmla="*/ 0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46" h="546">
                      <a:moveTo>
                        <a:pt x="528" y="546"/>
                      </a:moveTo>
                      <a:lnTo>
                        <a:pt x="528" y="546"/>
                      </a:lnTo>
                      <a:lnTo>
                        <a:pt x="522" y="546"/>
                      </a:lnTo>
                      <a:lnTo>
                        <a:pt x="528" y="546"/>
                      </a:lnTo>
                      <a:close/>
                      <a:moveTo>
                        <a:pt x="282" y="0"/>
                      </a:moveTo>
                      <a:lnTo>
                        <a:pt x="336" y="12"/>
                      </a:lnTo>
                      <a:lnTo>
                        <a:pt x="360" y="18"/>
                      </a:lnTo>
                      <a:lnTo>
                        <a:pt x="360" y="18"/>
                      </a:lnTo>
                      <a:lnTo>
                        <a:pt x="408" y="60"/>
                      </a:lnTo>
                      <a:lnTo>
                        <a:pt x="462" y="72"/>
                      </a:lnTo>
                      <a:lnTo>
                        <a:pt x="528" y="78"/>
                      </a:lnTo>
                      <a:lnTo>
                        <a:pt x="528" y="84"/>
                      </a:lnTo>
                      <a:lnTo>
                        <a:pt x="540" y="114"/>
                      </a:lnTo>
                      <a:lnTo>
                        <a:pt x="540" y="162"/>
                      </a:lnTo>
                      <a:lnTo>
                        <a:pt x="486" y="162"/>
                      </a:lnTo>
                      <a:lnTo>
                        <a:pt x="450" y="150"/>
                      </a:lnTo>
                      <a:lnTo>
                        <a:pt x="408" y="162"/>
                      </a:lnTo>
                      <a:lnTo>
                        <a:pt x="306" y="162"/>
                      </a:lnTo>
                      <a:lnTo>
                        <a:pt x="240" y="150"/>
                      </a:lnTo>
                      <a:lnTo>
                        <a:pt x="228" y="180"/>
                      </a:lnTo>
                      <a:lnTo>
                        <a:pt x="246" y="228"/>
                      </a:lnTo>
                      <a:lnTo>
                        <a:pt x="282" y="264"/>
                      </a:lnTo>
                      <a:lnTo>
                        <a:pt x="324" y="312"/>
                      </a:lnTo>
                      <a:lnTo>
                        <a:pt x="336" y="336"/>
                      </a:lnTo>
                      <a:lnTo>
                        <a:pt x="384" y="366"/>
                      </a:lnTo>
                      <a:lnTo>
                        <a:pt x="402" y="390"/>
                      </a:lnTo>
                      <a:lnTo>
                        <a:pt x="432" y="414"/>
                      </a:lnTo>
                      <a:lnTo>
                        <a:pt x="456" y="450"/>
                      </a:lnTo>
                      <a:lnTo>
                        <a:pt x="492" y="480"/>
                      </a:lnTo>
                      <a:lnTo>
                        <a:pt x="546" y="510"/>
                      </a:lnTo>
                      <a:lnTo>
                        <a:pt x="528" y="546"/>
                      </a:lnTo>
                      <a:lnTo>
                        <a:pt x="498" y="528"/>
                      </a:lnTo>
                      <a:lnTo>
                        <a:pt x="468" y="516"/>
                      </a:lnTo>
                      <a:lnTo>
                        <a:pt x="444" y="504"/>
                      </a:lnTo>
                      <a:lnTo>
                        <a:pt x="426" y="492"/>
                      </a:lnTo>
                      <a:lnTo>
                        <a:pt x="414" y="480"/>
                      </a:lnTo>
                      <a:lnTo>
                        <a:pt x="402" y="468"/>
                      </a:lnTo>
                      <a:lnTo>
                        <a:pt x="396" y="456"/>
                      </a:lnTo>
                      <a:lnTo>
                        <a:pt x="390" y="456"/>
                      </a:lnTo>
                      <a:lnTo>
                        <a:pt x="378" y="456"/>
                      </a:lnTo>
                      <a:lnTo>
                        <a:pt x="366" y="456"/>
                      </a:lnTo>
                      <a:lnTo>
                        <a:pt x="354" y="456"/>
                      </a:lnTo>
                      <a:lnTo>
                        <a:pt x="342" y="456"/>
                      </a:lnTo>
                      <a:lnTo>
                        <a:pt x="330" y="444"/>
                      </a:lnTo>
                      <a:lnTo>
                        <a:pt x="312" y="438"/>
                      </a:lnTo>
                      <a:lnTo>
                        <a:pt x="300" y="432"/>
                      </a:lnTo>
                      <a:lnTo>
                        <a:pt x="288" y="432"/>
                      </a:lnTo>
                      <a:lnTo>
                        <a:pt x="276" y="432"/>
                      </a:lnTo>
                      <a:lnTo>
                        <a:pt x="258" y="426"/>
                      </a:lnTo>
                      <a:lnTo>
                        <a:pt x="228" y="402"/>
                      </a:lnTo>
                      <a:lnTo>
                        <a:pt x="192" y="366"/>
                      </a:lnTo>
                      <a:lnTo>
                        <a:pt x="174" y="324"/>
                      </a:lnTo>
                      <a:lnTo>
                        <a:pt x="162" y="288"/>
                      </a:lnTo>
                      <a:lnTo>
                        <a:pt x="156" y="252"/>
                      </a:lnTo>
                      <a:lnTo>
                        <a:pt x="132" y="216"/>
                      </a:lnTo>
                      <a:lnTo>
                        <a:pt x="120" y="204"/>
                      </a:lnTo>
                      <a:lnTo>
                        <a:pt x="108" y="198"/>
                      </a:lnTo>
                      <a:lnTo>
                        <a:pt x="102" y="198"/>
                      </a:lnTo>
                      <a:lnTo>
                        <a:pt x="90" y="204"/>
                      </a:lnTo>
                      <a:lnTo>
                        <a:pt x="84" y="210"/>
                      </a:lnTo>
                      <a:lnTo>
                        <a:pt x="66" y="222"/>
                      </a:lnTo>
                      <a:lnTo>
                        <a:pt x="54" y="234"/>
                      </a:lnTo>
                      <a:lnTo>
                        <a:pt x="42" y="234"/>
                      </a:lnTo>
                      <a:lnTo>
                        <a:pt x="30" y="228"/>
                      </a:lnTo>
                      <a:lnTo>
                        <a:pt x="24" y="216"/>
                      </a:lnTo>
                      <a:lnTo>
                        <a:pt x="12" y="204"/>
                      </a:lnTo>
                      <a:lnTo>
                        <a:pt x="6" y="192"/>
                      </a:lnTo>
                      <a:lnTo>
                        <a:pt x="6" y="180"/>
                      </a:lnTo>
                      <a:lnTo>
                        <a:pt x="0" y="168"/>
                      </a:lnTo>
                      <a:lnTo>
                        <a:pt x="0" y="156"/>
                      </a:lnTo>
                      <a:lnTo>
                        <a:pt x="6" y="144"/>
                      </a:lnTo>
                      <a:lnTo>
                        <a:pt x="6" y="126"/>
                      </a:lnTo>
                      <a:lnTo>
                        <a:pt x="0" y="114"/>
                      </a:lnTo>
                      <a:lnTo>
                        <a:pt x="0" y="114"/>
                      </a:lnTo>
                      <a:lnTo>
                        <a:pt x="42" y="90"/>
                      </a:lnTo>
                      <a:lnTo>
                        <a:pt x="48" y="90"/>
                      </a:lnTo>
                      <a:lnTo>
                        <a:pt x="78" y="114"/>
                      </a:lnTo>
                      <a:lnTo>
                        <a:pt x="132" y="90"/>
                      </a:lnTo>
                      <a:lnTo>
                        <a:pt x="144" y="66"/>
                      </a:lnTo>
                      <a:lnTo>
                        <a:pt x="204" y="54"/>
                      </a:lnTo>
                      <a:lnTo>
                        <a:pt x="234" y="24"/>
                      </a:lnTo>
                      <a:lnTo>
                        <a:pt x="28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4" name="Freeform 34">
                  <a:extLst>
                    <a:ext uri="{FF2B5EF4-FFF2-40B4-BE49-F238E27FC236}">
                      <a16:creationId xmlns:a16="http://schemas.microsoft.com/office/drawing/2014/main" id="{3841EE93-351E-49C6-9D45-6AA082F6AE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3" y="-2220"/>
                  <a:ext cx="366" cy="222"/>
                </a:xfrm>
                <a:custGeom>
                  <a:avLst/>
                  <a:gdLst>
                    <a:gd name="T0" fmla="*/ 234 w 366"/>
                    <a:gd name="T1" fmla="*/ 0 h 222"/>
                    <a:gd name="T2" fmla="*/ 276 w 366"/>
                    <a:gd name="T3" fmla="*/ 12 h 222"/>
                    <a:gd name="T4" fmla="*/ 276 w 366"/>
                    <a:gd name="T5" fmla="*/ 12 h 222"/>
                    <a:gd name="T6" fmla="*/ 306 w 366"/>
                    <a:gd name="T7" fmla="*/ 60 h 222"/>
                    <a:gd name="T8" fmla="*/ 330 w 366"/>
                    <a:gd name="T9" fmla="*/ 60 h 222"/>
                    <a:gd name="T10" fmla="*/ 366 w 366"/>
                    <a:gd name="T11" fmla="*/ 84 h 222"/>
                    <a:gd name="T12" fmla="*/ 360 w 366"/>
                    <a:gd name="T13" fmla="*/ 126 h 222"/>
                    <a:gd name="T14" fmla="*/ 336 w 366"/>
                    <a:gd name="T15" fmla="*/ 120 h 222"/>
                    <a:gd name="T16" fmla="*/ 282 w 366"/>
                    <a:gd name="T17" fmla="*/ 108 h 222"/>
                    <a:gd name="T18" fmla="*/ 234 w 366"/>
                    <a:gd name="T19" fmla="*/ 132 h 222"/>
                    <a:gd name="T20" fmla="*/ 204 w 366"/>
                    <a:gd name="T21" fmla="*/ 162 h 222"/>
                    <a:gd name="T22" fmla="*/ 144 w 366"/>
                    <a:gd name="T23" fmla="*/ 174 h 222"/>
                    <a:gd name="T24" fmla="*/ 132 w 366"/>
                    <a:gd name="T25" fmla="*/ 198 h 222"/>
                    <a:gd name="T26" fmla="*/ 78 w 366"/>
                    <a:gd name="T27" fmla="*/ 222 h 222"/>
                    <a:gd name="T28" fmla="*/ 48 w 366"/>
                    <a:gd name="T29" fmla="*/ 198 h 222"/>
                    <a:gd name="T30" fmla="*/ 42 w 366"/>
                    <a:gd name="T31" fmla="*/ 198 h 222"/>
                    <a:gd name="T32" fmla="*/ 42 w 366"/>
                    <a:gd name="T33" fmla="*/ 168 h 222"/>
                    <a:gd name="T34" fmla="*/ 0 w 366"/>
                    <a:gd name="T35" fmla="*/ 162 h 222"/>
                    <a:gd name="T36" fmla="*/ 0 w 366"/>
                    <a:gd name="T37" fmla="*/ 132 h 222"/>
                    <a:gd name="T38" fmla="*/ 24 w 366"/>
                    <a:gd name="T39" fmla="*/ 102 h 222"/>
                    <a:gd name="T40" fmla="*/ 96 w 366"/>
                    <a:gd name="T41" fmla="*/ 72 h 222"/>
                    <a:gd name="T42" fmla="*/ 150 w 366"/>
                    <a:gd name="T43" fmla="*/ 54 h 222"/>
                    <a:gd name="T44" fmla="*/ 192 w 366"/>
                    <a:gd name="T45" fmla="*/ 24 h 222"/>
                    <a:gd name="T46" fmla="*/ 234 w 366"/>
                    <a:gd name="T47" fmla="*/ 0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66" h="222">
                      <a:moveTo>
                        <a:pt x="234" y="0"/>
                      </a:moveTo>
                      <a:lnTo>
                        <a:pt x="276" y="12"/>
                      </a:lnTo>
                      <a:lnTo>
                        <a:pt x="276" y="12"/>
                      </a:lnTo>
                      <a:lnTo>
                        <a:pt x="306" y="60"/>
                      </a:lnTo>
                      <a:lnTo>
                        <a:pt x="330" y="60"/>
                      </a:lnTo>
                      <a:lnTo>
                        <a:pt x="366" y="84"/>
                      </a:lnTo>
                      <a:lnTo>
                        <a:pt x="360" y="126"/>
                      </a:lnTo>
                      <a:lnTo>
                        <a:pt x="336" y="120"/>
                      </a:lnTo>
                      <a:lnTo>
                        <a:pt x="282" y="108"/>
                      </a:lnTo>
                      <a:lnTo>
                        <a:pt x="234" y="132"/>
                      </a:lnTo>
                      <a:lnTo>
                        <a:pt x="204" y="162"/>
                      </a:lnTo>
                      <a:lnTo>
                        <a:pt x="144" y="174"/>
                      </a:lnTo>
                      <a:lnTo>
                        <a:pt x="132" y="198"/>
                      </a:lnTo>
                      <a:lnTo>
                        <a:pt x="78" y="222"/>
                      </a:lnTo>
                      <a:lnTo>
                        <a:pt x="48" y="198"/>
                      </a:lnTo>
                      <a:lnTo>
                        <a:pt x="42" y="198"/>
                      </a:lnTo>
                      <a:lnTo>
                        <a:pt x="42" y="168"/>
                      </a:lnTo>
                      <a:lnTo>
                        <a:pt x="0" y="162"/>
                      </a:lnTo>
                      <a:lnTo>
                        <a:pt x="0" y="132"/>
                      </a:lnTo>
                      <a:lnTo>
                        <a:pt x="24" y="102"/>
                      </a:lnTo>
                      <a:lnTo>
                        <a:pt x="96" y="72"/>
                      </a:lnTo>
                      <a:lnTo>
                        <a:pt x="150" y="54"/>
                      </a:lnTo>
                      <a:lnTo>
                        <a:pt x="192" y="24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5" name="Freeform 35">
                  <a:extLst>
                    <a:ext uri="{FF2B5EF4-FFF2-40B4-BE49-F238E27FC236}">
                      <a16:creationId xmlns:a16="http://schemas.microsoft.com/office/drawing/2014/main" id="{5F7C3F23-5FF8-4292-8896-51BC749734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3" y="-2490"/>
                  <a:ext cx="744" cy="372"/>
                </a:xfrm>
                <a:custGeom>
                  <a:avLst/>
                  <a:gdLst>
                    <a:gd name="T0" fmla="*/ 0 w 744"/>
                    <a:gd name="T1" fmla="*/ 228 h 372"/>
                    <a:gd name="T2" fmla="*/ 0 w 744"/>
                    <a:gd name="T3" fmla="*/ 228 h 372"/>
                    <a:gd name="T4" fmla="*/ 0 w 744"/>
                    <a:gd name="T5" fmla="*/ 228 h 372"/>
                    <a:gd name="T6" fmla="*/ 0 w 744"/>
                    <a:gd name="T7" fmla="*/ 228 h 372"/>
                    <a:gd name="T8" fmla="*/ 516 w 744"/>
                    <a:gd name="T9" fmla="*/ 0 h 372"/>
                    <a:gd name="T10" fmla="*/ 570 w 744"/>
                    <a:gd name="T11" fmla="*/ 12 h 372"/>
                    <a:gd name="T12" fmla="*/ 600 w 744"/>
                    <a:gd name="T13" fmla="*/ 30 h 372"/>
                    <a:gd name="T14" fmla="*/ 678 w 744"/>
                    <a:gd name="T15" fmla="*/ 48 h 372"/>
                    <a:gd name="T16" fmla="*/ 690 w 744"/>
                    <a:gd name="T17" fmla="*/ 102 h 372"/>
                    <a:gd name="T18" fmla="*/ 726 w 744"/>
                    <a:gd name="T19" fmla="*/ 126 h 372"/>
                    <a:gd name="T20" fmla="*/ 744 w 744"/>
                    <a:gd name="T21" fmla="*/ 156 h 372"/>
                    <a:gd name="T22" fmla="*/ 726 w 744"/>
                    <a:gd name="T23" fmla="*/ 210 h 372"/>
                    <a:gd name="T24" fmla="*/ 690 w 744"/>
                    <a:gd name="T25" fmla="*/ 246 h 372"/>
                    <a:gd name="T26" fmla="*/ 666 w 744"/>
                    <a:gd name="T27" fmla="*/ 282 h 372"/>
                    <a:gd name="T28" fmla="*/ 630 w 744"/>
                    <a:gd name="T29" fmla="*/ 270 h 372"/>
                    <a:gd name="T30" fmla="*/ 582 w 744"/>
                    <a:gd name="T31" fmla="*/ 294 h 372"/>
                    <a:gd name="T32" fmla="*/ 540 w 744"/>
                    <a:gd name="T33" fmla="*/ 330 h 372"/>
                    <a:gd name="T34" fmla="*/ 486 w 744"/>
                    <a:gd name="T35" fmla="*/ 342 h 372"/>
                    <a:gd name="T36" fmla="*/ 414 w 744"/>
                    <a:gd name="T37" fmla="*/ 372 h 372"/>
                    <a:gd name="T38" fmla="*/ 402 w 744"/>
                    <a:gd name="T39" fmla="*/ 348 h 372"/>
                    <a:gd name="T40" fmla="*/ 354 w 744"/>
                    <a:gd name="T41" fmla="*/ 348 h 372"/>
                    <a:gd name="T42" fmla="*/ 300 w 744"/>
                    <a:gd name="T43" fmla="*/ 324 h 372"/>
                    <a:gd name="T44" fmla="*/ 282 w 744"/>
                    <a:gd name="T45" fmla="*/ 288 h 372"/>
                    <a:gd name="T46" fmla="*/ 246 w 744"/>
                    <a:gd name="T47" fmla="*/ 264 h 372"/>
                    <a:gd name="T48" fmla="*/ 180 w 744"/>
                    <a:gd name="T49" fmla="*/ 276 h 372"/>
                    <a:gd name="T50" fmla="*/ 120 w 744"/>
                    <a:gd name="T51" fmla="*/ 294 h 372"/>
                    <a:gd name="T52" fmla="*/ 114 w 744"/>
                    <a:gd name="T53" fmla="*/ 294 h 372"/>
                    <a:gd name="T54" fmla="*/ 72 w 744"/>
                    <a:gd name="T55" fmla="*/ 282 h 372"/>
                    <a:gd name="T56" fmla="*/ 24 w 744"/>
                    <a:gd name="T57" fmla="*/ 294 h 372"/>
                    <a:gd name="T58" fmla="*/ 0 w 744"/>
                    <a:gd name="T59" fmla="*/ 228 h 372"/>
                    <a:gd name="T60" fmla="*/ 12 w 744"/>
                    <a:gd name="T61" fmla="*/ 216 h 372"/>
                    <a:gd name="T62" fmla="*/ 90 w 744"/>
                    <a:gd name="T63" fmla="*/ 204 h 372"/>
                    <a:gd name="T64" fmla="*/ 168 w 744"/>
                    <a:gd name="T65" fmla="*/ 186 h 372"/>
                    <a:gd name="T66" fmla="*/ 264 w 744"/>
                    <a:gd name="T67" fmla="*/ 174 h 372"/>
                    <a:gd name="T68" fmla="*/ 330 w 744"/>
                    <a:gd name="T69" fmla="*/ 186 h 372"/>
                    <a:gd name="T70" fmla="*/ 354 w 744"/>
                    <a:gd name="T71" fmla="*/ 144 h 372"/>
                    <a:gd name="T72" fmla="*/ 366 w 744"/>
                    <a:gd name="T73" fmla="*/ 90 h 372"/>
                    <a:gd name="T74" fmla="*/ 402 w 744"/>
                    <a:gd name="T75" fmla="*/ 30 h 372"/>
                    <a:gd name="T76" fmla="*/ 402 w 744"/>
                    <a:gd name="T77" fmla="*/ 36 h 372"/>
                    <a:gd name="T78" fmla="*/ 474 w 744"/>
                    <a:gd name="T79" fmla="*/ 36 h 372"/>
                    <a:gd name="T80" fmla="*/ 516 w 744"/>
                    <a:gd name="T81" fmla="*/ 0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44" h="372">
                      <a:moveTo>
                        <a:pt x="0" y="228"/>
                      </a:moveTo>
                      <a:lnTo>
                        <a:pt x="0" y="228"/>
                      </a:lnTo>
                      <a:lnTo>
                        <a:pt x="0" y="228"/>
                      </a:lnTo>
                      <a:lnTo>
                        <a:pt x="0" y="228"/>
                      </a:lnTo>
                      <a:close/>
                      <a:moveTo>
                        <a:pt x="516" y="0"/>
                      </a:moveTo>
                      <a:lnTo>
                        <a:pt x="570" y="12"/>
                      </a:lnTo>
                      <a:lnTo>
                        <a:pt x="600" y="30"/>
                      </a:lnTo>
                      <a:lnTo>
                        <a:pt x="678" y="48"/>
                      </a:lnTo>
                      <a:lnTo>
                        <a:pt x="690" y="102"/>
                      </a:lnTo>
                      <a:lnTo>
                        <a:pt x="726" y="126"/>
                      </a:lnTo>
                      <a:lnTo>
                        <a:pt x="744" y="156"/>
                      </a:lnTo>
                      <a:lnTo>
                        <a:pt x="726" y="210"/>
                      </a:lnTo>
                      <a:lnTo>
                        <a:pt x="690" y="246"/>
                      </a:lnTo>
                      <a:lnTo>
                        <a:pt x="666" y="282"/>
                      </a:lnTo>
                      <a:lnTo>
                        <a:pt x="630" y="270"/>
                      </a:lnTo>
                      <a:lnTo>
                        <a:pt x="582" y="294"/>
                      </a:lnTo>
                      <a:lnTo>
                        <a:pt x="540" y="330"/>
                      </a:lnTo>
                      <a:lnTo>
                        <a:pt x="486" y="342"/>
                      </a:lnTo>
                      <a:lnTo>
                        <a:pt x="414" y="372"/>
                      </a:lnTo>
                      <a:lnTo>
                        <a:pt x="402" y="348"/>
                      </a:lnTo>
                      <a:lnTo>
                        <a:pt x="354" y="348"/>
                      </a:lnTo>
                      <a:lnTo>
                        <a:pt x="300" y="324"/>
                      </a:lnTo>
                      <a:lnTo>
                        <a:pt x="282" y="288"/>
                      </a:lnTo>
                      <a:lnTo>
                        <a:pt x="246" y="264"/>
                      </a:lnTo>
                      <a:lnTo>
                        <a:pt x="180" y="276"/>
                      </a:lnTo>
                      <a:lnTo>
                        <a:pt x="120" y="294"/>
                      </a:lnTo>
                      <a:lnTo>
                        <a:pt x="114" y="294"/>
                      </a:lnTo>
                      <a:lnTo>
                        <a:pt x="72" y="282"/>
                      </a:lnTo>
                      <a:lnTo>
                        <a:pt x="24" y="294"/>
                      </a:lnTo>
                      <a:lnTo>
                        <a:pt x="0" y="228"/>
                      </a:lnTo>
                      <a:lnTo>
                        <a:pt x="12" y="216"/>
                      </a:lnTo>
                      <a:lnTo>
                        <a:pt x="90" y="204"/>
                      </a:lnTo>
                      <a:lnTo>
                        <a:pt x="168" y="186"/>
                      </a:lnTo>
                      <a:lnTo>
                        <a:pt x="264" y="174"/>
                      </a:lnTo>
                      <a:lnTo>
                        <a:pt x="330" y="186"/>
                      </a:lnTo>
                      <a:lnTo>
                        <a:pt x="354" y="144"/>
                      </a:lnTo>
                      <a:lnTo>
                        <a:pt x="366" y="90"/>
                      </a:lnTo>
                      <a:lnTo>
                        <a:pt x="402" y="30"/>
                      </a:lnTo>
                      <a:lnTo>
                        <a:pt x="402" y="36"/>
                      </a:lnTo>
                      <a:lnTo>
                        <a:pt x="474" y="36"/>
                      </a:lnTo>
                      <a:lnTo>
                        <a:pt x="51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6" name="Freeform 36">
                  <a:extLst>
                    <a:ext uri="{FF2B5EF4-FFF2-40B4-BE49-F238E27FC236}">
                      <a16:creationId xmlns:a16="http://schemas.microsoft.com/office/drawing/2014/main" id="{92C19A51-FD69-4E13-9FCD-63FF64BC68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9" y="-2226"/>
                  <a:ext cx="1188" cy="1266"/>
                </a:xfrm>
                <a:custGeom>
                  <a:avLst/>
                  <a:gdLst>
                    <a:gd name="T0" fmla="*/ 108 w 1188"/>
                    <a:gd name="T1" fmla="*/ 462 h 1266"/>
                    <a:gd name="T2" fmla="*/ 654 w 1188"/>
                    <a:gd name="T3" fmla="*/ 228 h 1266"/>
                    <a:gd name="T4" fmla="*/ 618 w 1188"/>
                    <a:gd name="T5" fmla="*/ 84 h 1266"/>
                    <a:gd name="T6" fmla="*/ 654 w 1188"/>
                    <a:gd name="T7" fmla="*/ 168 h 1266"/>
                    <a:gd name="T8" fmla="*/ 648 w 1188"/>
                    <a:gd name="T9" fmla="*/ 216 h 1266"/>
                    <a:gd name="T10" fmla="*/ 540 w 1188"/>
                    <a:gd name="T11" fmla="*/ 240 h 1266"/>
                    <a:gd name="T12" fmla="*/ 522 w 1188"/>
                    <a:gd name="T13" fmla="*/ 270 h 1266"/>
                    <a:gd name="T14" fmla="*/ 552 w 1188"/>
                    <a:gd name="T15" fmla="*/ 330 h 1266"/>
                    <a:gd name="T16" fmla="*/ 534 w 1188"/>
                    <a:gd name="T17" fmla="*/ 396 h 1266"/>
                    <a:gd name="T18" fmla="*/ 576 w 1188"/>
                    <a:gd name="T19" fmla="*/ 438 h 1266"/>
                    <a:gd name="T20" fmla="*/ 606 w 1188"/>
                    <a:gd name="T21" fmla="*/ 462 h 1266"/>
                    <a:gd name="T22" fmla="*/ 690 w 1188"/>
                    <a:gd name="T23" fmla="*/ 552 h 1266"/>
                    <a:gd name="T24" fmla="*/ 780 w 1188"/>
                    <a:gd name="T25" fmla="*/ 708 h 1266"/>
                    <a:gd name="T26" fmla="*/ 942 w 1188"/>
                    <a:gd name="T27" fmla="*/ 744 h 1266"/>
                    <a:gd name="T28" fmla="*/ 960 w 1188"/>
                    <a:gd name="T29" fmla="*/ 750 h 1266"/>
                    <a:gd name="T30" fmla="*/ 948 w 1188"/>
                    <a:gd name="T31" fmla="*/ 780 h 1266"/>
                    <a:gd name="T32" fmla="*/ 954 w 1188"/>
                    <a:gd name="T33" fmla="*/ 810 h 1266"/>
                    <a:gd name="T34" fmla="*/ 1002 w 1188"/>
                    <a:gd name="T35" fmla="*/ 846 h 1266"/>
                    <a:gd name="T36" fmla="*/ 1038 w 1188"/>
                    <a:gd name="T37" fmla="*/ 858 h 1266"/>
                    <a:gd name="T38" fmla="*/ 1140 w 1188"/>
                    <a:gd name="T39" fmla="*/ 900 h 1266"/>
                    <a:gd name="T40" fmla="*/ 1182 w 1188"/>
                    <a:gd name="T41" fmla="*/ 948 h 1266"/>
                    <a:gd name="T42" fmla="*/ 1176 w 1188"/>
                    <a:gd name="T43" fmla="*/ 984 h 1266"/>
                    <a:gd name="T44" fmla="*/ 1134 w 1188"/>
                    <a:gd name="T45" fmla="*/ 978 h 1266"/>
                    <a:gd name="T46" fmla="*/ 1068 w 1188"/>
                    <a:gd name="T47" fmla="*/ 936 h 1266"/>
                    <a:gd name="T48" fmla="*/ 1020 w 1188"/>
                    <a:gd name="T49" fmla="*/ 948 h 1266"/>
                    <a:gd name="T50" fmla="*/ 1002 w 1188"/>
                    <a:gd name="T51" fmla="*/ 996 h 1266"/>
                    <a:gd name="T52" fmla="*/ 1014 w 1188"/>
                    <a:gd name="T53" fmla="*/ 1038 h 1266"/>
                    <a:gd name="T54" fmla="*/ 1074 w 1188"/>
                    <a:gd name="T55" fmla="*/ 1074 h 1266"/>
                    <a:gd name="T56" fmla="*/ 1068 w 1188"/>
                    <a:gd name="T57" fmla="*/ 1104 h 1266"/>
                    <a:gd name="T58" fmla="*/ 1038 w 1188"/>
                    <a:gd name="T59" fmla="*/ 1134 h 1266"/>
                    <a:gd name="T60" fmla="*/ 1032 w 1188"/>
                    <a:gd name="T61" fmla="*/ 1188 h 1266"/>
                    <a:gd name="T62" fmla="*/ 996 w 1188"/>
                    <a:gd name="T63" fmla="*/ 1224 h 1266"/>
                    <a:gd name="T64" fmla="*/ 924 w 1188"/>
                    <a:gd name="T65" fmla="*/ 1266 h 1266"/>
                    <a:gd name="T66" fmla="*/ 906 w 1188"/>
                    <a:gd name="T67" fmla="*/ 1242 h 1266"/>
                    <a:gd name="T68" fmla="*/ 918 w 1188"/>
                    <a:gd name="T69" fmla="*/ 1182 h 1266"/>
                    <a:gd name="T70" fmla="*/ 954 w 1188"/>
                    <a:gd name="T71" fmla="*/ 1128 h 1266"/>
                    <a:gd name="T72" fmla="*/ 942 w 1188"/>
                    <a:gd name="T73" fmla="*/ 1080 h 1266"/>
                    <a:gd name="T74" fmla="*/ 912 w 1188"/>
                    <a:gd name="T75" fmla="*/ 1020 h 1266"/>
                    <a:gd name="T76" fmla="*/ 846 w 1188"/>
                    <a:gd name="T77" fmla="*/ 960 h 1266"/>
                    <a:gd name="T78" fmla="*/ 792 w 1188"/>
                    <a:gd name="T79" fmla="*/ 912 h 1266"/>
                    <a:gd name="T80" fmla="*/ 732 w 1188"/>
                    <a:gd name="T81" fmla="*/ 858 h 1266"/>
                    <a:gd name="T82" fmla="*/ 606 w 1188"/>
                    <a:gd name="T83" fmla="*/ 840 h 1266"/>
                    <a:gd name="T84" fmla="*/ 582 w 1188"/>
                    <a:gd name="T85" fmla="*/ 792 h 1266"/>
                    <a:gd name="T86" fmla="*/ 558 w 1188"/>
                    <a:gd name="T87" fmla="*/ 750 h 1266"/>
                    <a:gd name="T88" fmla="*/ 468 w 1188"/>
                    <a:gd name="T89" fmla="*/ 726 h 1266"/>
                    <a:gd name="T90" fmla="*/ 372 w 1188"/>
                    <a:gd name="T91" fmla="*/ 636 h 1266"/>
                    <a:gd name="T92" fmla="*/ 330 w 1188"/>
                    <a:gd name="T93" fmla="*/ 522 h 1266"/>
                    <a:gd name="T94" fmla="*/ 210 w 1188"/>
                    <a:gd name="T95" fmla="*/ 432 h 1266"/>
                    <a:gd name="T96" fmla="*/ 66 w 1188"/>
                    <a:gd name="T97" fmla="*/ 432 h 1266"/>
                    <a:gd name="T98" fmla="*/ 18 w 1188"/>
                    <a:gd name="T99" fmla="*/ 228 h 1266"/>
                    <a:gd name="T100" fmla="*/ 162 w 1188"/>
                    <a:gd name="T101" fmla="*/ 168 h 1266"/>
                    <a:gd name="T102" fmla="*/ 222 w 1188"/>
                    <a:gd name="T103" fmla="*/ 126 h 1266"/>
                    <a:gd name="T104" fmla="*/ 336 w 1188"/>
                    <a:gd name="T105" fmla="*/ 132 h 1266"/>
                    <a:gd name="T106" fmla="*/ 378 w 1188"/>
                    <a:gd name="T107" fmla="*/ 30 h 1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188" h="1266">
                      <a:moveTo>
                        <a:pt x="108" y="462"/>
                      </a:moveTo>
                      <a:lnTo>
                        <a:pt x="108" y="462"/>
                      </a:lnTo>
                      <a:lnTo>
                        <a:pt x="108" y="462"/>
                      </a:lnTo>
                      <a:lnTo>
                        <a:pt x="108" y="462"/>
                      </a:lnTo>
                      <a:close/>
                      <a:moveTo>
                        <a:pt x="654" y="228"/>
                      </a:moveTo>
                      <a:lnTo>
                        <a:pt x="654" y="228"/>
                      </a:lnTo>
                      <a:lnTo>
                        <a:pt x="648" y="228"/>
                      </a:lnTo>
                      <a:lnTo>
                        <a:pt x="654" y="228"/>
                      </a:lnTo>
                      <a:close/>
                      <a:moveTo>
                        <a:pt x="504" y="0"/>
                      </a:moveTo>
                      <a:lnTo>
                        <a:pt x="546" y="24"/>
                      </a:lnTo>
                      <a:lnTo>
                        <a:pt x="564" y="60"/>
                      </a:lnTo>
                      <a:lnTo>
                        <a:pt x="618" y="84"/>
                      </a:lnTo>
                      <a:lnTo>
                        <a:pt x="666" y="84"/>
                      </a:lnTo>
                      <a:lnTo>
                        <a:pt x="678" y="108"/>
                      </a:lnTo>
                      <a:lnTo>
                        <a:pt x="654" y="138"/>
                      </a:lnTo>
                      <a:lnTo>
                        <a:pt x="654" y="168"/>
                      </a:lnTo>
                      <a:lnTo>
                        <a:pt x="696" y="174"/>
                      </a:lnTo>
                      <a:lnTo>
                        <a:pt x="696" y="204"/>
                      </a:lnTo>
                      <a:lnTo>
                        <a:pt x="654" y="228"/>
                      </a:lnTo>
                      <a:lnTo>
                        <a:pt x="648" y="216"/>
                      </a:lnTo>
                      <a:lnTo>
                        <a:pt x="624" y="210"/>
                      </a:lnTo>
                      <a:lnTo>
                        <a:pt x="600" y="216"/>
                      </a:lnTo>
                      <a:lnTo>
                        <a:pt x="570" y="228"/>
                      </a:lnTo>
                      <a:lnTo>
                        <a:pt x="540" y="240"/>
                      </a:lnTo>
                      <a:lnTo>
                        <a:pt x="528" y="246"/>
                      </a:lnTo>
                      <a:lnTo>
                        <a:pt x="522" y="252"/>
                      </a:lnTo>
                      <a:lnTo>
                        <a:pt x="522" y="258"/>
                      </a:lnTo>
                      <a:lnTo>
                        <a:pt x="522" y="270"/>
                      </a:lnTo>
                      <a:lnTo>
                        <a:pt x="528" y="282"/>
                      </a:lnTo>
                      <a:lnTo>
                        <a:pt x="534" y="294"/>
                      </a:lnTo>
                      <a:lnTo>
                        <a:pt x="540" y="306"/>
                      </a:lnTo>
                      <a:lnTo>
                        <a:pt x="552" y="330"/>
                      </a:lnTo>
                      <a:lnTo>
                        <a:pt x="552" y="348"/>
                      </a:lnTo>
                      <a:lnTo>
                        <a:pt x="552" y="366"/>
                      </a:lnTo>
                      <a:lnTo>
                        <a:pt x="540" y="378"/>
                      </a:lnTo>
                      <a:lnTo>
                        <a:pt x="534" y="396"/>
                      </a:lnTo>
                      <a:lnTo>
                        <a:pt x="534" y="408"/>
                      </a:lnTo>
                      <a:lnTo>
                        <a:pt x="540" y="420"/>
                      </a:lnTo>
                      <a:lnTo>
                        <a:pt x="558" y="432"/>
                      </a:lnTo>
                      <a:lnTo>
                        <a:pt x="576" y="438"/>
                      </a:lnTo>
                      <a:lnTo>
                        <a:pt x="588" y="444"/>
                      </a:lnTo>
                      <a:lnTo>
                        <a:pt x="594" y="450"/>
                      </a:lnTo>
                      <a:lnTo>
                        <a:pt x="600" y="456"/>
                      </a:lnTo>
                      <a:lnTo>
                        <a:pt x="606" y="462"/>
                      </a:lnTo>
                      <a:lnTo>
                        <a:pt x="612" y="468"/>
                      </a:lnTo>
                      <a:lnTo>
                        <a:pt x="624" y="480"/>
                      </a:lnTo>
                      <a:lnTo>
                        <a:pt x="642" y="498"/>
                      </a:lnTo>
                      <a:lnTo>
                        <a:pt x="690" y="552"/>
                      </a:lnTo>
                      <a:lnTo>
                        <a:pt x="732" y="606"/>
                      </a:lnTo>
                      <a:lnTo>
                        <a:pt x="750" y="642"/>
                      </a:lnTo>
                      <a:lnTo>
                        <a:pt x="756" y="672"/>
                      </a:lnTo>
                      <a:lnTo>
                        <a:pt x="780" y="708"/>
                      </a:lnTo>
                      <a:lnTo>
                        <a:pt x="822" y="738"/>
                      </a:lnTo>
                      <a:lnTo>
                        <a:pt x="864" y="750"/>
                      </a:lnTo>
                      <a:lnTo>
                        <a:pt x="924" y="744"/>
                      </a:lnTo>
                      <a:lnTo>
                        <a:pt x="942" y="744"/>
                      </a:lnTo>
                      <a:lnTo>
                        <a:pt x="954" y="744"/>
                      </a:lnTo>
                      <a:lnTo>
                        <a:pt x="960" y="744"/>
                      </a:lnTo>
                      <a:lnTo>
                        <a:pt x="966" y="744"/>
                      </a:lnTo>
                      <a:lnTo>
                        <a:pt x="960" y="750"/>
                      </a:lnTo>
                      <a:lnTo>
                        <a:pt x="960" y="756"/>
                      </a:lnTo>
                      <a:lnTo>
                        <a:pt x="954" y="762"/>
                      </a:lnTo>
                      <a:lnTo>
                        <a:pt x="948" y="774"/>
                      </a:lnTo>
                      <a:lnTo>
                        <a:pt x="948" y="780"/>
                      </a:lnTo>
                      <a:lnTo>
                        <a:pt x="942" y="792"/>
                      </a:lnTo>
                      <a:lnTo>
                        <a:pt x="942" y="804"/>
                      </a:lnTo>
                      <a:lnTo>
                        <a:pt x="948" y="810"/>
                      </a:lnTo>
                      <a:lnTo>
                        <a:pt x="954" y="810"/>
                      </a:lnTo>
                      <a:lnTo>
                        <a:pt x="966" y="822"/>
                      </a:lnTo>
                      <a:lnTo>
                        <a:pt x="984" y="828"/>
                      </a:lnTo>
                      <a:lnTo>
                        <a:pt x="996" y="840"/>
                      </a:lnTo>
                      <a:lnTo>
                        <a:pt x="1002" y="846"/>
                      </a:lnTo>
                      <a:lnTo>
                        <a:pt x="1008" y="852"/>
                      </a:lnTo>
                      <a:lnTo>
                        <a:pt x="1014" y="858"/>
                      </a:lnTo>
                      <a:lnTo>
                        <a:pt x="1026" y="858"/>
                      </a:lnTo>
                      <a:lnTo>
                        <a:pt x="1038" y="858"/>
                      </a:lnTo>
                      <a:lnTo>
                        <a:pt x="1062" y="858"/>
                      </a:lnTo>
                      <a:lnTo>
                        <a:pt x="1098" y="864"/>
                      </a:lnTo>
                      <a:lnTo>
                        <a:pt x="1122" y="882"/>
                      </a:lnTo>
                      <a:lnTo>
                        <a:pt x="1140" y="900"/>
                      </a:lnTo>
                      <a:lnTo>
                        <a:pt x="1158" y="912"/>
                      </a:lnTo>
                      <a:lnTo>
                        <a:pt x="1170" y="924"/>
                      </a:lnTo>
                      <a:lnTo>
                        <a:pt x="1176" y="936"/>
                      </a:lnTo>
                      <a:lnTo>
                        <a:pt x="1182" y="948"/>
                      </a:lnTo>
                      <a:lnTo>
                        <a:pt x="1188" y="960"/>
                      </a:lnTo>
                      <a:lnTo>
                        <a:pt x="1188" y="972"/>
                      </a:lnTo>
                      <a:lnTo>
                        <a:pt x="1182" y="984"/>
                      </a:lnTo>
                      <a:lnTo>
                        <a:pt x="1176" y="984"/>
                      </a:lnTo>
                      <a:lnTo>
                        <a:pt x="1164" y="984"/>
                      </a:lnTo>
                      <a:lnTo>
                        <a:pt x="1152" y="984"/>
                      </a:lnTo>
                      <a:lnTo>
                        <a:pt x="1146" y="984"/>
                      </a:lnTo>
                      <a:lnTo>
                        <a:pt x="1134" y="978"/>
                      </a:lnTo>
                      <a:lnTo>
                        <a:pt x="1122" y="972"/>
                      </a:lnTo>
                      <a:lnTo>
                        <a:pt x="1104" y="960"/>
                      </a:lnTo>
                      <a:lnTo>
                        <a:pt x="1086" y="942"/>
                      </a:lnTo>
                      <a:lnTo>
                        <a:pt x="1068" y="936"/>
                      </a:lnTo>
                      <a:lnTo>
                        <a:pt x="1050" y="930"/>
                      </a:lnTo>
                      <a:lnTo>
                        <a:pt x="1038" y="936"/>
                      </a:lnTo>
                      <a:lnTo>
                        <a:pt x="1032" y="942"/>
                      </a:lnTo>
                      <a:lnTo>
                        <a:pt x="1020" y="948"/>
                      </a:lnTo>
                      <a:lnTo>
                        <a:pt x="1014" y="960"/>
                      </a:lnTo>
                      <a:lnTo>
                        <a:pt x="1008" y="972"/>
                      </a:lnTo>
                      <a:lnTo>
                        <a:pt x="1002" y="984"/>
                      </a:lnTo>
                      <a:lnTo>
                        <a:pt x="1002" y="996"/>
                      </a:lnTo>
                      <a:lnTo>
                        <a:pt x="996" y="1008"/>
                      </a:lnTo>
                      <a:lnTo>
                        <a:pt x="996" y="1020"/>
                      </a:lnTo>
                      <a:lnTo>
                        <a:pt x="1008" y="1032"/>
                      </a:lnTo>
                      <a:lnTo>
                        <a:pt x="1014" y="1038"/>
                      </a:lnTo>
                      <a:lnTo>
                        <a:pt x="1032" y="1050"/>
                      </a:lnTo>
                      <a:lnTo>
                        <a:pt x="1044" y="1056"/>
                      </a:lnTo>
                      <a:lnTo>
                        <a:pt x="1062" y="1068"/>
                      </a:lnTo>
                      <a:lnTo>
                        <a:pt x="1074" y="1074"/>
                      </a:lnTo>
                      <a:lnTo>
                        <a:pt x="1080" y="1086"/>
                      </a:lnTo>
                      <a:lnTo>
                        <a:pt x="1074" y="1092"/>
                      </a:lnTo>
                      <a:lnTo>
                        <a:pt x="1074" y="1098"/>
                      </a:lnTo>
                      <a:lnTo>
                        <a:pt x="1068" y="1104"/>
                      </a:lnTo>
                      <a:lnTo>
                        <a:pt x="1056" y="1110"/>
                      </a:lnTo>
                      <a:lnTo>
                        <a:pt x="1050" y="1122"/>
                      </a:lnTo>
                      <a:lnTo>
                        <a:pt x="1044" y="1128"/>
                      </a:lnTo>
                      <a:lnTo>
                        <a:pt x="1038" y="1134"/>
                      </a:lnTo>
                      <a:lnTo>
                        <a:pt x="1032" y="1140"/>
                      </a:lnTo>
                      <a:lnTo>
                        <a:pt x="1026" y="1158"/>
                      </a:lnTo>
                      <a:lnTo>
                        <a:pt x="1032" y="1170"/>
                      </a:lnTo>
                      <a:lnTo>
                        <a:pt x="1032" y="1188"/>
                      </a:lnTo>
                      <a:lnTo>
                        <a:pt x="1026" y="1200"/>
                      </a:lnTo>
                      <a:lnTo>
                        <a:pt x="1020" y="1206"/>
                      </a:lnTo>
                      <a:lnTo>
                        <a:pt x="1008" y="1218"/>
                      </a:lnTo>
                      <a:lnTo>
                        <a:pt x="996" y="1224"/>
                      </a:lnTo>
                      <a:lnTo>
                        <a:pt x="978" y="1236"/>
                      </a:lnTo>
                      <a:lnTo>
                        <a:pt x="960" y="1248"/>
                      </a:lnTo>
                      <a:lnTo>
                        <a:pt x="942" y="1260"/>
                      </a:lnTo>
                      <a:lnTo>
                        <a:pt x="924" y="1266"/>
                      </a:lnTo>
                      <a:lnTo>
                        <a:pt x="918" y="1266"/>
                      </a:lnTo>
                      <a:lnTo>
                        <a:pt x="912" y="1260"/>
                      </a:lnTo>
                      <a:lnTo>
                        <a:pt x="906" y="1254"/>
                      </a:lnTo>
                      <a:lnTo>
                        <a:pt x="906" y="1242"/>
                      </a:lnTo>
                      <a:lnTo>
                        <a:pt x="906" y="1230"/>
                      </a:lnTo>
                      <a:lnTo>
                        <a:pt x="912" y="1218"/>
                      </a:lnTo>
                      <a:lnTo>
                        <a:pt x="912" y="1200"/>
                      </a:lnTo>
                      <a:lnTo>
                        <a:pt x="918" y="1182"/>
                      </a:lnTo>
                      <a:lnTo>
                        <a:pt x="918" y="1170"/>
                      </a:lnTo>
                      <a:lnTo>
                        <a:pt x="930" y="1152"/>
                      </a:lnTo>
                      <a:lnTo>
                        <a:pt x="942" y="1140"/>
                      </a:lnTo>
                      <a:lnTo>
                        <a:pt x="954" y="1128"/>
                      </a:lnTo>
                      <a:lnTo>
                        <a:pt x="954" y="1116"/>
                      </a:lnTo>
                      <a:lnTo>
                        <a:pt x="954" y="1104"/>
                      </a:lnTo>
                      <a:lnTo>
                        <a:pt x="948" y="1092"/>
                      </a:lnTo>
                      <a:lnTo>
                        <a:pt x="942" y="1080"/>
                      </a:lnTo>
                      <a:lnTo>
                        <a:pt x="936" y="1062"/>
                      </a:lnTo>
                      <a:lnTo>
                        <a:pt x="930" y="1050"/>
                      </a:lnTo>
                      <a:lnTo>
                        <a:pt x="918" y="1038"/>
                      </a:lnTo>
                      <a:lnTo>
                        <a:pt x="912" y="1020"/>
                      </a:lnTo>
                      <a:lnTo>
                        <a:pt x="900" y="1002"/>
                      </a:lnTo>
                      <a:lnTo>
                        <a:pt x="888" y="984"/>
                      </a:lnTo>
                      <a:lnTo>
                        <a:pt x="870" y="972"/>
                      </a:lnTo>
                      <a:lnTo>
                        <a:pt x="846" y="960"/>
                      </a:lnTo>
                      <a:lnTo>
                        <a:pt x="822" y="948"/>
                      </a:lnTo>
                      <a:lnTo>
                        <a:pt x="810" y="936"/>
                      </a:lnTo>
                      <a:lnTo>
                        <a:pt x="798" y="924"/>
                      </a:lnTo>
                      <a:lnTo>
                        <a:pt x="792" y="912"/>
                      </a:lnTo>
                      <a:lnTo>
                        <a:pt x="792" y="900"/>
                      </a:lnTo>
                      <a:lnTo>
                        <a:pt x="786" y="882"/>
                      </a:lnTo>
                      <a:lnTo>
                        <a:pt x="768" y="864"/>
                      </a:lnTo>
                      <a:lnTo>
                        <a:pt x="732" y="858"/>
                      </a:lnTo>
                      <a:lnTo>
                        <a:pt x="684" y="852"/>
                      </a:lnTo>
                      <a:lnTo>
                        <a:pt x="642" y="846"/>
                      </a:lnTo>
                      <a:lnTo>
                        <a:pt x="624" y="846"/>
                      </a:lnTo>
                      <a:lnTo>
                        <a:pt x="606" y="840"/>
                      </a:lnTo>
                      <a:lnTo>
                        <a:pt x="594" y="828"/>
                      </a:lnTo>
                      <a:lnTo>
                        <a:pt x="588" y="816"/>
                      </a:lnTo>
                      <a:lnTo>
                        <a:pt x="582" y="804"/>
                      </a:lnTo>
                      <a:lnTo>
                        <a:pt x="582" y="792"/>
                      </a:lnTo>
                      <a:lnTo>
                        <a:pt x="576" y="780"/>
                      </a:lnTo>
                      <a:lnTo>
                        <a:pt x="576" y="768"/>
                      </a:lnTo>
                      <a:lnTo>
                        <a:pt x="570" y="756"/>
                      </a:lnTo>
                      <a:lnTo>
                        <a:pt x="558" y="750"/>
                      </a:lnTo>
                      <a:lnTo>
                        <a:pt x="546" y="744"/>
                      </a:lnTo>
                      <a:lnTo>
                        <a:pt x="522" y="738"/>
                      </a:lnTo>
                      <a:lnTo>
                        <a:pt x="498" y="738"/>
                      </a:lnTo>
                      <a:lnTo>
                        <a:pt x="468" y="726"/>
                      </a:lnTo>
                      <a:lnTo>
                        <a:pt x="444" y="708"/>
                      </a:lnTo>
                      <a:lnTo>
                        <a:pt x="426" y="684"/>
                      </a:lnTo>
                      <a:lnTo>
                        <a:pt x="402" y="654"/>
                      </a:lnTo>
                      <a:lnTo>
                        <a:pt x="372" y="636"/>
                      </a:lnTo>
                      <a:lnTo>
                        <a:pt x="360" y="618"/>
                      </a:lnTo>
                      <a:lnTo>
                        <a:pt x="354" y="594"/>
                      </a:lnTo>
                      <a:lnTo>
                        <a:pt x="348" y="558"/>
                      </a:lnTo>
                      <a:lnTo>
                        <a:pt x="330" y="522"/>
                      </a:lnTo>
                      <a:lnTo>
                        <a:pt x="300" y="492"/>
                      </a:lnTo>
                      <a:lnTo>
                        <a:pt x="264" y="468"/>
                      </a:lnTo>
                      <a:lnTo>
                        <a:pt x="234" y="444"/>
                      </a:lnTo>
                      <a:lnTo>
                        <a:pt x="210" y="432"/>
                      </a:lnTo>
                      <a:lnTo>
                        <a:pt x="174" y="432"/>
                      </a:lnTo>
                      <a:lnTo>
                        <a:pt x="138" y="444"/>
                      </a:lnTo>
                      <a:lnTo>
                        <a:pt x="108" y="462"/>
                      </a:lnTo>
                      <a:lnTo>
                        <a:pt x="66" y="432"/>
                      </a:lnTo>
                      <a:lnTo>
                        <a:pt x="12" y="408"/>
                      </a:lnTo>
                      <a:lnTo>
                        <a:pt x="6" y="360"/>
                      </a:lnTo>
                      <a:lnTo>
                        <a:pt x="0" y="294"/>
                      </a:lnTo>
                      <a:lnTo>
                        <a:pt x="18" y="228"/>
                      </a:lnTo>
                      <a:lnTo>
                        <a:pt x="18" y="228"/>
                      </a:lnTo>
                      <a:lnTo>
                        <a:pt x="84" y="192"/>
                      </a:lnTo>
                      <a:lnTo>
                        <a:pt x="108" y="150"/>
                      </a:lnTo>
                      <a:lnTo>
                        <a:pt x="162" y="168"/>
                      </a:lnTo>
                      <a:lnTo>
                        <a:pt x="192" y="204"/>
                      </a:lnTo>
                      <a:lnTo>
                        <a:pt x="222" y="204"/>
                      </a:lnTo>
                      <a:lnTo>
                        <a:pt x="222" y="156"/>
                      </a:lnTo>
                      <a:lnTo>
                        <a:pt x="222" y="126"/>
                      </a:lnTo>
                      <a:lnTo>
                        <a:pt x="252" y="108"/>
                      </a:lnTo>
                      <a:lnTo>
                        <a:pt x="270" y="102"/>
                      </a:lnTo>
                      <a:lnTo>
                        <a:pt x="312" y="120"/>
                      </a:lnTo>
                      <a:lnTo>
                        <a:pt x="336" y="132"/>
                      </a:lnTo>
                      <a:lnTo>
                        <a:pt x="354" y="90"/>
                      </a:lnTo>
                      <a:lnTo>
                        <a:pt x="354" y="48"/>
                      </a:lnTo>
                      <a:lnTo>
                        <a:pt x="378" y="30"/>
                      </a:lnTo>
                      <a:lnTo>
                        <a:pt x="378" y="30"/>
                      </a:lnTo>
                      <a:lnTo>
                        <a:pt x="444" y="12"/>
                      </a:lnTo>
                      <a:lnTo>
                        <a:pt x="50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7" name="Freeform 37">
                  <a:extLst>
                    <a:ext uri="{FF2B5EF4-FFF2-40B4-BE49-F238E27FC236}">
                      <a16:creationId xmlns:a16="http://schemas.microsoft.com/office/drawing/2014/main" id="{B5592D0A-AE73-4C9B-8B2D-ED561285A7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5" y="-3318"/>
                  <a:ext cx="900" cy="1080"/>
                </a:xfrm>
                <a:custGeom>
                  <a:avLst/>
                  <a:gdLst>
                    <a:gd name="T0" fmla="*/ 360 w 900"/>
                    <a:gd name="T1" fmla="*/ 18 h 1080"/>
                    <a:gd name="T2" fmla="*/ 390 w 900"/>
                    <a:gd name="T3" fmla="*/ 42 h 1080"/>
                    <a:gd name="T4" fmla="*/ 426 w 900"/>
                    <a:gd name="T5" fmla="*/ 48 h 1080"/>
                    <a:gd name="T6" fmla="*/ 444 w 900"/>
                    <a:gd name="T7" fmla="*/ 54 h 1080"/>
                    <a:gd name="T8" fmla="*/ 456 w 900"/>
                    <a:gd name="T9" fmla="*/ 72 h 1080"/>
                    <a:gd name="T10" fmla="*/ 456 w 900"/>
                    <a:gd name="T11" fmla="*/ 102 h 1080"/>
                    <a:gd name="T12" fmla="*/ 480 w 900"/>
                    <a:gd name="T13" fmla="*/ 108 h 1080"/>
                    <a:gd name="T14" fmla="*/ 534 w 900"/>
                    <a:gd name="T15" fmla="*/ 78 h 1080"/>
                    <a:gd name="T16" fmla="*/ 570 w 900"/>
                    <a:gd name="T17" fmla="*/ 60 h 1080"/>
                    <a:gd name="T18" fmla="*/ 594 w 900"/>
                    <a:gd name="T19" fmla="*/ 48 h 1080"/>
                    <a:gd name="T20" fmla="*/ 606 w 900"/>
                    <a:gd name="T21" fmla="*/ 48 h 1080"/>
                    <a:gd name="T22" fmla="*/ 606 w 900"/>
                    <a:gd name="T23" fmla="*/ 66 h 1080"/>
                    <a:gd name="T24" fmla="*/ 612 w 900"/>
                    <a:gd name="T25" fmla="*/ 84 h 1080"/>
                    <a:gd name="T26" fmla="*/ 630 w 900"/>
                    <a:gd name="T27" fmla="*/ 84 h 1080"/>
                    <a:gd name="T28" fmla="*/ 660 w 900"/>
                    <a:gd name="T29" fmla="*/ 84 h 1080"/>
                    <a:gd name="T30" fmla="*/ 690 w 900"/>
                    <a:gd name="T31" fmla="*/ 90 h 1080"/>
                    <a:gd name="T32" fmla="*/ 786 w 900"/>
                    <a:gd name="T33" fmla="*/ 132 h 1080"/>
                    <a:gd name="T34" fmla="*/ 804 w 900"/>
                    <a:gd name="T35" fmla="*/ 138 h 1080"/>
                    <a:gd name="T36" fmla="*/ 774 w 900"/>
                    <a:gd name="T37" fmla="*/ 270 h 1080"/>
                    <a:gd name="T38" fmla="*/ 816 w 900"/>
                    <a:gd name="T39" fmla="*/ 396 h 1080"/>
                    <a:gd name="T40" fmla="*/ 900 w 900"/>
                    <a:gd name="T41" fmla="*/ 522 h 1080"/>
                    <a:gd name="T42" fmla="*/ 804 w 900"/>
                    <a:gd name="T43" fmla="*/ 552 h 1080"/>
                    <a:gd name="T44" fmla="*/ 702 w 900"/>
                    <a:gd name="T45" fmla="*/ 594 h 1080"/>
                    <a:gd name="T46" fmla="*/ 588 w 900"/>
                    <a:gd name="T47" fmla="*/ 660 h 1080"/>
                    <a:gd name="T48" fmla="*/ 702 w 900"/>
                    <a:gd name="T49" fmla="*/ 810 h 1080"/>
                    <a:gd name="T50" fmla="*/ 744 w 900"/>
                    <a:gd name="T51" fmla="*/ 918 h 1080"/>
                    <a:gd name="T52" fmla="*/ 708 w 900"/>
                    <a:gd name="T53" fmla="*/ 1014 h 1080"/>
                    <a:gd name="T54" fmla="*/ 546 w 900"/>
                    <a:gd name="T55" fmla="*/ 1014 h 1080"/>
                    <a:gd name="T56" fmla="*/ 390 w 900"/>
                    <a:gd name="T57" fmla="*/ 1044 h 1080"/>
                    <a:gd name="T58" fmla="*/ 366 w 900"/>
                    <a:gd name="T59" fmla="*/ 1080 h 1080"/>
                    <a:gd name="T60" fmla="*/ 306 w 900"/>
                    <a:gd name="T61" fmla="*/ 1032 h 1080"/>
                    <a:gd name="T62" fmla="*/ 198 w 900"/>
                    <a:gd name="T63" fmla="*/ 1026 h 1080"/>
                    <a:gd name="T64" fmla="*/ 156 w 900"/>
                    <a:gd name="T65" fmla="*/ 954 h 1080"/>
                    <a:gd name="T66" fmla="*/ 150 w 900"/>
                    <a:gd name="T67" fmla="*/ 840 h 1080"/>
                    <a:gd name="T68" fmla="*/ 24 w 900"/>
                    <a:gd name="T69" fmla="*/ 792 h 1080"/>
                    <a:gd name="T70" fmla="*/ 42 w 900"/>
                    <a:gd name="T71" fmla="*/ 678 h 1080"/>
                    <a:gd name="T72" fmla="*/ 18 w 900"/>
                    <a:gd name="T73" fmla="*/ 612 h 1080"/>
                    <a:gd name="T74" fmla="*/ 0 w 900"/>
                    <a:gd name="T75" fmla="*/ 480 h 1080"/>
                    <a:gd name="T76" fmla="*/ 84 w 900"/>
                    <a:gd name="T77" fmla="*/ 366 h 1080"/>
                    <a:gd name="T78" fmla="*/ 90 w 900"/>
                    <a:gd name="T79" fmla="*/ 186 h 1080"/>
                    <a:gd name="T80" fmla="*/ 96 w 900"/>
                    <a:gd name="T81" fmla="*/ 180 h 1080"/>
                    <a:gd name="T82" fmla="*/ 126 w 900"/>
                    <a:gd name="T83" fmla="*/ 162 h 1080"/>
                    <a:gd name="T84" fmla="*/ 156 w 900"/>
                    <a:gd name="T85" fmla="*/ 162 h 1080"/>
                    <a:gd name="T86" fmla="*/ 180 w 900"/>
                    <a:gd name="T87" fmla="*/ 174 h 1080"/>
                    <a:gd name="T88" fmla="*/ 210 w 900"/>
                    <a:gd name="T89" fmla="*/ 174 h 1080"/>
                    <a:gd name="T90" fmla="*/ 240 w 900"/>
                    <a:gd name="T91" fmla="*/ 162 h 1080"/>
                    <a:gd name="T92" fmla="*/ 246 w 900"/>
                    <a:gd name="T93" fmla="*/ 144 h 1080"/>
                    <a:gd name="T94" fmla="*/ 246 w 900"/>
                    <a:gd name="T95" fmla="*/ 120 h 1080"/>
                    <a:gd name="T96" fmla="*/ 246 w 900"/>
                    <a:gd name="T97" fmla="*/ 90 h 1080"/>
                    <a:gd name="T98" fmla="*/ 234 w 900"/>
                    <a:gd name="T99" fmla="*/ 66 h 1080"/>
                    <a:gd name="T100" fmla="*/ 216 w 900"/>
                    <a:gd name="T101" fmla="*/ 42 h 1080"/>
                    <a:gd name="T102" fmla="*/ 204 w 900"/>
                    <a:gd name="T103" fmla="*/ 24 h 1080"/>
                    <a:gd name="T104" fmla="*/ 354 w 900"/>
                    <a:gd name="T105" fmla="*/ 0 h 10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00" h="1080">
                      <a:moveTo>
                        <a:pt x="354" y="0"/>
                      </a:moveTo>
                      <a:lnTo>
                        <a:pt x="360" y="18"/>
                      </a:lnTo>
                      <a:lnTo>
                        <a:pt x="372" y="30"/>
                      </a:lnTo>
                      <a:lnTo>
                        <a:pt x="390" y="42"/>
                      </a:lnTo>
                      <a:lnTo>
                        <a:pt x="408" y="48"/>
                      </a:lnTo>
                      <a:lnTo>
                        <a:pt x="426" y="48"/>
                      </a:lnTo>
                      <a:lnTo>
                        <a:pt x="438" y="48"/>
                      </a:lnTo>
                      <a:lnTo>
                        <a:pt x="444" y="54"/>
                      </a:lnTo>
                      <a:lnTo>
                        <a:pt x="450" y="60"/>
                      </a:lnTo>
                      <a:lnTo>
                        <a:pt x="456" y="72"/>
                      </a:lnTo>
                      <a:lnTo>
                        <a:pt x="456" y="84"/>
                      </a:lnTo>
                      <a:lnTo>
                        <a:pt x="456" y="102"/>
                      </a:lnTo>
                      <a:lnTo>
                        <a:pt x="462" y="108"/>
                      </a:lnTo>
                      <a:lnTo>
                        <a:pt x="480" y="108"/>
                      </a:lnTo>
                      <a:lnTo>
                        <a:pt x="504" y="96"/>
                      </a:lnTo>
                      <a:lnTo>
                        <a:pt x="534" y="78"/>
                      </a:lnTo>
                      <a:lnTo>
                        <a:pt x="558" y="66"/>
                      </a:lnTo>
                      <a:lnTo>
                        <a:pt x="570" y="60"/>
                      </a:lnTo>
                      <a:lnTo>
                        <a:pt x="588" y="54"/>
                      </a:lnTo>
                      <a:lnTo>
                        <a:pt x="594" y="48"/>
                      </a:lnTo>
                      <a:lnTo>
                        <a:pt x="600" y="48"/>
                      </a:lnTo>
                      <a:lnTo>
                        <a:pt x="606" y="48"/>
                      </a:lnTo>
                      <a:lnTo>
                        <a:pt x="612" y="54"/>
                      </a:lnTo>
                      <a:lnTo>
                        <a:pt x="606" y="66"/>
                      </a:lnTo>
                      <a:lnTo>
                        <a:pt x="606" y="78"/>
                      </a:lnTo>
                      <a:lnTo>
                        <a:pt x="612" y="84"/>
                      </a:lnTo>
                      <a:lnTo>
                        <a:pt x="618" y="84"/>
                      </a:lnTo>
                      <a:lnTo>
                        <a:pt x="630" y="84"/>
                      </a:lnTo>
                      <a:lnTo>
                        <a:pt x="642" y="84"/>
                      </a:lnTo>
                      <a:lnTo>
                        <a:pt x="660" y="84"/>
                      </a:lnTo>
                      <a:lnTo>
                        <a:pt x="672" y="84"/>
                      </a:lnTo>
                      <a:lnTo>
                        <a:pt x="690" y="90"/>
                      </a:lnTo>
                      <a:lnTo>
                        <a:pt x="732" y="108"/>
                      </a:lnTo>
                      <a:lnTo>
                        <a:pt x="786" y="132"/>
                      </a:lnTo>
                      <a:lnTo>
                        <a:pt x="804" y="138"/>
                      </a:lnTo>
                      <a:lnTo>
                        <a:pt x="804" y="138"/>
                      </a:lnTo>
                      <a:lnTo>
                        <a:pt x="792" y="204"/>
                      </a:lnTo>
                      <a:lnTo>
                        <a:pt x="774" y="270"/>
                      </a:lnTo>
                      <a:lnTo>
                        <a:pt x="822" y="336"/>
                      </a:lnTo>
                      <a:lnTo>
                        <a:pt x="816" y="396"/>
                      </a:lnTo>
                      <a:lnTo>
                        <a:pt x="858" y="450"/>
                      </a:lnTo>
                      <a:lnTo>
                        <a:pt x="900" y="522"/>
                      </a:lnTo>
                      <a:lnTo>
                        <a:pt x="864" y="558"/>
                      </a:lnTo>
                      <a:lnTo>
                        <a:pt x="804" y="552"/>
                      </a:lnTo>
                      <a:lnTo>
                        <a:pt x="762" y="606"/>
                      </a:lnTo>
                      <a:lnTo>
                        <a:pt x="702" y="594"/>
                      </a:lnTo>
                      <a:lnTo>
                        <a:pt x="672" y="630"/>
                      </a:lnTo>
                      <a:lnTo>
                        <a:pt x="588" y="660"/>
                      </a:lnTo>
                      <a:lnTo>
                        <a:pt x="678" y="720"/>
                      </a:lnTo>
                      <a:lnTo>
                        <a:pt x="702" y="810"/>
                      </a:lnTo>
                      <a:lnTo>
                        <a:pt x="780" y="858"/>
                      </a:lnTo>
                      <a:lnTo>
                        <a:pt x="744" y="918"/>
                      </a:lnTo>
                      <a:lnTo>
                        <a:pt x="732" y="972"/>
                      </a:lnTo>
                      <a:lnTo>
                        <a:pt x="708" y="1014"/>
                      </a:lnTo>
                      <a:lnTo>
                        <a:pt x="642" y="1002"/>
                      </a:lnTo>
                      <a:lnTo>
                        <a:pt x="546" y="1014"/>
                      </a:lnTo>
                      <a:lnTo>
                        <a:pt x="468" y="1032"/>
                      </a:lnTo>
                      <a:lnTo>
                        <a:pt x="390" y="1044"/>
                      </a:lnTo>
                      <a:lnTo>
                        <a:pt x="378" y="1056"/>
                      </a:lnTo>
                      <a:lnTo>
                        <a:pt x="366" y="1080"/>
                      </a:lnTo>
                      <a:lnTo>
                        <a:pt x="336" y="1080"/>
                      </a:lnTo>
                      <a:lnTo>
                        <a:pt x="306" y="1032"/>
                      </a:lnTo>
                      <a:lnTo>
                        <a:pt x="252" y="1032"/>
                      </a:lnTo>
                      <a:lnTo>
                        <a:pt x="198" y="1026"/>
                      </a:lnTo>
                      <a:lnTo>
                        <a:pt x="144" y="1026"/>
                      </a:lnTo>
                      <a:lnTo>
                        <a:pt x="156" y="954"/>
                      </a:lnTo>
                      <a:lnTo>
                        <a:pt x="174" y="876"/>
                      </a:lnTo>
                      <a:lnTo>
                        <a:pt x="150" y="840"/>
                      </a:lnTo>
                      <a:lnTo>
                        <a:pt x="84" y="822"/>
                      </a:lnTo>
                      <a:lnTo>
                        <a:pt x="24" y="792"/>
                      </a:lnTo>
                      <a:lnTo>
                        <a:pt x="66" y="732"/>
                      </a:lnTo>
                      <a:lnTo>
                        <a:pt x="42" y="678"/>
                      </a:lnTo>
                      <a:lnTo>
                        <a:pt x="30" y="642"/>
                      </a:lnTo>
                      <a:lnTo>
                        <a:pt x="18" y="612"/>
                      </a:lnTo>
                      <a:lnTo>
                        <a:pt x="18" y="564"/>
                      </a:lnTo>
                      <a:lnTo>
                        <a:pt x="0" y="480"/>
                      </a:lnTo>
                      <a:lnTo>
                        <a:pt x="42" y="426"/>
                      </a:lnTo>
                      <a:lnTo>
                        <a:pt x="84" y="366"/>
                      </a:lnTo>
                      <a:lnTo>
                        <a:pt x="90" y="276"/>
                      </a:lnTo>
                      <a:lnTo>
                        <a:pt x="90" y="186"/>
                      </a:lnTo>
                      <a:lnTo>
                        <a:pt x="90" y="186"/>
                      </a:lnTo>
                      <a:lnTo>
                        <a:pt x="96" y="180"/>
                      </a:lnTo>
                      <a:lnTo>
                        <a:pt x="108" y="168"/>
                      </a:lnTo>
                      <a:lnTo>
                        <a:pt x="126" y="162"/>
                      </a:lnTo>
                      <a:lnTo>
                        <a:pt x="144" y="162"/>
                      </a:lnTo>
                      <a:lnTo>
                        <a:pt x="156" y="162"/>
                      </a:lnTo>
                      <a:lnTo>
                        <a:pt x="168" y="168"/>
                      </a:lnTo>
                      <a:lnTo>
                        <a:pt x="180" y="174"/>
                      </a:lnTo>
                      <a:lnTo>
                        <a:pt x="192" y="174"/>
                      </a:lnTo>
                      <a:lnTo>
                        <a:pt x="210" y="174"/>
                      </a:lnTo>
                      <a:lnTo>
                        <a:pt x="228" y="168"/>
                      </a:lnTo>
                      <a:lnTo>
                        <a:pt x="240" y="162"/>
                      </a:lnTo>
                      <a:lnTo>
                        <a:pt x="246" y="156"/>
                      </a:lnTo>
                      <a:lnTo>
                        <a:pt x="246" y="144"/>
                      </a:lnTo>
                      <a:lnTo>
                        <a:pt x="246" y="132"/>
                      </a:lnTo>
                      <a:lnTo>
                        <a:pt x="246" y="120"/>
                      </a:lnTo>
                      <a:lnTo>
                        <a:pt x="246" y="102"/>
                      </a:lnTo>
                      <a:lnTo>
                        <a:pt x="246" y="90"/>
                      </a:lnTo>
                      <a:lnTo>
                        <a:pt x="240" y="78"/>
                      </a:lnTo>
                      <a:lnTo>
                        <a:pt x="234" y="66"/>
                      </a:lnTo>
                      <a:lnTo>
                        <a:pt x="228" y="54"/>
                      </a:lnTo>
                      <a:lnTo>
                        <a:pt x="216" y="42"/>
                      </a:lnTo>
                      <a:lnTo>
                        <a:pt x="204" y="24"/>
                      </a:lnTo>
                      <a:lnTo>
                        <a:pt x="204" y="24"/>
                      </a:lnTo>
                      <a:lnTo>
                        <a:pt x="288" y="48"/>
                      </a:lnTo>
                      <a:lnTo>
                        <a:pt x="354" y="0"/>
                      </a:lnTo>
                      <a:lnTo>
                        <a:pt x="35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8" name="Freeform 38">
                  <a:extLst>
                    <a:ext uri="{FF2B5EF4-FFF2-40B4-BE49-F238E27FC236}">
                      <a16:creationId xmlns:a16="http://schemas.microsoft.com/office/drawing/2014/main" id="{41F82941-D3F5-4CAE-B3A7-3533A2C104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9" y="-4038"/>
                  <a:ext cx="66" cy="42"/>
                </a:xfrm>
                <a:custGeom>
                  <a:avLst/>
                  <a:gdLst>
                    <a:gd name="T0" fmla="*/ 54 w 66"/>
                    <a:gd name="T1" fmla="*/ 0 h 42"/>
                    <a:gd name="T2" fmla="*/ 60 w 66"/>
                    <a:gd name="T3" fmla="*/ 6 h 42"/>
                    <a:gd name="T4" fmla="*/ 66 w 66"/>
                    <a:gd name="T5" fmla="*/ 12 h 42"/>
                    <a:gd name="T6" fmla="*/ 60 w 66"/>
                    <a:gd name="T7" fmla="*/ 24 h 42"/>
                    <a:gd name="T8" fmla="*/ 60 w 66"/>
                    <a:gd name="T9" fmla="*/ 30 h 42"/>
                    <a:gd name="T10" fmla="*/ 48 w 66"/>
                    <a:gd name="T11" fmla="*/ 42 h 42"/>
                    <a:gd name="T12" fmla="*/ 36 w 66"/>
                    <a:gd name="T13" fmla="*/ 42 h 42"/>
                    <a:gd name="T14" fmla="*/ 24 w 66"/>
                    <a:gd name="T15" fmla="*/ 42 h 42"/>
                    <a:gd name="T16" fmla="*/ 18 w 66"/>
                    <a:gd name="T17" fmla="*/ 42 h 42"/>
                    <a:gd name="T18" fmla="*/ 6 w 66"/>
                    <a:gd name="T19" fmla="*/ 36 h 42"/>
                    <a:gd name="T20" fmla="*/ 0 w 66"/>
                    <a:gd name="T21" fmla="*/ 30 h 42"/>
                    <a:gd name="T22" fmla="*/ 0 w 66"/>
                    <a:gd name="T23" fmla="*/ 24 h 42"/>
                    <a:gd name="T24" fmla="*/ 0 w 66"/>
                    <a:gd name="T25" fmla="*/ 18 h 42"/>
                    <a:gd name="T26" fmla="*/ 12 w 66"/>
                    <a:gd name="T27" fmla="*/ 12 h 42"/>
                    <a:gd name="T28" fmla="*/ 18 w 66"/>
                    <a:gd name="T29" fmla="*/ 6 h 42"/>
                    <a:gd name="T30" fmla="*/ 30 w 66"/>
                    <a:gd name="T31" fmla="*/ 6 h 42"/>
                    <a:gd name="T32" fmla="*/ 42 w 66"/>
                    <a:gd name="T33" fmla="*/ 0 h 42"/>
                    <a:gd name="T34" fmla="*/ 54 w 66"/>
                    <a:gd name="T35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6" h="42">
                      <a:moveTo>
                        <a:pt x="54" y="0"/>
                      </a:moveTo>
                      <a:lnTo>
                        <a:pt x="60" y="6"/>
                      </a:lnTo>
                      <a:lnTo>
                        <a:pt x="66" y="12"/>
                      </a:lnTo>
                      <a:lnTo>
                        <a:pt x="60" y="24"/>
                      </a:lnTo>
                      <a:lnTo>
                        <a:pt x="60" y="30"/>
                      </a:lnTo>
                      <a:lnTo>
                        <a:pt x="48" y="42"/>
                      </a:lnTo>
                      <a:lnTo>
                        <a:pt x="36" y="42"/>
                      </a:lnTo>
                      <a:lnTo>
                        <a:pt x="24" y="42"/>
                      </a:lnTo>
                      <a:lnTo>
                        <a:pt x="18" y="42"/>
                      </a:lnTo>
                      <a:lnTo>
                        <a:pt x="6" y="36"/>
                      </a:lnTo>
                      <a:lnTo>
                        <a:pt x="0" y="30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12" y="12"/>
                      </a:lnTo>
                      <a:lnTo>
                        <a:pt x="18" y="6"/>
                      </a:lnTo>
                      <a:lnTo>
                        <a:pt x="30" y="6"/>
                      </a:lnTo>
                      <a:lnTo>
                        <a:pt x="42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7FD5F3">
                    <a:alpha val="7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79" name="Freeform 39">
                  <a:extLst>
                    <a:ext uri="{FF2B5EF4-FFF2-40B4-BE49-F238E27FC236}">
                      <a16:creationId xmlns:a16="http://schemas.microsoft.com/office/drawing/2014/main" id="{9AB637EB-2AB7-4AAE-89CF-CEBE55E12D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1" y="-3942"/>
                  <a:ext cx="120" cy="84"/>
                </a:xfrm>
                <a:custGeom>
                  <a:avLst/>
                  <a:gdLst>
                    <a:gd name="T0" fmla="*/ 66 w 120"/>
                    <a:gd name="T1" fmla="*/ 0 h 84"/>
                    <a:gd name="T2" fmla="*/ 84 w 120"/>
                    <a:gd name="T3" fmla="*/ 0 h 84"/>
                    <a:gd name="T4" fmla="*/ 102 w 120"/>
                    <a:gd name="T5" fmla="*/ 6 h 84"/>
                    <a:gd name="T6" fmla="*/ 114 w 120"/>
                    <a:gd name="T7" fmla="*/ 12 h 84"/>
                    <a:gd name="T8" fmla="*/ 120 w 120"/>
                    <a:gd name="T9" fmla="*/ 18 h 84"/>
                    <a:gd name="T10" fmla="*/ 120 w 120"/>
                    <a:gd name="T11" fmla="*/ 30 h 84"/>
                    <a:gd name="T12" fmla="*/ 120 w 120"/>
                    <a:gd name="T13" fmla="*/ 42 h 84"/>
                    <a:gd name="T14" fmla="*/ 120 w 120"/>
                    <a:gd name="T15" fmla="*/ 54 h 84"/>
                    <a:gd name="T16" fmla="*/ 114 w 120"/>
                    <a:gd name="T17" fmla="*/ 66 h 84"/>
                    <a:gd name="T18" fmla="*/ 102 w 120"/>
                    <a:gd name="T19" fmla="*/ 66 h 84"/>
                    <a:gd name="T20" fmla="*/ 96 w 120"/>
                    <a:gd name="T21" fmla="*/ 66 h 84"/>
                    <a:gd name="T22" fmla="*/ 84 w 120"/>
                    <a:gd name="T23" fmla="*/ 66 h 84"/>
                    <a:gd name="T24" fmla="*/ 72 w 120"/>
                    <a:gd name="T25" fmla="*/ 66 h 84"/>
                    <a:gd name="T26" fmla="*/ 60 w 120"/>
                    <a:gd name="T27" fmla="*/ 72 h 84"/>
                    <a:gd name="T28" fmla="*/ 48 w 120"/>
                    <a:gd name="T29" fmla="*/ 84 h 84"/>
                    <a:gd name="T30" fmla="*/ 36 w 120"/>
                    <a:gd name="T31" fmla="*/ 84 h 84"/>
                    <a:gd name="T32" fmla="*/ 24 w 120"/>
                    <a:gd name="T33" fmla="*/ 84 h 84"/>
                    <a:gd name="T34" fmla="*/ 24 w 120"/>
                    <a:gd name="T35" fmla="*/ 84 h 84"/>
                    <a:gd name="T36" fmla="*/ 24 w 120"/>
                    <a:gd name="T37" fmla="*/ 72 h 84"/>
                    <a:gd name="T38" fmla="*/ 24 w 120"/>
                    <a:gd name="T39" fmla="*/ 66 h 84"/>
                    <a:gd name="T40" fmla="*/ 30 w 120"/>
                    <a:gd name="T41" fmla="*/ 60 h 84"/>
                    <a:gd name="T42" fmla="*/ 30 w 120"/>
                    <a:gd name="T43" fmla="*/ 54 h 84"/>
                    <a:gd name="T44" fmla="*/ 24 w 120"/>
                    <a:gd name="T45" fmla="*/ 42 h 84"/>
                    <a:gd name="T46" fmla="*/ 12 w 120"/>
                    <a:gd name="T47" fmla="*/ 36 h 84"/>
                    <a:gd name="T48" fmla="*/ 6 w 120"/>
                    <a:gd name="T49" fmla="*/ 30 h 84"/>
                    <a:gd name="T50" fmla="*/ 0 w 120"/>
                    <a:gd name="T51" fmla="*/ 24 h 84"/>
                    <a:gd name="T52" fmla="*/ 6 w 120"/>
                    <a:gd name="T53" fmla="*/ 12 h 84"/>
                    <a:gd name="T54" fmla="*/ 12 w 120"/>
                    <a:gd name="T55" fmla="*/ 6 h 84"/>
                    <a:gd name="T56" fmla="*/ 24 w 120"/>
                    <a:gd name="T57" fmla="*/ 6 h 84"/>
                    <a:gd name="T58" fmla="*/ 42 w 120"/>
                    <a:gd name="T59" fmla="*/ 0 h 84"/>
                    <a:gd name="T60" fmla="*/ 66 w 120"/>
                    <a:gd name="T61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20" h="84">
                      <a:moveTo>
                        <a:pt x="66" y="0"/>
                      </a:moveTo>
                      <a:lnTo>
                        <a:pt x="84" y="0"/>
                      </a:lnTo>
                      <a:lnTo>
                        <a:pt x="102" y="6"/>
                      </a:lnTo>
                      <a:lnTo>
                        <a:pt x="114" y="12"/>
                      </a:lnTo>
                      <a:lnTo>
                        <a:pt x="120" y="18"/>
                      </a:lnTo>
                      <a:lnTo>
                        <a:pt x="120" y="30"/>
                      </a:lnTo>
                      <a:lnTo>
                        <a:pt x="120" y="42"/>
                      </a:lnTo>
                      <a:lnTo>
                        <a:pt x="120" y="54"/>
                      </a:lnTo>
                      <a:lnTo>
                        <a:pt x="114" y="66"/>
                      </a:lnTo>
                      <a:lnTo>
                        <a:pt x="102" y="66"/>
                      </a:lnTo>
                      <a:lnTo>
                        <a:pt x="96" y="66"/>
                      </a:lnTo>
                      <a:lnTo>
                        <a:pt x="84" y="66"/>
                      </a:lnTo>
                      <a:lnTo>
                        <a:pt x="72" y="66"/>
                      </a:lnTo>
                      <a:lnTo>
                        <a:pt x="60" y="72"/>
                      </a:lnTo>
                      <a:lnTo>
                        <a:pt x="48" y="84"/>
                      </a:lnTo>
                      <a:lnTo>
                        <a:pt x="36" y="84"/>
                      </a:lnTo>
                      <a:lnTo>
                        <a:pt x="24" y="84"/>
                      </a:lnTo>
                      <a:lnTo>
                        <a:pt x="24" y="84"/>
                      </a:lnTo>
                      <a:lnTo>
                        <a:pt x="24" y="72"/>
                      </a:lnTo>
                      <a:lnTo>
                        <a:pt x="24" y="66"/>
                      </a:lnTo>
                      <a:lnTo>
                        <a:pt x="30" y="60"/>
                      </a:lnTo>
                      <a:lnTo>
                        <a:pt x="30" y="54"/>
                      </a:lnTo>
                      <a:lnTo>
                        <a:pt x="24" y="42"/>
                      </a:lnTo>
                      <a:lnTo>
                        <a:pt x="12" y="36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24" y="6"/>
                      </a:lnTo>
                      <a:lnTo>
                        <a:pt x="42" y="0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0" name="Freeform 40">
                  <a:extLst>
                    <a:ext uri="{FF2B5EF4-FFF2-40B4-BE49-F238E27FC236}">
                      <a16:creationId xmlns:a16="http://schemas.microsoft.com/office/drawing/2014/main" id="{B5D5C50F-E0BD-4663-BD44-AC398D74A7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1" y="-4236"/>
                  <a:ext cx="48" cy="60"/>
                </a:xfrm>
                <a:custGeom>
                  <a:avLst/>
                  <a:gdLst>
                    <a:gd name="T0" fmla="*/ 36 w 48"/>
                    <a:gd name="T1" fmla="*/ 0 h 60"/>
                    <a:gd name="T2" fmla="*/ 48 w 48"/>
                    <a:gd name="T3" fmla="*/ 6 h 60"/>
                    <a:gd name="T4" fmla="*/ 48 w 48"/>
                    <a:gd name="T5" fmla="*/ 18 h 60"/>
                    <a:gd name="T6" fmla="*/ 48 w 48"/>
                    <a:gd name="T7" fmla="*/ 30 h 60"/>
                    <a:gd name="T8" fmla="*/ 36 w 48"/>
                    <a:gd name="T9" fmla="*/ 42 h 60"/>
                    <a:gd name="T10" fmla="*/ 24 w 48"/>
                    <a:gd name="T11" fmla="*/ 54 h 60"/>
                    <a:gd name="T12" fmla="*/ 18 w 48"/>
                    <a:gd name="T13" fmla="*/ 60 h 60"/>
                    <a:gd name="T14" fmla="*/ 12 w 48"/>
                    <a:gd name="T15" fmla="*/ 60 h 60"/>
                    <a:gd name="T16" fmla="*/ 6 w 48"/>
                    <a:gd name="T17" fmla="*/ 54 h 60"/>
                    <a:gd name="T18" fmla="*/ 0 w 48"/>
                    <a:gd name="T19" fmla="*/ 48 h 60"/>
                    <a:gd name="T20" fmla="*/ 0 w 48"/>
                    <a:gd name="T21" fmla="*/ 36 h 60"/>
                    <a:gd name="T22" fmla="*/ 0 w 48"/>
                    <a:gd name="T23" fmla="*/ 24 h 60"/>
                    <a:gd name="T24" fmla="*/ 0 w 48"/>
                    <a:gd name="T25" fmla="*/ 12 h 60"/>
                    <a:gd name="T26" fmla="*/ 12 w 48"/>
                    <a:gd name="T27" fmla="*/ 6 h 60"/>
                    <a:gd name="T28" fmla="*/ 24 w 48"/>
                    <a:gd name="T29" fmla="*/ 0 h 60"/>
                    <a:gd name="T30" fmla="*/ 36 w 48"/>
                    <a:gd name="T31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8" h="60">
                      <a:moveTo>
                        <a:pt x="36" y="0"/>
                      </a:moveTo>
                      <a:lnTo>
                        <a:pt x="48" y="6"/>
                      </a:lnTo>
                      <a:lnTo>
                        <a:pt x="48" y="18"/>
                      </a:lnTo>
                      <a:lnTo>
                        <a:pt x="48" y="30"/>
                      </a:lnTo>
                      <a:lnTo>
                        <a:pt x="36" y="42"/>
                      </a:lnTo>
                      <a:lnTo>
                        <a:pt x="24" y="54"/>
                      </a:lnTo>
                      <a:lnTo>
                        <a:pt x="18" y="60"/>
                      </a:lnTo>
                      <a:lnTo>
                        <a:pt x="12" y="60"/>
                      </a:lnTo>
                      <a:lnTo>
                        <a:pt x="6" y="54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12" y="6"/>
                      </a:lnTo>
                      <a:lnTo>
                        <a:pt x="24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1" name="Freeform 41">
                  <a:extLst>
                    <a:ext uri="{FF2B5EF4-FFF2-40B4-BE49-F238E27FC236}">
                      <a16:creationId xmlns:a16="http://schemas.microsoft.com/office/drawing/2014/main" id="{176EC00C-1329-4631-A699-B7ED16A037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37" y="-3840"/>
                  <a:ext cx="72" cy="168"/>
                </a:xfrm>
                <a:custGeom>
                  <a:avLst/>
                  <a:gdLst>
                    <a:gd name="T0" fmla="*/ 60 w 72"/>
                    <a:gd name="T1" fmla="*/ 0 h 168"/>
                    <a:gd name="T2" fmla="*/ 66 w 72"/>
                    <a:gd name="T3" fmla="*/ 0 h 168"/>
                    <a:gd name="T4" fmla="*/ 72 w 72"/>
                    <a:gd name="T5" fmla="*/ 12 h 168"/>
                    <a:gd name="T6" fmla="*/ 72 w 72"/>
                    <a:gd name="T7" fmla="*/ 24 h 168"/>
                    <a:gd name="T8" fmla="*/ 72 w 72"/>
                    <a:gd name="T9" fmla="*/ 36 h 168"/>
                    <a:gd name="T10" fmla="*/ 72 w 72"/>
                    <a:gd name="T11" fmla="*/ 54 h 168"/>
                    <a:gd name="T12" fmla="*/ 72 w 72"/>
                    <a:gd name="T13" fmla="*/ 72 h 168"/>
                    <a:gd name="T14" fmla="*/ 72 w 72"/>
                    <a:gd name="T15" fmla="*/ 84 h 168"/>
                    <a:gd name="T16" fmla="*/ 72 w 72"/>
                    <a:gd name="T17" fmla="*/ 102 h 168"/>
                    <a:gd name="T18" fmla="*/ 66 w 72"/>
                    <a:gd name="T19" fmla="*/ 114 h 168"/>
                    <a:gd name="T20" fmla="*/ 60 w 72"/>
                    <a:gd name="T21" fmla="*/ 132 h 168"/>
                    <a:gd name="T22" fmla="*/ 54 w 72"/>
                    <a:gd name="T23" fmla="*/ 144 h 168"/>
                    <a:gd name="T24" fmla="*/ 42 w 72"/>
                    <a:gd name="T25" fmla="*/ 156 h 168"/>
                    <a:gd name="T26" fmla="*/ 30 w 72"/>
                    <a:gd name="T27" fmla="*/ 162 h 168"/>
                    <a:gd name="T28" fmla="*/ 18 w 72"/>
                    <a:gd name="T29" fmla="*/ 168 h 168"/>
                    <a:gd name="T30" fmla="*/ 12 w 72"/>
                    <a:gd name="T31" fmla="*/ 162 h 168"/>
                    <a:gd name="T32" fmla="*/ 6 w 72"/>
                    <a:gd name="T33" fmla="*/ 156 h 168"/>
                    <a:gd name="T34" fmla="*/ 0 w 72"/>
                    <a:gd name="T35" fmla="*/ 138 h 168"/>
                    <a:gd name="T36" fmla="*/ 0 w 72"/>
                    <a:gd name="T37" fmla="*/ 120 h 168"/>
                    <a:gd name="T38" fmla="*/ 0 w 72"/>
                    <a:gd name="T39" fmla="*/ 102 h 168"/>
                    <a:gd name="T40" fmla="*/ 6 w 72"/>
                    <a:gd name="T41" fmla="*/ 90 h 168"/>
                    <a:gd name="T42" fmla="*/ 12 w 72"/>
                    <a:gd name="T43" fmla="*/ 72 h 168"/>
                    <a:gd name="T44" fmla="*/ 24 w 72"/>
                    <a:gd name="T45" fmla="*/ 48 h 168"/>
                    <a:gd name="T46" fmla="*/ 30 w 72"/>
                    <a:gd name="T47" fmla="*/ 36 h 168"/>
                    <a:gd name="T48" fmla="*/ 36 w 72"/>
                    <a:gd name="T49" fmla="*/ 30 h 168"/>
                    <a:gd name="T50" fmla="*/ 48 w 72"/>
                    <a:gd name="T51" fmla="*/ 18 h 168"/>
                    <a:gd name="T52" fmla="*/ 54 w 72"/>
                    <a:gd name="T53" fmla="*/ 0 h 168"/>
                    <a:gd name="T54" fmla="*/ 60 w 72"/>
                    <a:gd name="T55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72" h="168">
                      <a:moveTo>
                        <a:pt x="60" y="0"/>
                      </a:moveTo>
                      <a:lnTo>
                        <a:pt x="66" y="0"/>
                      </a:lnTo>
                      <a:lnTo>
                        <a:pt x="72" y="12"/>
                      </a:lnTo>
                      <a:lnTo>
                        <a:pt x="72" y="24"/>
                      </a:lnTo>
                      <a:lnTo>
                        <a:pt x="72" y="36"/>
                      </a:lnTo>
                      <a:lnTo>
                        <a:pt x="72" y="54"/>
                      </a:lnTo>
                      <a:lnTo>
                        <a:pt x="72" y="72"/>
                      </a:lnTo>
                      <a:lnTo>
                        <a:pt x="72" y="84"/>
                      </a:lnTo>
                      <a:lnTo>
                        <a:pt x="72" y="102"/>
                      </a:lnTo>
                      <a:lnTo>
                        <a:pt x="66" y="114"/>
                      </a:lnTo>
                      <a:lnTo>
                        <a:pt x="60" y="132"/>
                      </a:lnTo>
                      <a:lnTo>
                        <a:pt x="54" y="144"/>
                      </a:lnTo>
                      <a:lnTo>
                        <a:pt x="42" y="156"/>
                      </a:lnTo>
                      <a:lnTo>
                        <a:pt x="30" y="162"/>
                      </a:lnTo>
                      <a:lnTo>
                        <a:pt x="18" y="168"/>
                      </a:lnTo>
                      <a:lnTo>
                        <a:pt x="12" y="162"/>
                      </a:lnTo>
                      <a:lnTo>
                        <a:pt x="6" y="156"/>
                      </a:lnTo>
                      <a:lnTo>
                        <a:pt x="0" y="138"/>
                      </a:lnTo>
                      <a:lnTo>
                        <a:pt x="0" y="120"/>
                      </a:lnTo>
                      <a:lnTo>
                        <a:pt x="0" y="102"/>
                      </a:lnTo>
                      <a:lnTo>
                        <a:pt x="6" y="90"/>
                      </a:lnTo>
                      <a:lnTo>
                        <a:pt x="12" y="72"/>
                      </a:lnTo>
                      <a:lnTo>
                        <a:pt x="24" y="48"/>
                      </a:lnTo>
                      <a:lnTo>
                        <a:pt x="30" y="36"/>
                      </a:lnTo>
                      <a:lnTo>
                        <a:pt x="36" y="30"/>
                      </a:lnTo>
                      <a:lnTo>
                        <a:pt x="48" y="18"/>
                      </a:lnTo>
                      <a:lnTo>
                        <a:pt x="54" y="0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2" name="Freeform 42">
                  <a:extLst>
                    <a:ext uri="{FF2B5EF4-FFF2-40B4-BE49-F238E27FC236}">
                      <a16:creationId xmlns:a16="http://schemas.microsoft.com/office/drawing/2014/main" id="{DF5625DE-5870-4305-9C82-E932E770CE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" y="-3702"/>
                  <a:ext cx="48" cy="114"/>
                </a:xfrm>
                <a:custGeom>
                  <a:avLst/>
                  <a:gdLst>
                    <a:gd name="T0" fmla="*/ 36 w 48"/>
                    <a:gd name="T1" fmla="*/ 0 h 114"/>
                    <a:gd name="T2" fmla="*/ 42 w 48"/>
                    <a:gd name="T3" fmla="*/ 6 h 114"/>
                    <a:gd name="T4" fmla="*/ 42 w 48"/>
                    <a:gd name="T5" fmla="*/ 12 h 114"/>
                    <a:gd name="T6" fmla="*/ 48 w 48"/>
                    <a:gd name="T7" fmla="*/ 24 h 114"/>
                    <a:gd name="T8" fmla="*/ 48 w 48"/>
                    <a:gd name="T9" fmla="*/ 36 h 114"/>
                    <a:gd name="T10" fmla="*/ 48 w 48"/>
                    <a:gd name="T11" fmla="*/ 54 h 114"/>
                    <a:gd name="T12" fmla="*/ 42 w 48"/>
                    <a:gd name="T13" fmla="*/ 66 h 114"/>
                    <a:gd name="T14" fmla="*/ 42 w 48"/>
                    <a:gd name="T15" fmla="*/ 78 h 114"/>
                    <a:gd name="T16" fmla="*/ 30 w 48"/>
                    <a:gd name="T17" fmla="*/ 96 h 114"/>
                    <a:gd name="T18" fmla="*/ 18 w 48"/>
                    <a:gd name="T19" fmla="*/ 108 h 114"/>
                    <a:gd name="T20" fmla="*/ 12 w 48"/>
                    <a:gd name="T21" fmla="*/ 114 h 114"/>
                    <a:gd name="T22" fmla="*/ 6 w 48"/>
                    <a:gd name="T23" fmla="*/ 114 h 114"/>
                    <a:gd name="T24" fmla="*/ 0 w 48"/>
                    <a:gd name="T25" fmla="*/ 102 h 114"/>
                    <a:gd name="T26" fmla="*/ 0 w 48"/>
                    <a:gd name="T27" fmla="*/ 90 h 114"/>
                    <a:gd name="T28" fmla="*/ 0 w 48"/>
                    <a:gd name="T29" fmla="*/ 72 h 114"/>
                    <a:gd name="T30" fmla="*/ 6 w 48"/>
                    <a:gd name="T31" fmla="*/ 54 h 114"/>
                    <a:gd name="T32" fmla="*/ 18 w 48"/>
                    <a:gd name="T33" fmla="*/ 30 h 114"/>
                    <a:gd name="T34" fmla="*/ 24 w 48"/>
                    <a:gd name="T35" fmla="*/ 12 h 114"/>
                    <a:gd name="T36" fmla="*/ 30 w 48"/>
                    <a:gd name="T37" fmla="*/ 0 h 114"/>
                    <a:gd name="T38" fmla="*/ 36 w 48"/>
                    <a:gd name="T39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8" h="114">
                      <a:moveTo>
                        <a:pt x="36" y="0"/>
                      </a:moveTo>
                      <a:lnTo>
                        <a:pt x="42" y="6"/>
                      </a:lnTo>
                      <a:lnTo>
                        <a:pt x="42" y="12"/>
                      </a:lnTo>
                      <a:lnTo>
                        <a:pt x="48" y="24"/>
                      </a:lnTo>
                      <a:lnTo>
                        <a:pt x="48" y="36"/>
                      </a:lnTo>
                      <a:lnTo>
                        <a:pt x="48" y="54"/>
                      </a:lnTo>
                      <a:lnTo>
                        <a:pt x="42" y="66"/>
                      </a:lnTo>
                      <a:lnTo>
                        <a:pt x="42" y="78"/>
                      </a:lnTo>
                      <a:lnTo>
                        <a:pt x="30" y="96"/>
                      </a:lnTo>
                      <a:lnTo>
                        <a:pt x="18" y="108"/>
                      </a:lnTo>
                      <a:lnTo>
                        <a:pt x="12" y="114"/>
                      </a:lnTo>
                      <a:lnTo>
                        <a:pt x="6" y="114"/>
                      </a:lnTo>
                      <a:lnTo>
                        <a:pt x="0" y="102"/>
                      </a:lnTo>
                      <a:lnTo>
                        <a:pt x="0" y="90"/>
                      </a:lnTo>
                      <a:lnTo>
                        <a:pt x="0" y="72"/>
                      </a:lnTo>
                      <a:lnTo>
                        <a:pt x="6" y="54"/>
                      </a:lnTo>
                      <a:lnTo>
                        <a:pt x="18" y="30"/>
                      </a:lnTo>
                      <a:lnTo>
                        <a:pt x="24" y="12"/>
                      </a:lnTo>
                      <a:lnTo>
                        <a:pt x="3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3" name="Freeform 43">
                  <a:extLst>
                    <a:ext uri="{FF2B5EF4-FFF2-40B4-BE49-F238E27FC236}">
                      <a16:creationId xmlns:a16="http://schemas.microsoft.com/office/drawing/2014/main" id="{149FA528-2D70-4C8D-A7D6-5B7CF350DC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1" y="-3438"/>
                  <a:ext cx="60" cy="84"/>
                </a:xfrm>
                <a:custGeom>
                  <a:avLst/>
                  <a:gdLst>
                    <a:gd name="T0" fmla="*/ 12 w 60"/>
                    <a:gd name="T1" fmla="*/ 0 h 84"/>
                    <a:gd name="T2" fmla="*/ 24 w 60"/>
                    <a:gd name="T3" fmla="*/ 0 h 84"/>
                    <a:gd name="T4" fmla="*/ 36 w 60"/>
                    <a:gd name="T5" fmla="*/ 6 h 84"/>
                    <a:gd name="T6" fmla="*/ 48 w 60"/>
                    <a:gd name="T7" fmla="*/ 12 h 84"/>
                    <a:gd name="T8" fmla="*/ 54 w 60"/>
                    <a:gd name="T9" fmla="*/ 24 h 84"/>
                    <a:gd name="T10" fmla="*/ 60 w 60"/>
                    <a:gd name="T11" fmla="*/ 42 h 84"/>
                    <a:gd name="T12" fmla="*/ 60 w 60"/>
                    <a:gd name="T13" fmla="*/ 54 h 84"/>
                    <a:gd name="T14" fmla="*/ 60 w 60"/>
                    <a:gd name="T15" fmla="*/ 66 h 84"/>
                    <a:gd name="T16" fmla="*/ 54 w 60"/>
                    <a:gd name="T17" fmla="*/ 78 h 84"/>
                    <a:gd name="T18" fmla="*/ 36 w 60"/>
                    <a:gd name="T19" fmla="*/ 84 h 84"/>
                    <a:gd name="T20" fmla="*/ 12 w 60"/>
                    <a:gd name="T21" fmla="*/ 84 h 84"/>
                    <a:gd name="T22" fmla="*/ 6 w 60"/>
                    <a:gd name="T23" fmla="*/ 84 h 84"/>
                    <a:gd name="T24" fmla="*/ 0 w 60"/>
                    <a:gd name="T25" fmla="*/ 72 h 84"/>
                    <a:gd name="T26" fmla="*/ 0 w 60"/>
                    <a:gd name="T27" fmla="*/ 66 h 84"/>
                    <a:gd name="T28" fmla="*/ 0 w 60"/>
                    <a:gd name="T29" fmla="*/ 54 h 84"/>
                    <a:gd name="T30" fmla="*/ 0 w 60"/>
                    <a:gd name="T31" fmla="*/ 36 h 84"/>
                    <a:gd name="T32" fmla="*/ 0 w 60"/>
                    <a:gd name="T33" fmla="*/ 30 h 84"/>
                    <a:gd name="T34" fmla="*/ 0 w 60"/>
                    <a:gd name="T35" fmla="*/ 18 h 84"/>
                    <a:gd name="T36" fmla="*/ 0 w 60"/>
                    <a:gd name="T37" fmla="*/ 6 h 84"/>
                    <a:gd name="T38" fmla="*/ 6 w 60"/>
                    <a:gd name="T39" fmla="*/ 0 h 84"/>
                    <a:gd name="T40" fmla="*/ 12 w 60"/>
                    <a:gd name="T41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0" h="84">
                      <a:moveTo>
                        <a:pt x="12" y="0"/>
                      </a:moveTo>
                      <a:lnTo>
                        <a:pt x="24" y="0"/>
                      </a:lnTo>
                      <a:lnTo>
                        <a:pt x="36" y="6"/>
                      </a:lnTo>
                      <a:lnTo>
                        <a:pt x="48" y="12"/>
                      </a:lnTo>
                      <a:lnTo>
                        <a:pt x="54" y="24"/>
                      </a:lnTo>
                      <a:lnTo>
                        <a:pt x="60" y="42"/>
                      </a:lnTo>
                      <a:lnTo>
                        <a:pt x="60" y="54"/>
                      </a:lnTo>
                      <a:lnTo>
                        <a:pt x="60" y="66"/>
                      </a:lnTo>
                      <a:lnTo>
                        <a:pt x="54" y="78"/>
                      </a:lnTo>
                      <a:lnTo>
                        <a:pt x="36" y="84"/>
                      </a:lnTo>
                      <a:lnTo>
                        <a:pt x="12" y="84"/>
                      </a:lnTo>
                      <a:lnTo>
                        <a:pt x="6" y="84"/>
                      </a:lnTo>
                      <a:lnTo>
                        <a:pt x="0" y="72"/>
                      </a:lnTo>
                      <a:lnTo>
                        <a:pt x="0" y="66"/>
                      </a:lnTo>
                      <a:lnTo>
                        <a:pt x="0" y="54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4" name="Freeform 44">
                  <a:extLst>
                    <a:ext uri="{FF2B5EF4-FFF2-40B4-BE49-F238E27FC236}">
                      <a16:creationId xmlns:a16="http://schemas.microsoft.com/office/drawing/2014/main" id="{FB26A0AA-A0A7-43E9-9AEE-BCE9815346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5" y="-3516"/>
                  <a:ext cx="90" cy="126"/>
                </a:xfrm>
                <a:custGeom>
                  <a:avLst/>
                  <a:gdLst>
                    <a:gd name="T0" fmla="*/ 60 w 90"/>
                    <a:gd name="T1" fmla="*/ 0 h 126"/>
                    <a:gd name="T2" fmla="*/ 66 w 90"/>
                    <a:gd name="T3" fmla="*/ 6 h 126"/>
                    <a:gd name="T4" fmla="*/ 66 w 90"/>
                    <a:gd name="T5" fmla="*/ 12 h 126"/>
                    <a:gd name="T6" fmla="*/ 72 w 90"/>
                    <a:gd name="T7" fmla="*/ 24 h 126"/>
                    <a:gd name="T8" fmla="*/ 72 w 90"/>
                    <a:gd name="T9" fmla="*/ 30 h 126"/>
                    <a:gd name="T10" fmla="*/ 78 w 90"/>
                    <a:gd name="T11" fmla="*/ 42 h 126"/>
                    <a:gd name="T12" fmla="*/ 84 w 90"/>
                    <a:gd name="T13" fmla="*/ 54 h 126"/>
                    <a:gd name="T14" fmla="*/ 90 w 90"/>
                    <a:gd name="T15" fmla="*/ 72 h 126"/>
                    <a:gd name="T16" fmla="*/ 90 w 90"/>
                    <a:gd name="T17" fmla="*/ 90 h 126"/>
                    <a:gd name="T18" fmla="*/ 84 w 90"/>
                    <a:gd name="T19" fmla="*/ 108 h 126"/>
                    <a:gd name="T20" fmla="*/ 78 w 90"/>
                    <a:gd name="T21" fmla="*/ 120 h 126"/>
                    <a:gd name="T22" fmla="*/ 72 w 90"/>
                    <a:gd name="T23" fmla="*/ 126 h 126"/>
                    <a:gd name="T24" fmla="*/ 60 w 90"/>
                    <a:gd name="T25" fmla="*/ 126 h 126"/>
                    <a:gd name="T26" fmla="*/ 48 w 90"/>
                    <a:gd name="T27" fmla="*/ 126 h 126"/>
                    <a:gd name="T28" fmla="*/ 30 w 90"/>
                    <a:gd name="T29" fmla="*/ 120 h 126"/>
                    <a:gd name="T30" fmla="*/ 24 w 90"/>
                    <a:gd name="T31" fmla="*/ 108 h 126"/>
                    <a:gd name="T32" fmla="*/ 18 w 90"/>
                    <a:gd name="T33" fmla="*/ 102 h 126"/>
                    <a:gd name="T34" fmla="*/ 12 w 90"/>
                    <a:gd name="T35" fmla="*/ 90 h 126"/>
                    <a:gd name="T36" fmla="*/ 12 w 90"/>
                    <a:gd name="T37" fmla="*/ 84 h 126"/>
                    <a:gd name="T38" fmla="*/ 0 w 90"/>
                    <a:gd name="T39" fmla="*/ 78 h 126"/>
                    <a:gd name="T40" fmla="*/ 0 w 90"/>
                    <a:gd name="T41" fmla="*/ 66 h 126"/>
                    <a:gd name="T42" fmla="*/ 0 w 90"/>
                    <a:gd name="T43" fmla="*/ 60 h 126"/>
                    <a:gd name="T44" fmla="*/ 0 w 90"/>
                    <a:gd name="T45" fmla="*/ 48 h 126"/>
                    <a:gd name="T46" fmla="*/ 12 w 90"/>
                    <a:gd name="T47" fmla="*/ 48 h 126"/>
                    <a:gd name="T48" fmla="*/ 18 w 90"/>
                    <a:gd name="T49" fmla="*/ 48 h 126"/>
                    <a:gd name="T50" fmla="*/ 24 w 90"/>
                    <a:gd name="T51" fmla="*/ 42 h 126"/>
                    <a:gd name="T52" fmla="*/ 30 w 90"/>
                    <a:gd name="T53" fmla="*/ 36 h 126"/>
                    <a:gd name="T54" fmla="*/ 36 w 90"/>
                    <a:gd name="T55" fmla="*/ 30 h 126"/>
                    <a:gd name="T56" fmla="*/ 48 w 90"/>
                    <a:gd name="T57" fmla="*/ 12 h 126"/>
                    <a:gd name="T58" fmla="*/ 54 w 90"/>
                    <a:gd name="T59" fmla="*/ 6 h 126"/>
                    <a:gd name="T60" fmla="*/ 60 w 90"/>
                    <a:gd name="T61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90" h="126">
                      <a:moveTo>
                        <a:pt x="60" y="0"/>
                      </a:moveTo>
                      <a:lnTo>
                        <a:pt x="66" y="6"/>
                      </a:lnTo>
                      <a:lnTo>
                        <a:pt x="66" y="12"/>
                      </a:lnTo>
                      <a:lnTo>
                        <a:pt x="72" y="24"/>
                      </a:lnTo>
                      <a:lnTo>
                        <a:pt x="72" y="30"/>
                      </a:lnTo>
                      <a:lnTo>
                        <a:pt x="78" y="42"/>
                      </a:lnTo>
                      <a:lnTo>
                        <a:pt x="84" y="54"/>
                      </a:lnTo>
                      <a:lnTo>
                        <a:pt x="90" y="72"/>
                      </a:lnTo>
                      <a:lnTo>
                        <a:pt x="90" y="90"/>
                      </a:lnTo>
                      <a:lnTo>
                        <a:pt x="84" y="108"/>
                      </a:lnTo>
                      <a:lnTo>
                        <a:pt x="78" y="120"/>
                      </a:lnTo>
                      <a:lnTo>
                        <a:pt x="72" y="126"/>
                      </a:lnTo>
                      <a:lnTo>
                        <a:pt x="60" y="126"/>
                      </a:lnTo>
                      <a:lnTo>
                        <a:pt x="48" y="126"/>
                      </a:lnTo>
                      <a:lnTo>
                        <a:pt x="30" y="120"/>
                      </a:lnTo>
                      <a:lnTo>
                        <a:pt x="24" y="108"/>
                      </a:lnTo>
                      <a:lnTo>
                        <a:pt x="18" y="102"/>
                      </a:lnTo>
                      <a:lnTo>
                        <a:pt x="12" y="90"/>
                      </a:lnTo>
                      <a:lnTo>
                        <a:pt x="12" y="84"/>
                      </a:lnTo>
                      <a:lnTo>
                        <a:pt x="0" y="78"/>
                      </a:lnTo>
                      <a:lnTo>
                        <a:pt x="0" y="66"/>
                      </a:lnTo>
                      <a:lnTo>
                        <a:pt x="0" y="60"/>
                      </a:lnTo>
                      <a:lnTo>
                        <a:pt x="0" y="48"/>
                      </a:lnTo>
                      <a:lnTo>
                        <a:pt x="12" y="48"/>
                      </a:lnTo>
                      <a:lnTo>
                        <a:pt x="18" y="48"/>
                      </a:lnTo>
                      <a:lnTo>
                        <a:pt x="24" y="42"/>
                      </a:lnTo>
                      <a:lnTo>
                        <a:pt x="30" y="36"/>
                      </a:lnTo>
                      <a:lnTo>
                        <a:pt x="36" y="30"/>
                      </a:lnTo>
                      <a:lnTo>
                        <a:pt x="48" y="12"/>
                      </a:lnTo>
                      <a:lnTo>
                        <a:pt x="54" y="6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5" name="Freeform 45">
                  <a:extLst>
                    <a:ext uri="{FF2B5EF4-FFF2-40B4-BE49-F238E27FC236}">
                      <a16:creationId xmlns:a16="http://schemas.microsoft.com/office/drawing/2014/main" id="{41748FC6-0C5A-4AA5-9CA2-5A9176894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" y="-3342"/>
                  <a:ext cx="72" cy="36"/>
                </a:xfrm>
                <a:custGeom>
                  <a:avLst/>
                  <a:gdLst>
                    <a:gd name="T0" fmla="*/ 36 w 72"/>
                    <a:gd name="T1" fmla="*/ 0 h 36"/>
                    <a:gd name="T2" fmla="*/ 48 w 72"/>
                    <a:gd name="T3" fmla="*/ 0 h 36"/>
                    <a:gd name="T4" fmla="*/ 60 w 72"/>
                    <a:gd name="T5" fmla="*/ 6 h 36"/>
                    <a:gd name="T6" fmla="*/ 66 w 72"/>
                    <a:gd name="T7" fmla="*/ 6 h 36"/>
                    <a:gd name="T8" fmla="*/ 72 w 72"/>
                    <a:gd name="T9" fmla="*/ 12 h 36"/>
                    <a:gd name="T10" fmla="*/ 72 w 72"/>
                    <a:gd name="T11" fmla="*/ 18 h 36"/>
                    <a:gd name="T12" fmla="*/ 66 w 72"/>
                    <a:gd name="T13" fmla="*/ 24 h 36"/>
                    <a:gd name="T14" fmla="*/ 54 w 72"/>
                    <a:gd name="T15" fmla="*/ 30 h 36"/>
                    <a:gd name="T16" fmla="*/ 48 w 72"/>
                    <a:gd name="T17" fmla="*/ 36 h 36"/>
                    <a:gd name="T18" fmla="*/ 36 w 72"/>
                    <a:gd name="T19" fmla="*/ 36 h 36"/>
                    <a:gd name="T20" fmla="*/ 18 w 72"/>
                    <a:gd name="T21" fmla="*/ 36 h 36"/>
                    <a:gd name="T22" fmla="*/ 6 w 72"/>
                    <a:gd name="T23" fmla="*/ 36 h 36"/>
                    <a:gd name="T24" fmla="*/ 0 w 72"/>
                    <a:gd name="T25" fmla="*/ 30 h 36"/>
                    <a:gd name="T26" fmla="*/ 6 w 72"/>
                    <a:gd name="T27" fmla="*/ 24 h 36"/>
                    <a:gd name="T28" fmla="*/ 6 w 72"/>
                    <a:gd name="T29" fmla="*/ 18 h 36"/>
                    <a:gd name="T30" fmla="*/ 18 w 72"/>
                    <a:gd name="T31" fmla="*/ 6 h 36"/>
                    <a:gd name="T32" fmla="*/ 24 w 72"/>
                    <a:gd name="T33" fmla="*/ 6 h 36"/>
                    <a:gd name="T34" fmla="*/ 36 w 72"/>
                    <a:gd name="T35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2" h="36">
                      <a:moveTo>
                        <a:pt x="36" y="0"/>
                      </a:moveTo>
                      <a:lnTo>
                        <a:pt x="48" y="0"/>
                      </a:lnTo>
                      <a:lnTo>
                        <a:pt x="60" y="6"/>
                      </a:lnTo>
                      <a:lnTo>
                        <a:pt x="66" y="6"/>
                      </a:lnTo>
                      <a:lnTo>
                        <a:pt x="72" y="12"/>
                      </a:lnTo>
                      <a:lnTo>
                        <a:pt x="72" y="18"/>
                      </a:lnTo>
                      <a:lnTo>
                        <a:pt x="66" y="24"/>
                      </a:lnTo>
                      <a:lnTo>
                        <a:pt x="54" y="30"/>
                      </a:lnTo>
                      <a:lnTo>
                        <a:pt x="48" y="36"/>
                      </a:lnTo>
                      <a:lnTo>
                        <a:pt x="36" y="36"/>
                      </a:lnTo>
                      <a:lnTo>
                        <a:pt x="18" y="36"/>
                      </a:lnTo>
                      <a:lnTo>
                        <a:pt x="6" y="36"/>
                      </a:lnTo>
                      <a:lnTo>
                        <a:pt x="0" y="30"/>
                      </a:lnTo>
                      <a:lnTo>
                        <a:pt x="6" y="24"/>
                      </a:lnTo>
                      <a:lnTo>
                        <a:pt x="6" y="18"/>
                      </a:lnTo>
                      <a:lnTo>
                        <a:pt x="18" y="6"/>
                      </a:lnTo>
                      <a:lnTo>
                        <a:pt x="24" y="6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6" name="Freeform 46">
                  <a:extLst>
                    <a:ext uri="{FF2B5EF4-FFF2-40B4-BE49-F238E27FC236}">
                      <a16:creationId xmlns:a16="http://schemas.microsoft.com/office/drawing/2014/main" id="{18BDC0F3-4BF5-49DF-AA0A-8E0B1FDA4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3" y="-3318"/>
                  <a:ext cx="54" cy="48"/>
                </a:xfrm>
                <a:custGeom>
                  <a:avLst/>
                  <a:gdLst>
                    <a:gd name="T0" fmla="*/ 24 w 54"/>
                    <a:gd name="T1" fmla="*/ 0 h 48"/>
                    <a:gd name="T2" fmla="*/ 36 w 54"/>
                    <a:gd name="T3" fmla="*/ 6 h 48"/>
                    <a:gd name="T4" fmla="*/ 48 w 54"/>
                    <a:gd name="T5" fmla="*/ 18 h 48"/>
                    <a:gd name="T6" fmla="*/ 54 w 54"/>
                    <a:gd name="T7" fmla="*/ 24 h 48"/>
                    <a:gd name="T8" fmla="*/ 54 w 54"/>
                    <a:gd name="T9" fmla="*/ 36 h 48"/>
                    <a:gd name="T10" fmla="*/ 48 w 54"/>
                    <a:gd name="T11" fmla="*/ 42 h 48"/>
                    <a:gd name="T12" fmla="*/ 36 w 54"/>
                    <a:gd name="T13" fmla="*/ 48 h 48"/>
                    <a:gd name="T14" fmla="*/ 24 w 54"/>
                    <a:gd name="T15" fmla="*/ 48 h 48"/>
                    <a:gd name="T16" fmla="*/ 12 w 54"/>
                    <a:gd name="T17" fmla="*/ 42 h 48"/>
                    <a:gd name="T18" fmla="*/ 6 w 54"/>
                    <a:gd name="T19" fmla="*/ 36 h 48"/>
                    <a:gd name="T20" fmla="*/ 0 w 54"/>
                    <a:gd name="T21" fmla="*/ 30 h 48"/>
                    <a:gd name="T22" fmla="*/ 0 w 54"/>
                    <a:gd name="T23" fmla="*/ 18 h 48"/>
                    <a:gd name="T24" fmla="*/ 6 w 54"/>
                    <a:gd name="T25" fmla="*/ 12 h 48"/>
                    <a:gd name="T26" fmla="*/ 12 w 54"/>
                    <a:gd name="T27" fmla="*/ 6 h 48"/>
                    <a:gd name="T28" fmla="*/ 18 w 54"/>
                    <a:gd name="T29" fmla="*/ 0 h 48"/>
                    <a:gd name="T30" fmla="*/ 24 w 54"/>
                    <a:gd name="T3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4" h="48">
                      <a:moveTo>
                        <a:pt x="24" y="0"/>
                      </a:moveTo>
                      <a:lnTo>
                        <a:pt x="36" y="6"/>
                      </a:lnTo>
                      <a:lnTo>
                        <a:pt x="48" y="18"/>
                      </a:lnTo>
                      <a:lnTo>
                        <a:pt x="54" y="24"/>
                      </a:lnTo>
                      <a:lnTo>
                        <a:pt x="54" y="36"/>
                      </a:lnTo>
                      <a:lnTo>
                        <a:pt x="48" y="42"/>
                      </a:lnTo>
                      <a:lnTo>
                        <a:pt x="36" y="48"/>
                      </a:lnTo>
                      <a:lnTo>
                        <a:pt x="24" y="48"/>
                      </a:lnTo>
                      <a:lnTo>
                        <a:pt x="12" y="42"/>
                      </a:lnTo>
                      <a:lnTo>
                        <a:pt x="6" y="36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18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7" name="Freeform 47">
                  <a:extLst>
                    <a:ext uri="{FF2B5EF4-FFF2-40B4-BE49-F238E27FC236}">
                      <a16:creationId xmlns:a16="http://schemas.microsoft.com/office/drawing/2014/main" id="{CA8C612B-283C-4ED5-BA70-9BF31DAE10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1" y="-4164"/>
                  <a:ext cx="48" cy="36"/>
                </a:xfrm>
                <a:custGeom>
                  <a:avLst/>
                  <a:gdLst>
                    <a:gd name="T0" fmla="*/ 12 w 48"/>
                    <a:gd name="T1" fmla="*/ 0 h 36"/>
                    <a:gd name="T2" fmla="*/ 24 w 48"/>
                    <a:gd name="T3" fmla="*/ 6 h 36"/>
                    <a:gd name="T4" fmla="*/ 30 w 48"/>
                    <a:gd name="T5" fmla="*/ 6 h 36"/>
                    <a:gd name="T6" fmla="*/ 42 w 48"/>
                    <a:gd name="T7" fmla="*/ 12 h 36"/>
                    <a:gd name="T8" fmla="*/ 42 w 48"/>
                    <a:gd name="T9" fmla="*/ 18 h 36"/>
                    <a:gd name="T10" fmla="*/ 48 w 48"/>
                    <a:gd name="T11" fmla="*/ 24 h 36"/>
                    <a:gd name="T12" fmla="*/ 48 w 48"/>
                    <a:gd name="T13" fmla="*/ 30 h 36"/>
                    <a:gd name="T14" fmla="*/ 36 w 48"/>
                    <a:gd name="T15" fmla="*/ 36 h 36"/>
                    <a:gd name="T16" fmla="*/ 24 w 48"/>
                    <a:gd name="T17" fmla="*/ 36 h 36"/>
                    <a:gd name="T18" fmla="*/ 18 w 48"/>
                    <a:gd name="T19" fmla="*/ 36 h 36"/>
                    <a:gd name="T20" fmla="*/ 12 w 48"/>
                    <a:gd name="T21" fmla="*/ 30 h 36"/>
                    <a:gd name="T22" fmla="*/ 6 w 48"/>
                    <a:gd name="T23" fmla="*/ 24 h 36"/>
                    <a:gd name="T24" fmla="*/ 0 w 48"/>
                    <a:gd name="T25" fmla="*/ 18 h 36"/>
                    <a:gd name="T26" fmla="*/ 0 w 48"/>
                    <a:gd name="T27" fmla="*/ 6 h 36"/>
                    <a:gd name="T28" fmla="*/ 6 w 48"/>
                    <a:gd name="T29" fmla="*/ 0 h 36"/>
                    <a:gd name="T30" fmla="*/ 12 w 48"/>
                    <a:gd name="T3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8" h="36">
                      <a:moveTo>
                        <a:pt x="12" y="0"/>
                      </a:moveTo>
                      <a:lnTo>
                        <a:pt x="24" y="6"/>
                      </a:lnTo>
                      <a:lnTo>
                        <a:pt x="30" y="6"/>
                      </a:lnTo>
                      <a:lnTo>
                        <a:pt x="42" y="12"/>
                      </a:lnTo>
                      <a:lnTo>
                        <a:pt x="42" y="18"/>
                      </a:lnTo>
                      <a:lnTo>
                        <a:pt x="48" y="24"/>
                      </a:lnTo>
                      <a:lnTo>
                        <a:pt x="48" y="30"/>
                      </a:lnTo>
                      <a:lnTo>
                        <a:pt x="36" y="36"/>
                      </a:lnTo>
                      <a:lnTo>
                        <a:pt x="24" y="36"/>
                      </a:lnTo>
                      <a:lnTo>
                        <a:pt x="18" y="36"/>
                      </a:lnTo>
                      <a:lnTo>
                        <a:pt x="12" y="30"/>
                      </a:lnTo>
                      <a:lnTo>
                        <a:pt x="6" y="24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8" name="Freeform 48">
                  <a:extLst>
                    <a:ext uri="{FF2B5EF4-FFF2-40B4-BE49-F238E27FC236}">
                      <a16:creationId xmlns:a16="http://schemas.microsoft.com/office/drawing/2014/main" id="{A253B25A-B8C4-440E-996B-FD71F93F11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59" y="-3816"/>
                  <a:ext cx="252" cy="222"/>
                </a:xfrm>
                <a:custGeom>
                  <a:avLst/>
                  <a:gdLst>
                    <a:gd name="T0" fmla="*/ 216 w 252"/>
                    <a:gd name="T1" fmla="*/ 0 h 222"/>
                    <a:gd name="T2" fmla="*/ 222 w 252"/>
                    <a:gd name="T3" fmla="*/ 0 h 222"/>
                    <a:gd name="T4" fmla="*/ 228 w 252"/>
                    <a:gd name="T5" fmla="*/ 0 h 222"/>
                    <a:gd name="T6" fmla="*/ 234 w 252"/>
                    <a:gd name="T7" fmla="*/ 12 h 222"/>
                    <a:gd name="T8" fmla="*/ 234 w 252"/>
                    <a:gd name="T9" fmla="*/ 18 h 222"/>
                    <a:gd name="T10" fmla="*/ 240 w 252"/>
                    <a:gd name="T11" fmla="*/ 30 h 222"/>
                    <a:gd name="T12" fmla="*/ 240 w 252"/>
                    <a:gd name="T13" fmla="*/ 42 h 222"/>
                    <a:gd name="T14" fmla="*/ 246 w 252"/>
                    <a:gd name="T15" fmla="*/ 54 h 222"/>
                    <a:gd name="T16" fmla="*/ 246 w 252"/>
                    <a:gd name="T17" fmla="*/ 66 h 222"/>
                    <a:gd name="T18" fmla="*/ 252 w 252"/>
                    <a:gd name="T19" fmla="*/ 72 h 222"/>
                    <a:gd name="T20" fmla="*/ 252 w 252"/>
                    <a:gd name="T21" fmla="*/ 84 h 222"/>
                    <a:gd name="T22" fmla="*/ 246 w 252"/>
                    <a:gd name="T23" fmla="*/ 96 h 222"/>
                    <a:gd name="T24" fmla="*/ 240 w 252"/>
                    <a:gd name="T25" fmla="*/ 114 h 222"/>
                    <a:gd name="T26" fmla="*/ 228 w 252"/>
                    <a:gd name="T27" fmla="*/ 126 h 222"/>
                    <a:gd name="T28" fmla="*/ 222 w 252"/>
                    <a:gd name="T29" fmla="*/ 132 h 222"/>
                    <a:gd name="T30" fmla="*/ 216 w 252"/>
                    <a:gd name="T31" fmla="*/ 132 h 222"/>
                    <a:gd name="T32" fmla="*/ 210 w 252"/>
                    <a:gd name="T33" fmla="*/ 126 h 222"/>
                    <a:gd name="T34" fmla="*/ 198 w 252"/>
                    <a:gd name="T35" fmla="*/ 126 h 222"/>
                    <a:gd name="T36" fmla="*/ 192 w 252"/>
                    <a:gd name="T37" fmla="*/ 120 h 222"/>
                    <a:gd name="T38" fmla="*/ 186 w 252"/>
                    <a:gd name="T39" fmla="*/ 114 h 222"/>
                    <a:gd name="T40" fmla="*/ 174 w 252"/>
                    <a:gd name="T41" fmla="*/ 114 h 222"/>
                    <a:gd name="T42" fmla="*/ 150 w 252"/>
                    <a:gd name="T43" fmla="*/ 120 h 222"/>
                    <a:gd name="T44" fmla="*/ 132 w 252"/>
                    <a:gd name="T45" fmla="*/ 132 h 222"/>
                    <a:gd name="T46" fmla="*/ 120 w 252"/>
                    <a:gd name="T47" fmla="*/ 144 h 222"/>
                    <a:gd name="T48" fmla="*/ 108 w 252"/>
                    <a:gd name="T49" fmla="*/ 162 h 222"/>
                    <a:gd name="T50" fmla="*/ 90 w 252"/>
                    <a:gd name="T51" fmla="*/ 180 h 222"/>
                    <a:gd name="T52" fmla="*/ 84 w 252"/>
                    <a:gd name="T53" fmla="*/ 192 h 222"/>
                    <a:gd name="T54" fmla="*/ 72 w 252"/>
                    <a:gd name="T55" fmla="*/ 192 h 222"/>
                    <a:gd name="T56" fmla="*/ 66 w 252"/>
                    <a:gd name="T57" fmla="*/ 198 h 222"/>
                    <a:gd name="T58" fmla="*/ 54 w 252"/>
                    <a:gd name="T59" fmla="*/ 198 h 222"/>
                    <a:gd name="T60" fmla="*/ 42 w 252"/>
                    <a:gd name="T61" fmla="*/ 204 h 222"/>
                    <a:gd name="T62" fmla="*/ 30 w 252"/>
                    <a:gd name="T63" fmla="*/ 216 h 222"/>
                    <a:gd name="T64" fmla="*/ 18 w 252"/>
                    <a:gd name="T65" fmla="*/ 222 h 222"/>
                    <a:gd name="T66" fmla="*/ 12 w 252"/>
                    <a:gd name="T67" fmla="*/ 222 h 222"/>
                    <a:gd name="T68" fmla="*/ 6 w 252"/>
                    <a:gd name="T69" fmla="*/ 222 h 222"/>
                    <a:gd name="T70" fmla="*/ 0 w 252"/>
                    <a:gd name="T71" fmla="*/ 216 h 222"/>
                    <a:gd name="T72" fmla="*/ 0 w 252"/>
                    <a:gd name="T73" fmla="*/ 204 h 222"/>
                    <a:gd name="T74" fmla="*/ 0 w 252"/>
                    <a:gd name="T75" fmla="*/ 192 h 222"/>
                    <a:gd name="T76" fmla="*/ 0 w 252"/>
                    <a:gd name="T77" fmla="*/ 180 h 222"/>
                    <a:gd name="T78" fmla="*/ 0 w 252"/>
                    <a:gd name="T79" fmla="*/ 168 h 222"/>
                    <a:gd name="T80" fmla="*/ 6 w 252"/>
                    <a:gd name="T81" fmla="*/ 162 h 222"/>
                    <a:gd name="T82" fmla="*/ 18 w 252"/>
                    <a:gd name="T83" fmla="*/ 150 h 222"/>
                    <a:gd name="T84" fmla="*/ 30 w 252"/>
                    <a:gd name="T85" fmla="*/ 144 h 222"/>
                    <a:gd name="T86" fmla="*/ 48 w 252"/>
                    <a:gd name="T87" fmla="*/ 144 h 222"/>
                    <a:gd name="T88" fmla="*/ 60 w 252"/>
                    <a:gd name="T89" fmla="*/ 150 h 222"/>
                    <a:gd name="T90" fmla="*/ 66 w 252"/>
                    <a:gd name="T91" fmla="*/ 144 h 222"/>
                    <a:gd name="T92" fmla="*/ 72 w 252"/>
                    <a:gd name="T93" fmla="*/ 138 h 222"/>
                    <a:gd name="T94" fmla="*/ 72 w 252"/>
                    <a:gd name="T95" fmla="*/ 132 h 222"/>
                    <a:gd name="T96" fmla="*/ 78 w 252"/>
                    <a:gd name="T97" fmla="*/ 120 h 222"/>
                    <a:gd name="T98" fmla="*/ 84 w 252"/>
                    <a:gd name="T99" fmla="*/ 108 h 222"/>
                    <a:gd name="T100" fmla="*/ 96 w 252"/>
                    <a:gd name="T101" fmla="*/ 96 h 222"/>
                    <a:gd name="T102" fmla="*/ 144 w 252"/>
                    <a:gd name="T103" fmla="*/ 54 h 222"/>
                    <a:gd name="T104" fmla="*/ 192 w 252"/>
                    <a:gd name="T105" fmla="*/ 12 h 222"/>
                    <a:gd name="T106" fmla="*/ 204 w 252"/>
                    <a:gd name="T107" fmla="*/ 0 h 222"/>
                    <a:gd name="T108" fmla="*/ 216 w 252"/>
                    <a:gd name="T109" fmla="*/ 0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52" h="222">
                      <a:moveTo>
                        <a:pt x="216" y="0"/>
                      </a:moveTo>
                      <a:lnTo>
                        <a:pt x="222" y="0"/>
                      </a:lnTo>
                      <a:lnTo>
                        <a:pt x="228" y="0"/>
                      </a:lnTo>
                      <a:lnTo>
                        <a:pt x="234" y="12"/>
                      </a:lnTo>
                      <a:lnTo>
                        <a:pt x="234" y="18"/>
                      </a:lnTo>
                      <a:lnTo>
                        <a:pt x="240" y="30"/>
                      </a:lnTo>
                      <a:lnTo>
                        <a:pt x="240" y="42"/>
                      </a:lnTo>
                      <a:lnTo>
                        <a:pt x="246" y="54"/>
                      </a:lnTo>
                      <a:lnTo>
                        <a:pt x="246" y="66"/>
                      </a:lnTo>
                      <a:lnTo>
                        <a:pt x="252" y="72"/>
                      </a:lnTo>
                      <a:lnTo>
                        <a:pt x="252" y="84"/>
                      </a:lnTo>
                      <a:lnTo>
                        <a:pt x="246" y="96"/>
                      </a:lnTo>
                      <a:lnTo>
                        <a:pt x="240" y="114"/>
                      </a:lnTo>
                      <a:lnTo>
                        <a:pt x="228" y="126"/>
                      </a:lnTo>
                      <a:lnTo>
                        <a:pt x="222" y="132"/>
                      </a:lnTo>
                      <a:lnTo>
                        <a:pt x="216" y="132"/>
                      </a:lnTo>
                      <a:lnTo>
                        <a:pt x="210" y="126"/>
                      </a:lnTo>
                      <a:lnTo>
                        <a:pt x="198" y="126"/>
                      </a:lnTo>
                      <a:lnTo>
                        <a:pt x="192" y="120"/>
                      </a:lnTo>
                      <a:lnTo>
                        <a:pt x="186" y="114"/>
                      </a:lnTo>
                      <a:lnTo>
                        <a:pt x="174" y="114"/>
                      </a:lnTo>
                      <a:lnTo>
                        <a:pt x="150" y="120"/>
                      </a:lnTo>
                      <a:lnTo>
                        <a:pt x="132" y="132"/>
                      </a:lnTo>
                      <a:lnTo>
                        <a:pt x="120" y="144"/>
                      </a:lnTo>
                      <a:lnTo>
                        <a:pt x="108" y="162"/>
                      </a:lnTo>
                      <a:lnTo>
                        <a:pt x="90" y="180"/>
                      </a:lnTo>
                      <a:lnTo>
                        <a:pt x="84" y="192"/>
                      </a:lnTo>
                      <a:lnTo>
                        <a:pt x="72" y="192"/>
                      </a:lnTo>
                      <a:lnTo>
                        <a:pt x="66" y="198"/>
                      </a:lnTo>
                      <a:lnTo>
                        <a:pt x="54" y="198"/>
                      </a:lnTo>
                      <a:lnTo>
                        <a:pt x="42" y="204"/>
                      </a:lnTo>
                      <a:lnTo>
                        <a:pt x="30" y="216"/>
                      </a:lnTo>
                      <a:lnTo>
                        <a:pt x="18" y="222"/>
                      </a:lnTo>
                      <a:lnTo>
                        <a:pt x="12" y="222"/>
                      </a:lnTo>
                      <a:lnTo>
                        <a:pt x="6" y="222"/>
                      </a:lnTo>
                      <a:lnTo>
                        <a:pt x="0" y="216"/>
                      </a:lnTo>
                      <a:lnTo>
                        <a:pt x="0" y="204"/>
                      </a:lnTo>
                      <a:lnTo>
                        <a:pt x="0" y="192"/>
                      </a:lnTo>
                      <a:lnTo>
                        <a:pt x="0" y="180"/>
                      </a:lnTo>
                      <a:lnTo>
                        <a:pt x="0" y="168"/>
                      </a:lnTo>
                      <a:lnTo>
                        <a:pt x="6" y="162"/>
                      </a:lnTo>
                      <a:lnTo>
                        <a:pt x="18" y="150"/>
                      </a:lnTo>
                      <a:lnTo>
                        <a:pt x="30" y="144"/>
                      </a:lnTo>
                      <a:lnTo>
                        <a:pt x="48" y="144"/>
                      </a:lnTo>
                      <a:lnTo>
                        <a:pt x="60" y="150"/>
                      </a:lnTo>
                      <a:lnTo>
                        <a:pt x="66" y="144"/>
                      </a:lnTo>
                      <a:lnTo>
                        <a:pt x="72" y="138"/>
                      </a:lnTo>
                      <a:lnTo>
                        <a:pt x="72" y="132"/>
                      </a:lnTo>
                      <a:lnTo>
                        <a:pt x="78" y="120"/>
                      </a:lnTo>
                      <a:lnTo>
                        <a:pt x="84" y="108"/>
                      </a:lnTo>
                      <a:lnTo>
                        <a:pt x="96" y="96"/>
                      </a:lnTo>
                      <a:lnTo>
                        <a:pt x="144" y="54"/>
                      </a:lnTo>
                      <a:lnTo>
                        <a:pt x="192" y="12"/>
                      </a:lnTo>
                      <a:lnTo>
                        <a:pt x="204" y="0"/>
                      </a:lnTo>
                      <a:lnTo>
                        <a:pt x="21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89" name="Freeform 49">
                  <a:extLst>
                    <a:ext uri="{FF2B5EF4-FFF2-40B4-BE49-F238E27FC236}">
                      <a16:creationId xmlns:a16="http://schemas.microsoft.com/office/drawing/2014/main" id="{8EF3890F-B9A5-4D28-A533-FBC480C30B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1" y="-3642"/>
                  <a:ext cx="294" cy="372"/>
                </a:xfrm>
                <a:custGeom>
                  <a:avLst/>
                  <a:gdLst>
                    <a:gd name="T0" fmla="*/ 210 w 294"/>
                    <a:gd name="T1" fmla="*/ 6 h 372"/>
                    <a:gd name="T2" fmla="*/ 228 w 294"/>
                    <a:gd name="T3" fmla="*/ 18 h 372"/>
                    <a:gd name="T4" fmla="*/ 246 w 294"/>
                    <a:gd name="T5" fmla="*/ 30 h 372"/>
                    <a:gd name="T6" fmla="*/ 258 w 294"/>
                    <a:gd name="T7" fmla="*/ 42 h 372"/>
                    <a:gd name="T8" fmla="*/ 282 w 294"/>
                    <a:gd name="T9" fmla="*/ 60 h 372"/>
                    <a:gd name="T10" fmla="*/ 294 w 294"/>
                    <a:gd name="T11" fmla="*/ 90 h 372"/>
                    <a:gd name="T12" fmla="*/ 282 w 294"/>
                    <a:gd name="T13" fmla="*/ 114 h 372"/>
                    <a:gd name="T14" fmla="*/ 264 w 294"/>
                    <a:gd name="T15" fmla="*/ 120 h 372"/>
                    <a:gd name="T16" fmla="*/ 246 w 294"/>
                    <a:gd name="T17" fmla="*/ 126 h 372"/>
                    <a:gd name="T18" fmla="*/ 234 w 294"/>
                    <a:gd name="T19" fmla="*/ 138 h 372"/>
                    <a:gd name="T20" fmla="*/ 222 w 294"/>
                    <a:gd name="T21" fmla="*/ 162 h 372"/>
                    <a:gd name="T22" fmla="*/ 198 w 294"/>
                    <a:gd name="T23" fmla="*/ 168 h 372"/>
                    <a:gd name="T24" fmla="*/ 174 w 294"/>
                    <a:gd name="T25" fmla="*/ 174 h 372"/>
                    <a:gd name="T26" fmla="*/ 174 w 294"/>
                    <a:gd name="T27" fmla="*/ 192 h 372"/>
                    <a:gd name="T28" fmla="*/ 186 w 294"/>
                    <a:gd name="T29" fmla="*/ 222 h 372"/>
                    <a:gd name="T30" fmla="*/ 198 w 294"/>
                    <a:gd name="T31" fmla="*/ 324 h 372"/>
                    <a:gd name="T32" fmla="*/ 132 w 294"/>
                    <a:gd name="T33" fmla="*/ 372 h 372"/>
                    <a:gd name="T34" fmla="*/ 42 w 294"/>
                    <a:gd name="T35" fmla="*/ 336 h 372"/>
                    <a:gd name="T36" fmla="*/ 42 w 294"/>
                    <a:gd name="T37" fmla="*/ 246 h 372"/>
                    <a:gd name="T38" fmla="*/ 54 w 294"/>
                    <a:gd name="T39" fmla="*/ 198 h 372"/>
                    <a:gd name="T40" fmla="*/ 42 w 294"/>
                    <a:gd name="T41" fmla="*/ 180 h 372"/>
                    <a:gd name="T42" fmla="*/ 24 w 294"/>
                    <a:gd name="T43" fmla="*/ 168 h 372"/>
                    <a:gd name="T44" fmla="*/ 6 w 294"/>
                    <a:gd name="T45" fmla="*/ 150 h 372"/>
                    <a:gd name="T46" fmla="*/ 0 w 294"/>
                    <a:gd name="T47" fmla="*/ 126 h 372"/>
                    <a:gd name="T48" fmla="*/ 12 w 294"/>
                    <a:gd name="T49" fmla="*/ 102 h 372"/>
                    <a:gd name="T50" fmla="*/ 36 w 294"/>
                    <a:gd name="T51" fmla="*/ 84 h 372"/>
                    <a:gd name="T52" fmla="*/ 66 w 294"/>
                    <a:gd name="T53" fmla="*/ 78 h 372"/>
                    <a:gd name="T54" fmla="*/ 78 w 294"/>
                    <a:gd name="T55" fmla="*/ 60 h 372"/>
                    <a:gd name="T56" fmla="*/ 90 w 294"/>
                    <a:gd name="T57" fmla="*/ 54 h 372"/>
                    <a:gd name="T58" fmla="*/ 114 w 294"/>
                    <a:gd name="T59" fmla="*/ 66 h 372"/>
                    <a:gd name="T60" fmla="*/ 138 w 294"/>
                    <a:gd name="T61" fmla="*/ 78 h 372"/>
                    <a:gd name="T62" fmla="*/ 156 w 294"/>
                    <a:gd name="T63" fmla="*/ 78 h 372"/>
                    <a:gd name="T64" fmla="*/ 162 w 294"/>
                    <a:gd name="T65" fmla="*/ 54 h 372"/>
                    <a:gd name="T66" fmla="*/ 162 w 294"/>
                    <a:gd name="T67" fmla="*/ 30 h 372"/>
                    <a:gd name="T68" fmla="*/ 168 w 294"/>
                    <a:gd name="T69" fmla="*/ 6 h 372"/>
                    <a:gd name="T70" fmla="*/ 186 w 294"/>
                    <a:gd name="T71" fmla="*/ 0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94" h="372">
                      <a:moveTo>
                        <a:pt x="186" y="0"/>
                      </a:moveTo>
                      <a:lnTo>
                        <a:pt x="210" y="6"/>
                      </a:lnTo>
                      <a:lnTo>
                        <a:pt x="222" y="6"/>
                      </a:lnTo>
                      <a:lnTo>
                        <a:pt x="228" y="18"/>
                      </a:lnTo>
                      <a:lnTo>
                        <a:pt x="240" y="24"/>
                      </a:lnTo>
                      <a:lnTo>
                        <a:pt x="246" y="30"/>
                      </a:lnTo>
                      <a:lnTo>
                        <a:pt x="252" y="36"/>
                      </a:lnTo>
                      <a:lnTo>
                        <a:pt x="258" y="42"/>
                      </a:lnTo>
                      <a:lnTo>
                        <a:pt x="270" y="48"/>
                      </a:lnTo>
                      <a:lnTo>
                        <a:pt x="282" y="60"/>
                      </a:lnTo>
                      <a:lnTo>
                        <a:pt x="288" y="72"/>
                      </a:lnTo>
                      <a:lnTo>
                        <a:pt x="294" y="90"/>
                      </a:lnTo>
                      <a:lnTo>
                        <a:pt x="288" y="102"/>
                      </a:lnTo>
                      <a:lnTo>
                        <a:pt x="282" y="114"/>
                      </a:lnTo>
                      <a:lnTo>
                        <a:pt x="270" y="120"/>
                      </a:lnTo>
                      <a:lnTo>
                        <a:pt x="264" y="120"/>
                      </a:lnTo>
                      <a:lnTo>
                        <a:pt x="252" y="120"/>
                      </a:lnTo>
                      <a:lnTo>
                        <a:pt x="246" y="126"/>
                      </a:lnTo>
                      <a:lnTo>
                        <a:pt x="240" y="126"/>
                      </a:lnTo>
                      <a:lnTo>
                        <a:pt x="234" y="138"/>
                      </a:lnTo>
                      <a:lnTo>
                        <a:pt x="228" y="150"/>
                      </a:lnTo>
                      <a:lnTo>
                        <a:pt x="222" y="162"/>
                      </a:lnTo>
                      <a:lnTo>
                        <a:pt x="210" y="168"/>
                      </a:lnTo>
                      <a:lnTo>
                        <a:pt x="198" y="168"/>
                      </a:lnTo>
                      <a:lnTo>
                        <a:pt x="186" y="174"/>
                      </a:lnTo>
                      <a:lnTo>
                        <a:pt x="174" y="174"/>
                      </a:lnTo>
                      <a:lnTo>
                        <a:pt x="174" y="186"/>
                      </a:lnTo>
                      <a:lnTo>
                        <a:pt x="174" y="192"/>
                      </a:lnTo>
                      <a:lnTo>
                        <a:pt x="180" y="204"/>
                      </a:lnTo>
                      <a:lnTo>
                        <a:pt x="186" y="222"/>
                      </a:lnTo>
                      <a:lnTo>
                        <a:pt x="198" y="276"/>
                      </a:lnTo>
                      <a:lnTo>
                        <a:pt x="198" y="324"/>
                      </a:lnTo>
                      <a:lnTo>
                        <a:pt x="198" y="324"/>
                      </a:lnTo>
                      <a:lnTo>
                        <a:pt x="132" y="372"/>
                      </a:lnTo>
                      <a:lnTo>
                        <a:pt x="48" y="348"/>
                      </a:lnTo>
                      <a:lnTo>
                        <a:pt x="42" y="336"/>
                      </a:lnTo>
                      <a:lnTo>
                        <a:pt x="36" y="294"/>
                      </a:lnTo>
                      <a:lnTo>
                        <a:pt x="42" y="246"/>
                      </a:lnTo>
                      <a:lnTo>
                        <a:pt x="54" y="210"/>
                      </a:lnTo>
                      <a:lnTo>
                        <a:pt x="54" y="198"/>
                      </a:lnTo>
                      <a:lnTo>
                        <a:pt x="48" y="192"/>
                      </a:lnTo>
                      <a:lnTo>
                        <a:pt x="42" y="180"/>
                      </a:lnTo>
                      <a:lnTo>
                        <a:pt x="30" y="174"/>
                      </a:lnTo>
                      <a:lnTo>
                        <a:pt x="24" y="168"/>
                      </a:lnTo>
                      <a:lnTo>
                        <a:pt x="12" y="162"/>
                      </a:lnTo>
                      <a:lnTo>
                        <a:pt x="6" y="150"/>
                      </a:lnTo>
                      <a:lnTo>
                        <a:pt x="0" y="138"/>
                      </a:lnTo>
                      <a:lnTo>
                        <a:pt x="0" y="126"/>
                      </a:lnTo>
                      <a:lnTo>
                        <a:pt x="6" y="114"/>
                      </a:lnTo>
                      <a:lnTo>
                        <a:pt x="12" y="102"/>
                      </a:lnTo>
                      <a:lnTo>
                        <a:pt x="24" y="90"/>
                      </a:lnTo>
                      <a:lnTo>
                        <a:pt x="36" y="84"/>
                      </a:lnTo>
                      <a:lnTo>
                        <a:pt x="54" y="84"/>
                      </a:lnTo>
                      <a:lnTo>
                        <a:pt x="66" y="78"/>
                      </a:lnTo>
                      <a:lnTo>
                        <a:pt x="72" y="72"/>
                      </a:lnTo>
                      <a:lnTo>
                        <a:pt x="78" y="60"/>
                      </a:lnTo>
                      <a:lnTo>
                        <a:pt x="84" y="54"/>
                      </a:lnTo>
                      <a:lnTo>
                        <a:pt x="90" y="54"/>
                      </a:lnTo>
                      <a:lnTo>
                        <a:pt x="102" y="60"/>
                      </a:lnTo>
                      <a:lnTo>
                        <a:pt x="114" y="66"/>
                      </a:lnTo>
                      <a:lnTo>
                        <a:pt x="126" y="72"/>
                      </a:lnTo>
                      <a:lnTo>
                        <a:pt x="138" y="78"/>
                      </a:lnTo>
                      <a:lnTo>
                        <a:pt x="150" y="78"/>
                      </a:lnTo>
                      <a:lnTo>
                        <a:pt x="156" y="78"/>
                      </a:lnTo>
                      <a:lnTo>
                        <a:pt x="156" y="66"/>
                      </a:lnTo>
                      <a:lnTo>
                        <a:pt x="162" y="54"/>
                      </a:lnTo>
                      <a:lnTo>
                        <a:pt x="162" y="42"/>
                      </a:lnTo>
                      <a:lnTo>
                        <a:pt x="162" y="30"/>
                      </a:lnTo>
                      <a:lnTo>
                        <a:pt x="162" y="18"/>
                      </a:lnTo>
                      <a:lnTo>
                        <a:pt x="168" y="6"/>
                      </a:lnTo>
                      <a:lnTo>
                        <a:pt x="174" y="0"/>
                      </a:lnTo>
                      <a:lnTo>
                        <a:pt x="18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0" name="Freeform 50">
                  <a:extLst>
                    <a:ext uri="{FF2B5EF4-FFF2-40B4-BE49-F238E27FC236}">
                      <a16:creationId xmlns:a16="http://schemas.microsoft.com/office/drawing/2014/main" id="{7E008664-B928-4B51-B932-1769AFE978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9" y="-6072"/>
                  <a:ext cx="96" cy="42"/>
                </a:xfrm>
                <a:custGeom>
                  <a:avLst/>
                  <a:gdLst>
                    <a:gd name="T0" fmla="*/ 54 w 96"/>
                    <a:gd name="T1" fmla="*/ 0 h 42"/>
                    <a:gd name="T2" fmla="*/ 78 w 96"/>
                    <a:gd name="T3" fmla="*/ 0 h 42"/>
                    <a:gd name="T4" fmla="*/ 90 w 96"/>
                    <a:gd name="T5" fmla="*/ 6 h 42"/>
                    <a:gd name="T6" fmla="*/ 96 w 96"/>
                    <a:gd name="T7" fmla="*/ 6 h 42"/>
                    <a:gd name="T8" fmla="*/ 96 w 96"/>
                    <a:gd name="T9" fmla="*/ 12 h 42"/>
                    <a:gd name="T10" fmla="*/ 90 w 96"/>
                    <a:gd name="T11" fmla="*/ 24 h 42"/>
                    <a:gd name="T12" fmla="*/ 84 w 96"/>
                    <a:gd name="T13" fmla="*/ 30 h 42"/>
                    <a:gd name="T14" fmla="*/ 72 w 96"/>
                    <a:gd name="T15" fmla="*/ 30 h 42"/>
                    <a:gd name="T16" fmla="*/ 60 w 96"/>
                    <a:gd name="T17" fmla="*/ 36 h 42"/>
                    <a:gd name="T18" fmla="*/ 42 w 96"/>
                    <a:gd name="T19" fmla="*/ 42 h 42"/>
                    <a:gd name="T20" fmla="*/ 30 w 96"/>
                    <a:gd name="T21" fmla="*/ 42 h 42"/>
                    <a:gd name="T22" fmla="*/ 12 w 96"/>
                    <a:gd name="T23" fmla="*/ 36 h 42"/>
                    <a:gd name="T24" fmla="*/ 6 w 96"/>
                    <a:gd name="T25" fmla="*/ 30 h 42"/>
                    <a:gd name="T26" fmla="*/ 0 w 96"/>
                    <a:gd name="T27" fmla="*/ 24 h 42"/>
                    <a:gd name="T28" fmla="*/ 6 w 96"/>
                    <a:gd name="T29" fmla="*/ 18 h 42"/>
                    <a:gd name="T30" fmla="*/ 12 w 96"/>
                    <a:gd name="T31" fmla="*/ 12 h 42"/>
                    <a:gd name="T32" fmla="*/ 24 w 96"/>
                    <a:gd name="T33" fmla="*/ 6 h 42"/>
                    <a:gd name="T34" fmla="*/ 36 w 96"/>
                    <a:gd name="T35" fmla="*/ 0 h 42"/>
                    <a:gd name="T36" fmla="*/ 54 w 96"/>
                    <a:gd name="T37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6" h="42">
                      <a:moveTo>
                        <a:pt x="54" y="0"/>
                      </a:moveTo>
                      <a:lnTo>
                        <a:pt x="78" y="0"/>
                      </a:lnTo>
                      <a:lnTo>
                        <a:pt x="90" y="6"/>
                      </a:lnTo>
                      <a:lnTo>
                        <a:pt x="96" y="6"/>
                      </a:lnTo>
                      <a:lnTo>
                        <a:pt x="96" y="12"/>
                      </a:lnTo>
                      <a:lnTo>
                        <a:pt x="90" y="24"/>
                      </a:lnTo>
                      <a:lnTo>
                        <a:pt x="84" y="30"/>
                      </a:lnTo>
                      <a:lnTo>
                        <a:pt x="72" y="30"/>
                      </a:lnTo>
                      <a:lnTo>
                        <a:pt x="60" y="36"/>
                      </a:lnTo>
                      <a:lnTo>
                        <a:pt x="42" y="42"/>
                      </a:lnTo>
                      <a:lnTo>
                        <a:pt x="30" y="42"/>
                      </a:lnTo>
                      <a:lnTo>
                        <a:pt x="12" y="36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6" y="18"/>
                      </a:lnTo>
                      <a:lnTo>
                        <a:pt x="12" y="12"/>
                      </a:lnTo>
                      <a:lnTo>
                        <a:pt x="24" y="6"/>
                      </a:lnTo>
                      <a:lnTo>
                        <a:pt x="36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1" name="Freeform 51">
                  <a:extLst>
                    <a:ext uri="{FF2B5EF4-FFF2-40B4-BE49-F238E27FC236}">
                      <a16:creationId xmlns:a16="http://schemas.microsoft.com/office/drawing/2014/main" id="{A63A970B-A18C-4C38-A349-173CC67CE3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95" y="-5832"/>
                  <a:ext cx="60" cy="66"/>
                </a:xfrm>
                <a:custGeom>
                  <a:avLst/>
                  <a:gdLst>
                    <a:gd name="T0" fmla="*/ 48 w 60"/>
                    <a:gd name="T1" fmla="*/ 0 h 66"/>
                    <a:gd name="T2" fmla="*/ 54 w 60"/>
                    <a:gd name="T3" fmla="*/ 6 h 66"/>
                    <a:gd name="T4" fmla="*/ 60 w 60"/>
                    <a:gd name="T5" fmla="*/ 18 h 66"/>
                    <a:gd name="T6" fmla="*/ 60 w 60"/>
                    <a:gd name="T7" fmla="*/ 30 h 66"/>
                    <a:gd name="T8" fmla="*/ 48 w 60"/>
                    <a:gd name="T9" fmla="*/ 48 h 66"/>
                    <a:gd name="T10" fmla="*/ 36 w 60"/>
                    <a:gd name="T11" fmla="*/ 60 h 66"/>
                    <a:gd name="T12" fmla="*/ 24 w 60"/>
                    <a:gd name="T13" fmla="*/ 66 h 66"/>
                    <a:gd name="T14" fmla="*/ 12 w 60"/>
                    <a:gd name="T15" fmla="*/ 60 h 66"/>
                    <a:gd name="T16" fmla="*/ 6 w 60"/>
                    <a:gd name="T17" fmla="*/ 54 h 66"/>
                    <a:gd name="T18" fmla="*/ 0 w 60"/>
                    <a:gd name="T19" fmla="*/ 42 h 66"/>
                    <a:gd name="T20" fmla="*/ 0 w 60"/>
                    <a:gd name="T21" fmla="*/ 30 h 66"/>
                    <a:gd name="T22" fmla="*/ 6 w 60"/>
                    <a:gd name="T23" fmla="*/ 18 h 66"/>
                    <a:gd name="T24" fmla="*/ 24 w 60"/>
                    <a:gd name="T25" fmla="*/ 6 h 66"/>
                    <a:gd name="T26" fmla="*/ 36 w 60"/>
                    <a:gd name="T27" fmla="*/ 0 h 66"/>
                    <a:gd name="T28" fmla="*/ 48 w 60"/>
                    <a:gd name="T29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0" h="66">
                      <a:moveTo>
                        <a:pt x="48" y="0"/>
                      </a:moveTo>
                      <a:lnTo>
                        <a:pt x="54" y="6"/>
                      </a:lnTo>
                      <a:lnTo>
                        <a:pt x="60" y="18"/>
                      </a:lnTo>
                      <a:lnTo>
                        <a:pt x="60" y="30"/>
                      </a:lnTo>
                      <a:lnTo>
                        <a:pt x="48" y="48"/>
                      </a:lnTo>
                      <a:lnTo>
                        <a:pt x="36" y="60"/>
                      </a:lnTo>
                      <a:lnTo>
                        <a:pt x="24" y="66"/>
                      </a:lnTo>
                      <a:lnTo>
                        <a:pt x="12" y="60"/>
                      </a:lnTo>
                      <a:lnTo>
                        <a:pt x="6" y="54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6" y="18"/>
                      </a:lnTo>
                      <a:lnTo>
                        <a:pt x="24" y="6"/>
                      </a:lnTo>
                      <a:lnTo>
                        <a:pt x="36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2" name="Freeform 52">
                  <a:extLst>
                    <a:ext uri="{FF2B5EF4-FFF2-40B4-BE49-F238E27FC236}">
                      <a16:creationId xmlns:a16="http://schemas.microsoft.com/office/drawing/2014/main" id="{C2AFB935-7857-45C5-8EE9-C0FB4BA20D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9" y="-5784"/>
                  <a:ext cx="72" cy="60"/>
                </a:xfrm>
                <a:custGeom>
                  <a:avLst/>
                  <a:gdLst>
                    <a:gd name="T0" fmla="*/ 60 w 72"/>
                    <a:gd name="T1" fmla="*/ 0 h 60"/>
                    <a:gd name="T2" fmla="*/ 66 w 72"/>
                    <a:gd name="T3" fmla="*/ 6 h 60"/>
                    <a:gd name="T4" fmla="*/ 72 w 72"/>
                    <a:gd name="T5" fmla="*/ 12 h 60"/>
                    <a:gd name="T6" fmla="*/ 72 w 72"/>
                    <a:gd name="T7" fmla="*/ 24 h 60"/>
                    <a:gd name="T8" fmla="*/ 66 w 72"/>
                    <a:gd name="T9" fmla="*/ 30 h 60"/>
                    <a:gd name="T10" fmla="*/ 54 w 72"/>
                    <a:gd name="T11" fmla="*/ 42 h 60"/>
                    <a:gd name="T12" fmla="*/ 36 w 72"/>
                    <a:gd name="T13" fmla="*/ 54 h 60"/>
                    <a:gd name="T14" fmla="*/ 18 w 72"/>
                    <a:gd name="T15" fmla="*/ 60 h 60"/>
                    <a:gd name="T16" fmla="*/ 12 w 72"/>
                    <a:gd name="T17" fmla="*/ 60 h 60"/>
                    <a:gd name="T18" fmla="*/ 0 w 72"/>
                    <a:gd name="T19" fmla="*/ 60 h 60"/>
                    <a:gd name="T20" fmla="*/ 0 w 72"/>
                    <a:gd name="T21" fmla="*/ 54 h 60"/>
                    <a:gd name="T22" fmla="*/ 0 w 72"/>
                    <a:gd name="T23" fmla="*/ 48 h 60"/>
                    <a:gd name="T24" fmla="*/ 0 w 72"/>
                    <a:gd name="T25" fmla="*/ 36 h 60"/>
                    <a:gd name="T26" fmla="*/ 6 w 72"/>
                    <a:gd name="T27" fmla="*/ 30 h 60"/>
                    <a:gd name="T28" fmla="*/ 12 w 72"/>
                    <a:gd name="T29" fmla="*/ 24 h 60"/>
                    <a:gd name="T30" fmla="*/ 18 w 72"/>
                    <a:gd name="T31" fmla="*/ 12 h 60"/>
                    <a:gd name="T32" fmla="*/ 24 w 72"/>
                    <a:gd name="T33" fmla="*/ 12 h 60"/>
                    <a:gd name="T34" fmla="*/ 42 w 72"/>
                    <a:gd name="T35" fmla="*/ 6 h 60"/>
                    <a:gd name="T36" fmla="*/ 60 w 72"/>
                    <a:gd name="T37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2" h="60">
                      <a:moveTo>
                        <a:pt x="60" y="0"/>
                      </a:moveTo>
                      <a:lnTo>
                        <a:pt x="66" y="6"/>
                      </a:lnTo>
                      <a:lnTo>
                        <a:pt x="72" y="12"/>
                      </a:lnTo>
                      <a:lnTo>
                        <a:pt x="72" y="24"/>
                      </a:lnTo>
                      <a:lnTo>
                        <a:pt x="66" y="30"/>
                      </a:lnTo>
                      <a:lnTo>
                        <a:pt x="54" y="42"/>
                      </a:lnTo>
                      <a:lnTo>
                        <a:pt x="36" y="54"/>
                      </a:lnTo>
                      <a:lnTo>
                        <a:pt x="18" y="60"/>
                      </a:lnTo>
                      <a:lnTo>
                        <a:pt x="12" y="60"/>
                      </a:lnTo>
                      <a:lnTo>
                        <a:pt x="0" y="60"/>
                      </a:lnTo>
                      <a:lnTo>
                        <a:pt x="0" y="54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6" y="30"/>
                      </a:lnTo>
                      <a:lnTo>
                        <a:pt x="12" y="24"/>
                      </a:lnTo>
                      <a:lnTo>
                        <a:pt x="18" y="12"/>
                      </a:lnTo>
                      <a:lnTo>
                        <a:pt x="24" y="12"/>
                      </a:lnTo>
                      <a:lnTo>
                        <a:pt x="42" y="6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3" name="Freeform 53">
                  <a:extLst>
                    <a:ext uri="{FF2B5EF4-FFF2-40B4-BE49-F238E27FC236}">
                      <a16:creationId xmlns:a16="http://schemas.microsoft.com/office/drawing/2014/main" id="{BC95FF0E-BA4D-44CA-B23C-873AAB11D1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9" y="-5700"/>
                  <a:ext cx="132" cy="138"/>
                </a:xfrm>
                <a:custGeom>
                  <a:avLst/>
                  <a:gdLst>
                    <a:gd name="T0" fmla="*/ 114 w 132"/>
                    <a:gd name="T1" fmla="*/ 0 h 138"/>
                    <a:gd name="T2" fmla="*/ 126 w 132"/>
                    <a:gd name="T3" fmla="*/ 6 h 138"/>
                    <a:gd name="T4" fmla="*/ 126 w 132"/>
                    <a:gd name="T5" fmla="*/ 12 h 138"/>
                    <a:gd name="T6" fmla="*/ 132 w 132"/>
                    <a:gd name="T7" fmla="*/ 24 h 138"/>
                    <a:gd name="T8" fmla="*/ 126 w 132"/>
                    <a:gd name="T9" fmla="*/ 36 h 138"/>
                    <a:gd name="T10" fmla="*/ 114 w 132"/>
                    <a:gd name="T11" fmla="*/ 48 h 138"/>
                    <a:gd name="T12" fmla="*/ 96 w 132"/>
                    <a:gd name="T13" fmla="*/ 60 h 138"/>
                    <a:gd name="T14" fmla="*/ 78 w 132"/>
                    <a:gd name="T15" fmla="*/ 72 h 138"/>
                    <a:gd name="T16" fmla="*/ 72 w 132"/>
                    <a:gd name="T17" fmla="*/ 84 h 138"/>
                    <a:gd name="T18" fmla="*/ 66 w 132"/>
                    <a:gd name="T19" fmla="*/ 96 h 138"/>
                    <a:gd name="T20" fmla="*/ 66 w 132"/>
                    <a:gd name="T21" fmla="*/ 102 h 138"/>
                    <a:gd name="T22" fmla="*/ 66 w 132"/>
                    <a:gd name="T23" fmla="*/ 108 h 138"/>
                    <a:gd name="T24" fmla="*/ 60 w 132"/>
                    <a:gd name="T25" fmla="*/ 120 h 138"/>
                    <a:gd name="T26" fmla="*/ 54 w 132"/>
                    <a:gd name="T27" fmla="*/ 126 h 138"/>
                    <a:gd name="T28" fmla="*/ 48 w 132"/>
                    <a:gd name="T29" fmla="*/ 132 h 138"/>
                    <a:gd name="T30" fmla="*/ 30 w 132"/>
                    <a:gd name="T31" fmla="*/ 138 h 138"/>
                    <a:gd name="T32" fmla="*/ 18 w 132"/>
                    <a:gd name="T33" fmla="*/ 132 h 138"/>
                    <a:gd name="T34" fmla="*/ 6 w 132"/>
                    <a:gd name="T35" fmla="*/ 132 h 138"/>
                    <a:gd name="T36" fmla="*/ 0 w 132"/>
                    <a:gd name="T37" fmla="*/ 126 h 138"/>
                    <a:gd name="T38" fmla="*/ 0 w 132"/>
                    <a:gd name="T39" fmla="*/ 114 h 138"/>
                    <a:gd name="T40" fmla="*/ 0 w 132"/>
                    <a:gd name="T41" fmla="*/ 102 h 138"/>
                    <a:gd name="T42" fmla="*/ 12 w 132"/>
                    <a:gd name="T43" fmla="*/ 90 h 138"/>
                    <a:gd name="T44" fmla="*/ 18 w 132"/>
                    <a:gd name="T45" fmla="*/ 72 h 138"/>
                    <a:gd name="T46" fmla="*/ 24 w 132"/>
                    <a:gd name="T47" fmla="*/ 54 h 138"/>
                    <a:gd name="T48" fmla="*/ 30 w 132"/>
                    <a:gd name="T49" fmla="*/ 42 h 138"/>
                    <a:gd name="T50" fmla="*/ 48 w 132"/>
                    <a:gd name="T51" fmla="*/ 30 h 138"/>
                    <a:gd name="T52" fmla="*/ 72 w 132"/>
                    <a:gd name="T53" fmla="*/ 12 h 138"/>
                    <a:gd name="T54" fmla="*/ 102 w 132"/>
                    <a:gd name="T55" fmla="*/ 0 h 138"/>
                    <a:gd name="T56" fmla="*/ 114 w 132"/>
                    <a:gd name="T57" fmla="*/ 0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32" h="138">
                      <a:moveTo>
                        <a:pt x="114" y="0"/>
                      </a:moveTo>
                      <a:lnTo>
                        <a:pt x="126" y="6"/>
                      </a:lnTo>
                      <a:lnTo>
                        <a:pt x="126" y="12"/>
                      </a:lnTo>
                      <a:lnTo>
                        <a:pt x="132" y="24"/>
                      </a:lnTo>
                      <a:lnTo>
                        <a:pt x="126" y="36"/>
                      </a:lnTo>
                      <a:lnTo>
                        <a:pt x="114" y="48"/>
                      </a:lnTo>
                      <a:lnTo>
                        <a:pt x="96" y="60"/>
                      </a:lnTo>
                      <a:lnTo>
                        <a:pt x="78" y="72"/>
                      </a:lnTo>
                      <a:lnTo>
                        <a:pt x="72" y="84"/>
                      </a:lnTo>
                      <a:lnTo>
                        <a:pt x="66" y="96"/>
                      </a:lnTo>
                      <a:lnTo>
                        <a:pt x="66" y="102"/>
                      </a:lnTo>
                      <a:lnTo>
                        <a:pt x="66" y="108"/>
                      </a:lnTo>
                      <a:lnTo>
                        <a:pt x="60" y="120"/>
                      </a:lnTo>
                      <a:lnTo>
                        <a:pt x="54" y="126"/>
                      </a:lnTo>
                      <a:lnTo>
                        <a:pt x="48" y="132"/>
                      </a:lnTo>
                      <a:lnTo>
                        <a:pt x="30" y="138"/>
                      </a:lnTo>
                      <a:lnTo>
                        <a:pt x="18" y="132"/>
                      </a:lnTo>
                      <a:lnTo>
                        <a:pt x="6" y="132"/>
                      </a:lnTo>
                      <a:lnTo>
                        <a:pt x="0" y="126"/>
                      </a:lnTo>
                      <a:lnTo>
                        <a:pt x="0" y="114"/>
                      </a:lnTo>
                      <a:lnTo>
                        <a:pt x="0" y="102"/>
                      </a:lnTo>
                      <a:lnTo>
                        <a:pt x="12" y="90"/>
                      </a:lnTo>
                      <a:lnTo>
                        <a:pt x="18" y="72"/>
                      </a:lnTo>
                      <a:lnTo>
                        <a:pt x="24" y="54"/>
                      </a:lnTo>
                      <a:lnTo>
                        <a:pt x="30" y="42"/>
                      </a:lnTo>
                      <a:lnTo>
                        <a:pt x="48" y="30"/>
                      </a:lnTo>
                      <a:lnTo>
                        <a:pt x="72" y="12"/>
                      </a:lnTo>
                      <a:lnTo>
                        <a:pt x="102" y="0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4" name="Freeform 54">
                  <a:extLst>
                    <a:ext uri="{FF2B5EF4-FFF2-40B4-BE49-F238E27FC236}">
                      <a16:creationId xmlns:a16="http://schemas.microsoft.com/office/drawing/2014/main" id="{52512E9D-425B-4271-82FF-652AC76116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3" y="-5556"/>
                  <a:ext cx="60" cy="72"/>
                </a:xfrm>
                <a:custGeom>
                  <a:avLst/>
                  <a:gdLst>
                    <a:gd name="T0" fmla="*/ 48 w 60"/>
                    <a:gd name="T1" fmla="*/ 0 h 72"/>
                    <a:gd name="T2" fmla="*/ 54 w 60"/>
                    <a:gd name="T3" fmla="*/ 6 h 72"/>
                    <a:gd name="T4" fmla="*/ 60 w 60"/>
                    <a:gd name="T5" fmla="*/ 12 h 72"/>
                    <a:gd name="T6" fmla="*/ 60 w 60"/>
                    <a:gd name="T7" fmla="*/ 18 h 72"/>
                    <a:gd name="T8" fmla="*/ 60 w 60"/>
                    <a:gd name="T9" fmla="*/ 24 h 72"/>
                    <a:gd name="T10" fmla="*/ 60 w 60"/>
                    <a:gd name="T11" fmla="*/ 30 h 72"/>
                    <a:gd name="T12" fmla="*/ 60 w 60"/>
                    <a:gd name="T13" fmla="*/ 36 h 72"/>
                    <a:gd name="T14" fmla="*/ 48 w 60"/>
                    <a:gd name="T15" fmla="*/ 42 h 72"/>
                    <a:gd name="T16" fmla="*/ 42 w 60"/>
                    <a:gd name="T17" fmla="*/ 48 h 72"/>
                    <a:gd name="T18" fmla="*/ 30 w 60"/>
                    <a:gd name="T19" fmla="*/ 54 h 72"/>
                    <a:gd name="T20" fmla="*/ 18 w 60"/>
                    <a:gd name="T21" fmla="*/ 60 h 72"/>
                    <a:gd name="T22" fmla="*/ 12 w 60"/>
                    <a:gd name="T23" fmla="*/ 66 h 72"/>
                    <a:gd name="T24" fmla="*/ 0 w 60"/>
                    <a:gd name="T25" fmla="*/ 72 h 72"/>
                    <a:gd name="T26" fmla="*/ 0 w 60"/>
                    <a:gd name="T27" fmla="*/ 72 h 72"/>
                    <a:gd name="T28" fmla="*/ 0 w 60"/>
                    <a:gd name="T29" fmla="*/ 60 h 72"/>
                    <a:gd name="T30" fmla="*/ 0 w 60"/>
                    <a:gd name="T31" fmla="*/ 48 h 72"/>
                    <a:gd name="T32" fmla="*/ 6 w 60"/>
                    <a:gd name="T33" fmla="*/ 30 h 72"/>
                    <a:gd name="T34" fmla="*/ 12 w 60"/>
                    <a:gd name="T35" fmla="*/ 24 h 72"/>
                    <a:gd name="T36" fmla="*/ 24 w 60"/>
                    <a:gd name="T37" fmla="*/ 12 h 72"/>
                    <a:gd name="T38" fmla="*/ 36 w 60"/>
                    <a:gd name="T39" fmla="*/ 0 h 72"/>
                    <a:gd name="T40" fmla="*/ 48 w 60"/>
                    <a:gd name="T41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0" h="72">
                      <a:moveTo>
                        <a:pt x="48" y="0"/>
                      </a:moveTo>
                      <a:lnTo>
                        <a:pt x="54" y="6"/>
                      </a:lnTo>
                      <a:lnTo>
                        <a:pt x="60" y="12"/>
                      </a:lnTo>
                      <a:lnTo>
                        <a:pt x="60" y="18"/>
                      </a:lnTo>
                      <a:lnTo>
                        <a:pt x="60" y="24"/>
                      </a:lnTo>
                      <a:lnTo>
                        <a:pt x="60" y="30"/>
                      </a:lnTo>
                      <a:lnTo>
                        <a:pt x="60" y="36"/>
                      </a:lnTo>
                      <a:lnTo>
                        <a:pt x="48" y="42"/>
                      </a:lnTo>
                      <a:lnTo>
                        <a:pt x="42" y="48"/>
                      </a:lnTo>
                      <a:lnTo>
                        <a:pt x="30" y="54"/>
                      </a:lnTo>
                      <a:lnTo>
                        <a:pt x="18" y="60"/>
                      </a:lnTo>
                      <a:lnTo>
                        <a:pt x="12" y="66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60"/>
                      </a:lnTo>
                      <a:lnTo>
                        <a:pt x="0" y="48"/>
                      </a:lnTo>
                      <a:lnTo>
                        <a:pt x="6" y="30"/>
                      </a:lnTo>
                      <a:lnTo>
                        <a:pt x="12" y="24"/>
                      </a:lnTo>
                      <a:lnTo>
                        <a:pt x="24" y="12"/>
                      </a:lnTo>
                      <a:lnTo>
                        <a:pt x="36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5" name="Freeform 55">
                  <a:extLst>
                    <a:ext uri="{FF2B5EF4-FFF2-40B4-BE49-F238E27FC236}">
                      <a16:creationId xmlns:a16="http://schemas.microsoft.com/office/drawing/2014/main" id="{BD3CC24B-1DEE-40B0-AFC8-A8173F46EA4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9" y="-3132"/>
                  <a:ext cx="366" cy="462"/>
                </a:xfrm>
                <a:custGeom>
                  <a:avLst/>
                  <a:gdLst>
                    <a:gd name="T0" fmla="*/ 306 w 366"/>
                    <a:gd name="T1" fmla="*/ 462 h 462"/>
                    <a:gd name="T2" fmla="*/ 306 w 366"/>
                    <a:gd name="T3" fmla="*/ 456 h 462"/>
                    <a:gd name="T4" fmla="*/ 366 w 366"/>
                    <a:gd name="T5" fmla="*/ 90 h 462"/>
                    <a:gd name="T6" fmla="*/ 318 w 366"/>
                    <a:gd name="T7" fmla="*/ 240 h 462"/>
                    <a:gd name="T8" fmla="*/ 294 w 366"/>
                    <a:gd name="T9" fmla="*/ 378 h 462"/>
                    <a:gd name="T10" fmla="*/ 306 w 366"/>
                    <a:gd name="T11" fmla="*/ 456 h 462"/>
                    <a:gd name="T12" fmla="*/ 222 w 366"/>
                    <a:gd name="T13" fmla="*/ 342 h 462"/>
                    <a:gd name="T14" fmla="*/ 114 w 366"/>
                    <a:gd name="T15" fmla="*/ 342 h 462"/>
                    <a:gd name="T16" fmla="*/ 42 w 366"/>
                    <a:gd name="T17" fmla="*/ 354 h 462"/>
                    <a:gd name="T18" fmla="*/ 6 w 366"/>
                    <a:gd name="T19" fmla="*/ 306 h 462"/>
                    <a:gd name="T20" fmla="*/ 18 w 366"/>
                    <a:gd name="T21" fmla="*/ 288 h 462"/>
                    <a:gd name="T22" fmla="*/ 42 w 366"/>
                    <a:gd name="T23" fmla="*/ 252 h 462"/>
                    <a:gd name="T24" fmla="*/ 72 w 366"/>
                    <a:gd name="T25" fmla="*/ 222 h 462"/>
                    <a:gd name="T26" fmla="*/ 84 w 366"/>
                    <a:gd name="T27" fmla="*/ 198 h 462"/>
                    <a:gd name="T28" fmla="*/ 90 w 366"/>
                    <a:gd name="T29" fmla="*/ 174 h 462"/>
                    <a:gd name="T30" fmla="*/ 102 w 366"/>
                    <a:gd name="T31" fmla="*/ 138 h 462"/>
                    <a:gd name="T32" fmla="*/ 114 w 366"/>
                    <a:gd name="T33" fmla="*/ 126 h 462"/>
                    <a:gd name="T34" fmla="*/ 126 w 366"/>
                    <a:gd name="T35" fmla="*/ 138 h 462"/>
                    <a:gd name="T36" fmla="*/ 132 w 366"/>
                    <a:gd name="T37" fmla="*/ 168 h 462"/>
                    <a:gd name="T38" fmla="*/ 144 w 366"/>
                    <a:gd name="T39" fmla="*/ 186 h 462"/>
                    <a:gd name="T40" fmla="*/ 174 w 366"/>
                    <a:gd name="T41" fmla="*/ 198 h 462"/>
                    <a:gd name="T42" fmla="*/ 192 w 366"/>
                    <a:gd name="T43" fmla="*/ 186 h 462"/>
                    <a:gd name="T44" fmla="*/ 210 w 366"/>
                    <a:gd name="T45" fmla="*/ 156 h 462"/>
                    <a:gd name="T46" fmla="*/ 192 w 366"/>
                    <a:gd name="T47" fmla="*/ 132 h 462"/>
                    <a:gd name="T48" fmla="*/ 180 w 366"/>
                    <a:gd name="T49" fmla="*/ 108 h 462"/>
                    <a:gd name="T50" fmla="*/ 186 w 366"/>
                    <a:gd name="T51" fmla="*/ 84 h 462"/>
                    <a:gd name="T52" fmla="*/ 198 w 366"/>
                    <a:gd name="T53" fmla="*/ 66 h 462"/>
                    <a:gd name="T54" fmla="*/ 228 w 366"/>
                    <a:gd name="T55" fmla="*/ 54 h 462"/>
                    <a:gd name="T56" fmla="*/ 252 w 366"/>
                    <a:gd name="T57" fmla="*/ 36 h 462"/>
                    <a:gd name="T58" fmla="*/ 264 w 366"/>
                    <a:gd name="T59" fmla="*/ 30 h 462"/>
                    <a:gd name="T60" fmla="*/ 276 w 366"/>
                    <a:gd name="T61" fmla="*/ 30 h 462"/>
                    <a:gd name="T62" fmla="*/ 288 w 366"/>
                    <a:gd name="T63" fmla="*/ 36 h 462"/>
                    <a:gd name="T64" fmla="*/ 330 w 366"/>
                    <a:gd name="T65" fmla="*/ 36 h 462"/>
                    <a:gd name="T66" fmla="*/ 354 w 366"/>
                    <a:gd name="T67" fmla="*/ 30 h 462"/>
                    <a:gd name="T68" fmla="*/ 360 w 366"/>
                    <a:gd name="T69" fmla="*/ 12 h 462"/>
                    <a:gd name="T70" fmla="*/ 366 w 366"/>
                    <a:gd name="T71" fmla="*/ 0 h 462"/>
                    <a:gd name="T72" fmla="*/ 366 w 366"/>
                    <a:gd name="T73" fmla="*/ 12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66" h="462">
                      <a:moveTo>
                        <a:pt x="306" y="456"/>
                      </a:moveTo>
                      <a:lnTo>
                        <a:pt x="306" y="462"/>
                      </a:lnTo>
                      <a:lnTo>
                        <a:pt x="306" y="462"/>
                      </a:lnTo>
                      <a:lnTo>
                        <a:pt x="306" y="456"/>
                      </a:lnTo>
                      <a:close/>
                      <a:moveTo>
                        <a:pt x="366" y="12"/>
                      </a:moveTo>
                      <a:lnTo>
                        <a:pt x="366" y="90"/>
                      </a:lnTo>
                      <a:lnTo>
                        <a:pt x="360" y="180"/>
                      </a:lnTo>
                      <a:lnTo>
                        <a:pt x="318" y="240"/>
                      </a:lnTo>
                      <a:lnTo>
                        <a:pt x="276" y="294"/>
                      </a:lnTo>
                      <a:lnTo>
                        <a:pt x="294" y="378"/>
                      </a:lnTo>
                      <a:lnTo>
                        <a:pt x="294" y="426"/>
                      </a:lnTo>
                      <a:lnTo>
                        <a:pt x="306" y="456"/>
                      </a:lnTo>
                      <a:lnTo>
                        <a:pt x="240" y="384"/>
                      </a:lnTo>
                      <a:lnTo>
                        <a:pt x="222" y="342"/>
                      </a:lnTo>
                      <a:lnTo>
                        <a:pt x="168" y="330"/>
                      </a:lnTo>
                      <a:lnTo>
                        <a:pt x="114" y="342"/>
                      </a:lnTo>
                      <a:lnTo>
                        <a:pt x="84" y="366"/>
                      </a:lnTo>
                      <a:lnTo>
                        <a:pt x="42" y="354"/>
                      </a:lnTo>
                      <a:lnTo>
                        <a:pt x="0" y="312"/>
                      </a:lnTo>
                      <a:lnTo>
                        <a:pt x="6" y="306"/>
                      </a:lnTo>
                      <a:lnTo>
                        <a:pt x="12" y="300"/>
                      </a:lnTo>
                      <a:lnTo>
                        <a:pt x="18" y="288"/>
                      </a:lnTo>
                      <a:lnTo>
                        <a:pt x="30" y="276"/>
                      </a:lnTo>
                      <a:lnTo>
                        <a:pt x="42" y="252"/>
                      </a:lnTo>
                      <a:lnTo>
                        <a:pt x="54" y="234"/>
                      </a:lnTo>
                      <a:lnTo>
                        <a:pt x="72" y="222"/>
                      </a:lnTo>
                      <a:lnTo>
                        <a:pt x="78" y="204"/>
                      </a:lnTo>
                      <a:lnTo>
                        <a:pt x="84" y="198"/>
                      </a:lnTo>
                      <a:lnTo>
                        <a:pt x="90" y="186"/>
                      </a:lnTo>
                      <a:lnTo>
                        <a:pt x="90" y="174"/>
                      </a:lnTo>
                      <a:lnTo>
                        <a:pt x="96" y="156"/>
                      </a:lnTo>
                      <a:lnTo>
                        <a:pt x="102" y="138"/>
                      </a:lnTo>
                      <a:lnTo>
                        <a:pt x="108" y="126"/>
                      </a:lnTo>
                      <a:lnTo>
                        <a:pt x="114" y="126"/>
                      </a:lnTo>
                      <a:lnTo>
                        <a:pt x="120" y="132"/>
                      </a:lnTo>
                      <a:lnTo>
                        <a:pt x="126" y="138"/>
                      </a:lnTo>
                      <a:lnTo>
                        <a:pt x="132" y="156"/>
                      </a:lnTo>
                      <a:lnTo>
                        <a:pt x="132" y="168"/>
                      </a:lnTo>
                      <a:lnTo>
                        <a:pt x="138" y="180"/>
                      </a:lnTo>
                      <a:lnTo>
                        <a:pt x="144" y="186"/>
                      </a:lnTo>
                      <a:lnTo>
                        <a:pt x="156" y="192"/>
                      </a:lnTo>
                      <a:lnTo>
                        <a:pt x="174" y="198"/>
                      </a:lnTo>
                      <a:lnTo>
                        <a:pt x="186" y="198"/>
                      </a:lnTo>
                      <a:lnTo>
                        <a:pt x="192" y="186"/>
                      </a:lnTo>
                      <a:lnTo>
                        <a:pt x="204" y="174"/>
                      </a:lnTo>
                      <a:lnTo>
                        <a:pt x="210" y="156"/>
                      </a:lnTo>
                      <a:lnTo>
                        <a:pt x="198" y="138"/>
                      </a:lnTo>
                      <a:lnTo>
                        <a:pt x="192" y="132"/>
                      </a:lnTo>
                      <a:lnTo>
                        <a:pt x="186" y="120"/>
                      </a:lnTo>
                      <a:lnTo>
                        <a:pt x="180" y="108"/>
                      </a:lnTo>
                      <a:lnTo>
                        <a:pt x="180" y="96"/>
                      </a:lnTo>
                      <a:lnTo>
                        <a:pt x="186" y="84"/>
                      </a:lnTo>
                      <a:lnTo>
                        <a:pt x="192" y="72"/>
                      </a:lnTo>
                      <a:lnTo>
                        <a:pt x="198" y="66"/>
                      </a:lnTo>
                      <a:lnTo>
                        <a:pt x="210" y="60"/>
                      </a:lnTo>
                      <a:lnTo>
                        <a:pt x="228" y="54"/>
                      </a:lnTo>
                      <a:lnTo>
                        <a:pt x="240" y="48"/>
                      </a:lnTo>
                      <a:lnTo>
                        <a:pt x="252" y="36"/>
                      </a:lnTo>
                      <a:lnTo>
                        <a:pt x="258" y="30"/>
                      </a:lnTo>
                      <a:lnTo>
                        <a:pt x="264" y="30"/>
                      </a:lnTo>
                      <a:lnTo>
                        <a:pt x="270" y="30"/>
                      </a:lnTo>
                      <a:lnTo>
                        <a:pt x="276" y="30"/>
                      </a:lnTo>
                      <a:lnTo>
                        <a:pt x="282" y="30"/>
                      </a:lnTo>
                      <a:lnTo>
                        <a:pt x="288" y="36"/>
                      </a:lnTo>
                      <a:lnTo>
                        <a:pt x="306" y="36"/>
                      </a:lnTo>
                      <a:lnTo>
                        <a:pt x="330" y="36"/>
                      </a:lnTo>
                      <a:lnTo>
                        <a:pt x="342" y="36"/>
                      </a:lnTo>
                      <a:lnTo>
                        <a:pt x="354" y="30"/>
                      </a:lnTo>
                      <a:lnTo>
                        <a:pt x="360" y="18"/>
                      </a:lnTo>
                      <a:lnTo>
                        <a:pt x="360" y="12"/>
                      </a:lnTo>
                      <a:lnTo>
                        <a:pt x="366" y="12"/>
                      </a:lnTo>
                      <a:close/>
                      <a:moveTo>
                        <a:pt x="366" y="0"/>
                      </a:moveTo>
                      <a:lnTo>
                        <a:pt x="366" y="0"/>
                      </a:lnTo>
                      <a:lnTo>
                        <a:pt x="366" y="12"/>
                      </a:lnTo>
                      <a:lnTo>
                        <a:pt x="36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6" name="Freeform 56">
                  <a:extLst>
                    <a:ext uri="{FF2B5EF4-FFF2-40B4-BE49-F238E27FC236}">
                      <a16:creationId xmlns:a16="http://schemas.microsoft.com/office/drawing/2014/main" id="{9B6CAF34-8319-4FEB-A82A-FB11B0AE293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9" y="-2820"/>
                  <a:ext cx="378" cy="270"/>
                </a:xfrm>
                <a:custGeom>
                  <a:avLst/>
                  <a:gdLst>
                    <a:gd name="T0" fmla="*/ 378 w 378"/>
                    <a:gd name="T1" fmla="*/ 180 h 270"/>
                    <a:gd name="T2" fmla="*/ 378 w 378"/>
                    <a:gd name="T3" fmla="*/ 186 h 270"/>
                    <a:gd name="T4" fmla="*/ 378 w 378"/>
                    <a:gd name="T5" fmla="*/ 186 h 270"/>
                    <a:gd name="T6" fmla="*/ 378 w 378"/>
                    <a:gd name="T7" fmla="*/ 180 h 270"/>
                    <a:gd name="T8" fmla="*/ 60 w 378"/>
                    <a:gd name="T9" fmla="*/ 0 h 270"/>
                    <a:gd name="T10" fmla="*/ 102 w 378"/>
                    <a:gd name="T11" fmla="*/ 42 h 270"/>
                    <a:gd name="T12" fmla="*/ 144 w 378"/>
                    <a:gd name="T13" fmla="*/ 54 h 270"/>
                    <a:gd name="T14" fmla="*/ 174 w 378"/>
                    <a:gd name="T15" fmla="*/ 30 h 270"/>
                    <a:gd name="T16" fmla="*/ 228 w 378"/>
                    <a:gd name="T17" fmla="*/ 18 h 270"/>
                    <a:gd name="T18" fmla="*/ 282 w 378"/>
                    <a:gd name="T19" fmla="*/ 30 h 270"/>
                    <a:gd name="T20" fmla="*/ 300 w 378"/>
                    <a:gd name="T21" fmla="*/ 72 h 270"/>
                    <a:gd name="T22" fmla="*/ 366 w 378"/>
                    <a:gd name="T23" fmla="*/ 150 h 270"/>
                    <a:gd name="T24" fmla="*/ 366 w 378"/>
                    <a:gd name="T25" fmla="*/ 150 h 270"/>
                    <a:gd name="T26" fmla="*/ 378 w 378"/>
                    <a:gd name="T27" fmla="*/ 186 h 270"/>
                    <a:gd name="T28" fmla="*/ 312 w 378"/>
                    <a:gd name="T29" fmla="*/ 228 h 270"/>
                    <a:gd name="T30" fmla="*/ 288 w 378"/>
                    <a:gd name="T31" fmla="*/ 270 h 270"/>
                    <a:gd name="T32" fmla="*/ 234 w 378"/>
                    <a:gd name="T33" fmla="*/ 246 h 270"/>
                    <a:gd name="T34" fmla="*/ 210 w 378"/>
                    <a:gd name="T35" fmla="*/ 210 h 270"/>
                    <a:gd name="T36" fmla="*/ 156 w 378"/>
                    <a:gd name="T37" fmla="*/ 180 h 270"/>
                    <a:gd name="T38" fmla="*/ 96 w 378"/>
                    <a:gd name="T39" fmla="*/ 168 h 270"/>
                    <a:gd name="T40" fmla="*/ 66 w 378"/>
                    <a:gd name="T41" fmla="*/ 120 h 270"/>
                    <a:gd name="T42" fmla="*/ 48 w 378"/>
                    <a:gd name="T43" fmla="*/ 90 h 270"/>
                    <a:gd name="T44" fmla="*/ 0 w 378"/>
                    <a:gd name="T45" fmla="*/ 54 h 270"/>
                    <a:gd name="T46" fmla="*/ 6 w 378"/>
                    <a:gd name="T47" fmla="*/ 48 h 270"/>
                    <a:gd name="T48" fmla="*/ 24 w 378"/>
                    <a:gd name="T49" fmla="*/ 30 h 270"/>
                    <a:gd name="T50" fmla="*/ 42 w 378"/>
                    <a:gd name="T51" fmla="*/ 18 h 270"/>
                    <a:gd name="T52" fmla="*/ 48 w 378"/>
                    <a:gd name="T53" fmla="*/ 12 h 270"/>
                    <a:gd name="T54" fmla="*/ 60 w 378"/>
                    <a:gd name="T55" fmla="*/ 0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78" h="270">
                      <a:moveTo>
                        <a:pt x="378" y="180"/>
                      </a:moveTo>
                      <a:lnTo>
                        <a:pt x="378" y="186"/>
                      </a:lnTo>
                      <a:lnTo>
                        <a:pt x="378" y="186"/>
                      </a:lnTo>
                      <a:lnTo>
                        <a:pt x="378" y="180"/>
                      </a:lnTo>
                      <a:close/>
                      <a:moveTo>
                        <a:pt x="60" y="0"/>
                      </a:moveTo>
                      <a:lnTo>
                        <a:pt x="102" y="42"/>
                      </a:lnTo>
                      <a:lnTo>
                        <a:pt x="144" y="54"/>
                      </a:lnTo>
                      <a:lnTo>
                        <a:pt x="174" y="30"/>
                      </a:lnTo>
                      <a:lnTo>
                        <a:pt x="228" y="18"/>
                      </a:lnTo>
                      <a:lnTo>
                        <a:pt x="282" y="30"/>
                      </a:lnTo>
                      <a:lnTo>
                        <a:pt x="300" y="72"/>
                      </a:lnTo>
                      <a:lnTo>
                        <a:pt x="366" y="150"/>
                      </a:lnTo>
                      <a:lnTo>
                        <a:pt x="366" y="150"/>
                      </a:lnTo>
                      <a:lnTo>
                        <a:pt x="378" y="186"/>
                      </a:lnTo>
                      <a:lnTo>
                        <a:pt x="312" y="228"/>
                      </a:lnTo>
                      <a:lnTo>
                        <a:pt x="288" y="270"/>
                      </a:lnTo>
                      <a:lnTo>
                        <a:pt x="234" y="246"/>
                      </a:lnTo>
                      <a:lnTo>
                        <a:pt x="210" y="210"/>
                      </a:lnTo>
                      <a:lnTo>
                        <a:pt x="156" y="180"/>
                      </a:lnTo>
                      <a:lnTo>
                        <a:pt x="96" y="168"/>
                      </a:lnTo>
                      <a:lnTo>
                        <a:pt x="66" y="120"/>
                      </a:lnTo>
                      <a:lnTo>
                        <a:pt x="48" y="90"/>
                      </a:lnTo>
                      <a:lnTo>
                        <a:pt x="0" y="54"/>
                      </a:lnTo>
                      <a:lnTo>
                        <a:pt x="6" y="48"/>
                      </a:lnTo>
                      <a:lnTo>
                        <a:pt x="24" y="30"/>
                      </a:lnTo>
                      <a:lnTo>
                        <a:pt x="42" y="18"/>
                      </a:lnTo>
                      <a:lnTo>
                        <a:pt x="48" y="12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7" name="Freeform 57">
                  <a:extLst>
                    <a:ext uri="{FF2B5EF4-FFF2-40B4-BE49-F238E27FC236}">
                      <a16:creationId xmlns:a16="http://schemas.microsoft.com/office/drawing/2014/main" id="{5B32EE30-0434-41B8-9533-3788F1B711D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67" y="-2634"/>
                  <a:ext cx="114" cy="108"/>
                </a:xfrm>
                <a:custGeom>
                  <a:avLst/>
                  <a:gdLst>
                    <a:gd name="T0" fmla="*/ 90 w 114"/>
                    <a:gd name="T1" fmla="*/ 0 h 108"/>
                    <a:gd name="T2" fmla="*/ 114 w 114"/>
                    <a:gd name="T3" fmla="*/ 54 h 108"/>
                    <a:gd name="T4" fmla="*/ 72 w 114"/>
                    <a:gd name="T5" fmla="*/ 108 h 108"/>
                    <a:gd name="T6" fmla="*/ 78 w 114"/>
                    <a:gd name="T7" fmla="*/ 108 h 108"/>
                    <a:gd name="T8" fmla="*/ 0 w 114"/>
                    <a:gd name="T9" fmla="*/ 84 h 108"/>
                    <a:gd name="T10" fmla="*/ 24 w 114"/>
                    <a:gd name="T11" fmla="*/ 48 h 108"/>
                    <a:gd name="T12" fmla="*/ 90 w 114"/>
                    <a:gd name="T13" fmla="*/ 0 h 108"/>
                    <a:gd name="T14" fmla="*/ 90 w 114"/>
                    <a:gd name="T15" fmla="*/ 0 h 108"/>
                    <a:gd name="T16" fmla="*/ 90 w 114"/>
                    <a:gd name="T17" fmla="*/ 0 h 108"/>
                    <a:gd name="T18" fmla="*/ 90 w 114"/>
                    <a:gd name="T19" fmla="*/ 0 h 108"/>
                    <a:gd name="T20" fmla="*/ 90 w 114"/>
                    <a:gd name="T2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4" h="108">
                      <a:moveTo>
                        <a:pt x="90" y="0"/>
                      </a:moveTo>
                      <a:lnTo>
                        <a:pt x="114" y="54"/>
                      </a:lnTo>
                      <a:lnTo>
                        <a:pt x="72" y="108"/>
                      </a:lnTo>
                      <a:lnTo>
                        <a:pt x="78" y="108"/>
                      </a:lnTo>
                      <a:lnTo>
                        <a:pt x="0" y="84"/>
                      </a:lnTo>
                      <a:lnTo>
                        <a:pt x="24" y="48"/>
                      </a:lnTo>
                      <a:lnTo>
                        <a:pt x="90" y="0"/>
                      </a:lnTo>
                      <a:close/>
                      <a:moveTo>
                        <a:pt x="90" y="0"/>
                      </a:moveTo>
                      <a:lnTo>
                        <a:pt x="90" y="0"/>
                      </a:lnTo>
                      <a:lnTo>
                        <a:pt x="90" y="0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8" name="Freeform 58">
                  <a:extLst>
                    <a:ext uri="{FF2B5EF4-FFF2-40B4-BE49-F238E27FC236}">
                      <a16:creationId xmlns:a16="http://schemas.microsoft.com/office/drawing/2014/main" id="{828EA3A1-A1D3-4D80-8934-56607454EB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7" y="-2292"/>
                  <a:ext cx="510" cy="294"/>
                </a:xfrm>
                <a:custGeom>
                  <a:avLst/>
                  <a:gdLst>
                    <a:gd name="T0" fmla="*/ 216 w 510"/>
                    <a:gd name="T1" fmla="*/ 0 h 294"/>
                    <a:gd name="T2" fmla="*/ 270 w 510"/>
                    <a:gd name="T3" fmla="*/ 6 h 294"/>
                    <a:gd name="T4" fmla="*/ 324 w 510"/>
                    <a:gd name="T5" fmla="*/ 6 h 294"/>
                    <a:gd name="T6" fmla="*/ 354 w 510"/>
                    <a:gd name="T7" fmla="*/ 54 h 294"/>
                    <a:gd name="T8" fmla="*/ 384 w 510"/>
                    <a:gd name="T9" fmla="*/ 54 h 294"/>
                    <a:gd name="T10" fmla="*/ 396 w 510"/>
                    <a:gd name="T11" fmla="*/ 30 h 294"/>
                    <a:gd name="T12" fmla="*/ 396 w 510"/>
                    <a:gd name="T13" fmla="*/ 30 h 294"/>
                    <a:gd name="T14" fmla="*/ 420 w 510"/>
                    <a:gd name="T15" fmla="*/ 96 h 294"/>
                    <a:gd name="T16" fmla="*/ 468 w 510"/>
                    <a:gd name="T17" fmla="*/ 84 h 294"/>
                    <a:gd name="T18" fmla="*/ 510 w 510"/>
                    <a:gd name="T19" fmla="*/ 96 h 294"/>
                    <a:gd name="T20" fmla="*/ 486 w 510"/>
                    <a:gd name="T21" fmla="*/ 114 h 294"/>
                    <a:gd name="T22" fmla="*/ 486 w 510"/>
                    <a:gd name="T23" fmla="*/ 156 h 294"/>
                    <a:gd name="T24" fmla="*/ 468 w 510"/>
                    <a:gd name="T25" fmla="*/ 198 h 294"/>
                    <a:gd name="T26" fmla="*/ 438 w 510"/>
                    <a:gd name="T27" fmla="*/ 186 h 294"/>
                    <a:gd name="T28" fmla="*/ 402 w 510"/>
                    <a:gd name="T29" fmla="*/ 168 h 294"/>
                    <a:gd name="T30" fmla="*/ 384 w 510"/>
                    <a:gd name="T31" fmla="*/ 174 h 294"/>
                    <a:gd name="T32" fmla="*/ 354 w 510"/>
                    <a:gd name="T33" fmla="*/ 192 h 294"/>
                    <a:gd name="T34" fmla="*/ 354 w 510"/>
                    <a:gd name="T35" fmla="*/ 222 h 294"/>
                    <a:gd name="T36" fmla="*/ 354 w 510"/>
                    <a:gd name="T37" fmla="*/ 270 h 294"/>
                    <a:gd name="T38" fmla="*/ 324 w 510"/>
                    <a:gd name="T39" fmla="*/ 270 h 294"/>
                    <a:gd name="T40" fmla="*/ 294 w 510"/>
                    <a:gd name="T41" fmla="*/ 234 h 294"/>
                    <a:gd name="T42" fmla="*/ 240 w 510"/>
                    <a:gd name="T43" fmla="*/ 216 h 294"/>
                    <a:gd name="T44" fmla="*/ 216 w 510"/>
                    <a:gd name="T45" fmla="*/ 258 h 294"/>
                    <a:gd name="T46" fmla="*/ 150 w 510"/>
                    <a:gd name="T47" fmla="*/ 294 h 294"/>
                    <a:gd name="T48" fmla="*/ 144 w 510"/>
                    <a:gd name="T49" fmla="*/ 270 h 294"/>
                    <a:gd name="T50" fmla="*/ 120 w 510"/>
                    <a:gd name="T51" fmla="*/ 228 h 294"/>
                    <a:gd name="T52" fmla="*/ 84 w 510"/>
                    <a:gd name="T53" fmla="*/ 204 h 294"/>
                    <a:gd name="T54" fmla="*/ 42 w 510"/>
                    <a:gd name="T55" fmla="*/ 222 h 294"/>
                    <a:gd name="T56" fmla="*/ 0 w 510"/>
                    <a:gd name="T57" fmla="*/ 216 h 294"/>
                    <a:gd name="T58" fmla="*/ 0 w 510"/>
                    <a:gd name="T59" fmla="*/ 180 h 294"/>
                    <a:gd name="T60" fmla="*/ 30 w 510"/>
                    <a:gd name="T61" fmla="*/ 120 h 294"/>
                    <a:gd name="T62" fmla="*/ 84 w 510"/>
                    <a:gd name="T63" fmla="*/ 60 h 294"/>
                    <a:gd name="T64" fmla="*/ 162 w 510"/>
                    <a:gd name="T65" fmla="*/ 0 h 294"/>
                    <a:gd name="T66" fmla="*/ 162 w 510"/>
                    <a:gd name="T67" fmla="*/ 0 h 294"/>
                    <a:gd name="T68" fmla="*/ 216 w 510"/>
                    <a:gd name="T69" fmla="*/ 0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10" h="294">
                      <a:moveTo>
                        <a:pt x="216" y="0"/>
                      </a:moveTo>
                      <a:lnTo>
                        <a:pt x="270" y="6"/>
                      </a:lnTo>
                      <a:lnTo>
                        <a:pt x="324" y="6"/>
                      </a:lnTo>
                      <a:lnTo>
                        <a:pt x="354" y="54"/>
                      </a:lnTo>
                      <a:lnTo>
                        <a:pt x="384" y="54"/>
                      </a:lnTo>
                      <a:lnTo>
                        <a:pt x="396" y="30"/>
                      </a:lnTo>
                      <a:lnTo>
                        <a:pt x="396" y="30"/>
                      </a:lnTo>
                      <a:lnTo>
                        <a:pt x="420" y="96"/>
                      </a:lnTo>
                      <a:lnTo>
                        <a:pt x="468" y="84"/>
                      </a:lnTo>
                      <a:lnTo>
                        <a:pt x="510" y="96"/>
                      </a:lnTo>
                      <a:lnTo>
                        <a:pt x="486" y="114"/>
                      </a:lnTo>
                      <a:lnTo>
                        <a:pt x="486" y="156"/>
                      </a:lnTo>
                      <a:lnTo>
                        <a:pt x="468" y="198"/>
                      </a:lnTo>
                      <a:lnTo>
                        <a:pt x="438" y="186"/>
                      </a:lnTo>
                      <a:lnTo>
                        <a:pt x="402" y="168"/>
                      </a:lnTo>
                      <a:lnTo>
                        <a:pt x="384" y="174"/>
                      </a:lnTo>
                      <a:lnTo>
                        <a:pt x="354" y="192"/>
                      </a:lnTo>
                      <a:lnTo>
                        <a:pt x="354" y="222"/>
                      </a:lnTo>
                      <a:lnTo>
                        <a:pt x="354" y="270"/>
                      </a:lnTo>
                      <a:lnTo>
                        <a:pt x="324" y="270"/>
                      </a:lnTo>
                      <a:lnTo>
                        <a:pt x="294" y="234"/>
                      </a:lnTo>
                      <a:lnTo>
                        <a:pt x="240" y="216"/>
                      </a:lnTo>
                      <a:lnTo>
                        <a:pt x="216" y="258"/>
                      </a:lnTo>
                      <a:lnTo>
                        <a:pt x="150" y="294"/>
                      </a:lnTo>
                      <a:lnTo>
                        <a:pt x="144" y="270"/>
                      </a:lnTo>
                      <a:lnTo>
                        <a:pt x="120" y="228"/>
                      </a:lnTo>
                      <a:lnTo>
                        <a:pt x="84" y="204"/>
                      </a:lnTo>
                      <a:lnTo>
                        <a:pt x="42" y="222"/>
                      </a:lnTo>
                      <a:lnTo>
                        <a:pt x="0" y="216"/>
                      </a:lnTo>
                      <a:lnTo>
                        <a:pt x="0" y="180"/>
                      </a:lnTo>
                      <a:lnTo>
                        <a:pt x="30" y="120"/>
                      </a:lnTo>
                      <a:lnTo>
                        <a:pt x="84" y="60"/>
                      </a:lnTo>
                      <a:lnTo>
                        <a:pt x="162" y="0"/>
                      </a:lnTo>
                      <a:lnTo>
                        <a:pt x="162" y="0"/>
                      </a:lnTo>
                      <a:lnTo>
                        <a:pt x="21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999" name="Freeform 59">
                  <a:extLst>
                    <a:ext uri="{FF2B5EF4-FFF2-40B4-BE49-F238E27FC236}">
                      <a16:creationId xmlns:a16="http://schemas.microsoft.com/office/drawing/2014/main" id="{DC8A6F35-AA39-4456-A1CC-63D39CA872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11" y="-2772"/>
                  <a:ext cx="1248" cy="1212"/>
                </a:xfrm>
                <a:custGeom>
                  <a:avLst/>
                  <a:gdLst>
                    <a:gd name="T0" fmla="*/ 738 w 1248"/>
                    <a:gd name="T1" fmla="*/ 42 h 1212"/>
                    <a:gd name="T2" fmla="*/ 846 w 1248"/>
                    <a:gd name="T3" fmla="*/ 132 h 1212"/>
                    <a:gd name="T4" fmla="*/ 978 w 1248"/>
                    <a:gd name="T5" fmla="*/ 222 h 1212"/>
                    <a:gd name="T6" fmla="*/ 1110 w 1248"/>
                    <a:gd name="T7" fmla="*/ 276 h 1212"/>
                    <a:gd name="T8" fmla="*/ 1182 w 1248"/>
                    <a:gd name="T9" fmla="*/ 408 h 1212"/>
                    <a:gd name="T10" fmla="*/ 1092 w 1248"/>
                    <a:gd name="T11" fmla="*/ 540 h 1212"/>
                    <a:gd name="T12" fmla="*/ 1008 w 1248"/>
                    <a:gd name="T13" fmla="*/ 696 h 1212"/>
                    <a:gd name="T14" fmla="*/ 1128 w 1248"/>
                    <a:gd name="T15" fmla="*/ 708 h 1212"/>
                    <a:gd name="T16" fmla="*/ 1158 w 1248"/>
                    <a:gd name="T17" fmla="*/ 774 h 1212"/>
                    <a:gd name="T18" fmla="*/ 1152 w 1248"/>
                    <a:gd name="T19" fmla="*/ 954 h 1212"/>
                    <a:gd name="T20" fmla="*/ 1248 w 1248"/>
                    <a:gd name="T21" fmla="*/ 1008 h 1212"/>
                    <a:gd name="T22" fmla="*/ 1224 w 1248"/>
                    <a:gd name="T23" fmla="*/ 1038 h 1212"/>
                    <a:gd name="T24" fmla="*/ 1206 w 1248"/>
                    <a:gd name="T25" fmla="*/ 1080 h 1212"/>
                    <a:gd name="T26" fmla="*/ 1170 w 1248"/>
                    <a:gd name="T27" fmla="*/ 1086 h 1212"/>
                    <a:gd name="T28" fmla="*/ 1122 w 1248"/>
                    <a:gd name="T29" fmla="*/ 1122 h 1212"/>
                    <a:gd name="T30" fmla="*/ 1032 w 1248"/>
                    <a:gd name="T31" fmla="*/ 1146 h 1212"/>
                    <a:gd name="T32" fmla="*/ 864 w 1248"/>
                    <a:gd name="T33" fmla="*/ 1086 h 1212"/>
                    <a:gd name="T34" fmla="*/ 756 w 1248"/>
                    <a:gd name="T35" fmla="*/ 1134 h 1212"/>
                    <a:gd name="T36" fmla="*/ 726 w 1248"/>
                    <a:gd name="T37" fmla="*/ 1176 h 1212"/>
                    <a:gd name="T38" fmla="*/ 726 w 1248"/>
                    <a:gd name="T39" fmla="*/ 1206 h 1212"/>
                    <a:gd name="T40" fmla="*/ 522 w 1248"/>
                    <a:gd name="T41" fmla="*/ 1188 h 1212"/>
                    <a:gd name="T42" fmla="*/ 252 w 1248"/>
                    <a:gd name="T43" fmla="*/ 1098 h 1212"/>
                    <a:gd name="T44" fmla="*/ 300 w 1248"/>
                    <a:gd name="T45" fmla="*/ 1014 h 1212"/>
                    <a:gd name="T46" fmla="*/ 342 w 1248"/>
                    <a:gd name="T47" fmla="*/ 858 h 1212"/>
                    <a:gd name="T48" fmla="*/ 354 w 1248"/>
                    <a:gd name="T49" fmla="*/ 840 h 1212"/>
                    <a:gd name="T50" fmla="*/ 378 w 1248"/>
                    <a:gd name="T51" fmla="*/ 846 h 1212"/>
                    <a:gd name="T52" fmla="*/ 402 w 1248"/>
                    <a:gd name="T53" fmla="*/ 828 h 1212"/>
                    <a:gd name="T54" fmla="*/ 378 w 1248"/>
                    <a:gd name="T55" fmla="*/ 792 h 1212"/>
                    <a:gd name="T56" fmla="*/ 360 w 1248"/>
                    <a:gd name="T57" fmla="*/ 750 h 1212"/>
                    <a:gd name="T58" fmla="*/ 354 w 1248"/>
                    <a:gd name="T59" fmla="*/ 726 h 1212"/>
                    <a:gd name="T60" fmla="*/ 336 w 1248"/>
                    <a:gd name="T61" fmla="*/ 666 h 1212"/>
                    <a:gd name="T62" fmla="*/ 222 w 1248"/>
                    <a:gd name="T63" fmla="*/ 576 h 1212"/>
                    <a:gd name="T64" fmla="*/ 204 w 1248"/>
                    <a:gd name="T65" fmla="*/ 552 h 1212"/>
                    <a:gd name="T66" fmla="*/ 198 w 1248"/>
                    <a:gd name="T67" fmla="*/ 522 h 1212"/>
                    <a:gd name="T68" fmla="*/ 96 w 1248"/>
                    <a:gd name="T69" fmla="*/ 468 h 1212"/>
                    <a:gd name="T70" fmla="*/ 24 w 1248"/>
                    <a:gd name="T71" fmla="*/ 450 h 1212"/>
                    <a:gd name="T72" fmla="*/ 0 w 1248"/>
                    <a:gd name="T73" fmla="*/ 396 h 1212"/>
                    <a:gd name="T74" fmla="*/ 6 w 1248"/>
                    <a:gd name="T75" fmla="*/ 354 h 1212"/>
                    <a:gd name="T76" fmla="*/ 30 w 1248"/>
                    <a:gd name="T77" fmla="*/ 336 h 1212"/>
                    <a:gd name="T78" fmla="*/ 114 w 1248"/>
                    <a:gd name="T79" fmla="*/ 324 h 1212"/>
                    <a:gd name="T80" fmla="*/ 192 w 1248"/>
                    <a:gd name="T81" fmla="*/ 342 h 1212"/>
                    <a:gd name="T82" fmla="*/ 222 w 1248"/>
                    <a:gd name="T83" fmla="*/ 336 h 1212"/>
                    <a:gd name="T84" fmla="*/ 270 w 1248"/>
                    <a:gd name="T85" fmla="*/ 324 h 1212"/>
                    <a:gd name="T86" fmla="*/ 270 w 1248"/>
                    <a:gd name="T87" fmla="*/ 294 h 1212"/>
                    <a:gd name="T88" fmla="*/ 246 w 1248"/>
                    <a:gd name="T89" fmla="*/ 246 h 1212"/>
                    <a:gd name="T90" fmla="*/ 222 w 1248"/>
                    <a:gd name="T91" fmla="*/ 204 h 1212"/>
                    <a:gd name="T92" fmla="*/ 246 w 1248"/>
                    <a:gd name="T93" fmla="*/ 192 h 1212"/>
                    <a:gd name="T94" fmla="*/ 300 w 1248"/>
                    <a:gd name="T95" fmla="*/ 204 h 1212"/>
                    <a:gd name="T96" fmla="*/ 336 w 1248"/>
                    <a:gd name="T97" fmla="*/ 234 h 1212"/>
                    <a:gd name="T98" fmla="*/ 372 w 1248"/>
                    <a:gd name="T99" fmla="*/ 270 h 1212"/>
                    <a:gd name="T100" fmla="*/ 414 w 1248"/>
                    <a:gd name="T101" fmla="*/ 240 h 1212"/>
                    <a:gd name="T102" fmla="*/ 432 w 1248"/>
                    <a:gd name="T103" fmla="*/ 210 h 1212"/>
                    <a:gd name="T104" fmla="*/ 468 w 1248"/>
                    <a:gd name="T105" fmla="*/ 186 h 1212"/>
                    <a:gd name="T106" fmla="*/ 510 w 1248"/>
                    <a:gd name="T107" fmla="*/ 168 h 1212"/>
                    <a:gd name="T108" fmla="*/ 546 w 1248"/>
                    <a:gd name="T109" fmla="*/ 138 h 1212"/>
                    <a:gd name="T110" fmla="*/ 576 w 1248"/>
                    <a:gd name="T111" fmla="*/ 96 h 1212"/>
                    <a:gd name="T112" fmla="*/ 606 w 1248"/>
                    <a:gd name="T113" fmla="*/ 60 h 1212"/>
                    <a:gd name="T114" fmla="*/ 696 w 1248"/>
                    <a:gd name="T115" fmla="*/ 0 h 1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248" h="1212">
                      <a:moveTo>
                        <a:pt x="696" y="0"/>
                      </a:moveTo>
                      <a:lnTo>
                        <a:pt x="690" y="6"/>
                      </a:lnTo>
                      <a:lnTo>
                        <a:pt x="738" y="42"/>
                      </a:lnTo>
                      <a:lnTo>
                        <a:pt x="756" y="72"/>
                      </a:lnTo>
                      <a:lnTo>
                        <a:pt x="786" y="120"/>
                      </a:lnTo>
                      <a:lnTo>
                        <a:pt x="846" y="132"/>
                      </a:lnTo>
                      <a:lnTo>
                        <a:pt x="900" y="162"/>
                      </a:lnTo>
                      <a:lnTo>
                        <a:pt x="924" y="198"/>
                      </a:lnTo>
                      <a:lnTo>
                        <a:pt x="978" y="222"/>
                      </a:lnTo>
                      <a:lnTo>
                        <a:pt x="1056" y="252"/>
                      </a:lnTo>
                      <a:lnTo>
                        <a:pt x="1050" y="252"/>
                      </a:lnTo>
                      <a:lnTo>
                        <a:pt x="1110" y="276"/>
                      </a:lnTo>
                      <a:lnTo>
                        <a:pt x="1176" y="294"/>
                      </a:lnTo>
                      <a:lnTo>
                        <a:pt x="1200" y="330"/>
                      </a:lnTo>
                      <a:lnTo>
                        <a:pt x="1182" y="408"/>
                      </a:lnTo>
                      <a:lnTo>
                        <a:pt x="1170" y="480"/>
                      </a:lnTo>
                      <a:lnTo>
                        <a:pt x="1170" y="480"/>
                      </a:lnTo>
                      <a:lnTo>
                        <a:pt x="1092" y="540"/>
                      </a:lnTo>
                      <a:lnTo>
                        <a:pt x="1038" y="600"/>
                      </a:lnTo>
                      <a:lnTo>
                        <a:pt x="1008" y="660"/>
                      </a:lnTo>
                      <a:lnTo>
                        <a:pt x="1008" y="696"/>
                      </a:lnTo>
                      <a:lnTo>
                        <a:pt x="1050" y="702"/>
                      </a:lnTo>
                      <a:lnTo>
                        <a:pt x="1092" y="684"/>
                      </a:lnTo>
                      <a:lnTo>
                        <a:pt x="1128" y="708"/>
                      </a:lnTo>
                      <a:lnTo>
                        <a:pt x="1152" y="750"/>
                      </a:lnTo>
                      <a:lnTo>
                        <a:pt x="1158" y="774"/>
                      </a:lnTo>
                      <a:lnTo>
                        <a:pt x="1158" y="774"/>
                      </a:lnTo>
                      <a:lnTo>
                        <a:pt x="1140" y="840"/>
                      </a:lnTo>
                      <a:lnTo>
                        <a:pt x="1146" y="906"/>
                      </a:lnTo>
                      <a:lnTo>
                        <a:pt x="1152" y="954"/>
                      </a:lnTo>
                      <a:lnTo>
                        <a:pt x="1206" y="978"/>
                      </a:lnTo>
                      <a:lnTo>
                        <a:pt x="1248" y="1008"/>
                      </a:lnTo>
                      <a:lnTo>
                        <a:pt x="1248" y="1008"/>
                      </a:lnTo>
                      <a:lnTo>
                        <a:pt x="1236" y="1014"/>
                      </a:lnTo>
                      <a:lnTo>
                        <a:pt x="1230" y="1026"/>
                      </a:lnTo>
                      <a:lnTo>
                        <a:pt x="1224" y="1038"/>
                      </a:lnTo>
                      <a:lnTo>
                        <a:pt x="1218" y="1056"/>
                      </a:lnTo>
                      <a:lnTo>
                        <a:pt x="1212" y="1068"/>
                      </a:lnTo>
                      <a:lnTo>
                        <a:pt x="1206" y="1080"/>
                      </a:lnTo>
                      <a:lnTo>
                        <a:pt x="1200" y="1080"/>
                      </a:lnTo>
                      <a:lnTo>
                        <a:pt x="1188" y="1080"/>
                      </a:lnTo>
                      <a:lnTo>
                        <a:pt x="1170" y="1086"/>
                      </a:lnTo>
                      <a:lnTo>
                        <a:pt x="1158" y="1092"/>
                      </a:lnTo>
                      <a:lnTo>
                        <a:pt x="1140" y="1104"/>
                      </a:lnTo>
                      <a:lnTo>
                        <a:pt x="1122" y="1122"/>
                      </a:lnTo>
                      <a:lnTo>
                        <a:pt x="1098" y="1134"/>
                      </a:lnTo>
                      <a:lnTo>
                        <a:pt x="1068" y="1152"/>
                      </a:lnTo>
                      <a:lnTo>
                        <a:pt x="1032" y="1146"/>
                      </a:lnTo>
                      <a:lnTo>
                        <a:pt x="978" y="1134"/>
                      </a:lnTo>
                      <a:lnTo>
                        <a:pt x="918" y="1098"/>
                      </a:lnTo>
                      <a:lnTo>
                        <a:pt x="864" y="1086"/>
                      </a:lnTo>
                      <a:lnTo>
                        <a:pt x="816" y="1092"/>
                      </a:lnTo>
                      <a:lnTo>
                        <a:pt x="786" y="1110"/>
                      </a:lnTo>
                      <a:lnTo>
                        <a:pt x="756" y="1134"/>
                      </a:lnTo>
                      <a:lnTo>
                        <a:pt x="744" y="1152"/>
                      </a:lnTo>
                      <a:lnTo>
                        <a:pt x="732" y="1158"/>
                      </a:lnTo>
                      <a:lnTo>
                        <a:pt x="726" y="1176"/>
                      </a:lnTo>
                      <a:lnTo>
                        <a:pt x="726" y="1188"/>
                      </a:lnTo>
                      <a:lnTo>
                        <a:pt x="726" y="1200"/>
                      </a:lnTo>
                      <a:lnTo>
                        <a:pt x="726" y="1206"/>
                      </a:lnTo>
                      <a:lnTo>
                        <a:pt x="660" y="1212"/>
                      </a:lnTo>
                      <a:lnTo>
                        <a:pt x="594" y="1194"/>
                      </a:lnTo>
                      <a:lnTo>
                        <a:pt x="522" y="1188"/>
                      </a:lnTo>
                      <a:lnTo>
                        <a:pt x="414" y="1182"/>
                      </a:lnTo>
                      <a:lnTo>
                        <a:pt x="306" y="1140"/>
                      </a:lnTo>
                      <a:lnTo>
                        <a:pt x="252" y="1098"/>
                      </a:lnTo>
                      <a:lnTo>
                        <a:pt x="264" y="1080"/>
                      </a:lnTo>
                      <a:lnTo>
                        <a:pt x="276" y="1056"/>
                      </a:lnTo>
                      <a:lnTo>
                        <a:pt x="300" y="1014"/>
                      </a:lnTo>
                      <a:lnTo>
                        <a:pt x="318" y="960"/>
                      </a:lnTo>
                      <a:lnTo>
                        <a:pt x="336" y="900"/>
                      </a:lnTo>
                      <a:lnTo>
                        <a:pt x="342" y="858"/>
                      </a:lnTo>
                      <a:lnTo>
                        <a:pt x="348" y="852"/>
                      </a:lnTo>
                      <a:lnTo>
                        <a:pt x="348" y="846"/>
                      </a:lnTo>
                      <a:lnTo>
                        <a:pt x="354" y="840"/>
                      </a:lnTo>
                      <a:lnTo>
                        <a:pt x="366" y="840"/>
                      </a:lnTo>
                      <a:lnTo>
                        <a:pt x="372" y="846"/>
                      </a:lnTo>
                      <a:lnTo>
                        <a:pt x="378" y="846"/>
                      </a:lnTo>
                      <a:lnTo>
                        <a:pt x="390" y="840"/>
                      </a:lnTo>
                      <a:lnTo>
                        <a:pt x="396" y="834"/>
                      </a:lnTo>
                      <a:lnTo>
                        <a:pt x="402" y="828"/>
                      </a:lnTo>
                      <a:lnTo>
                        <a:pt x="396" y="816"/>
                      </a:lnTo>
                      <a:lnTo>
                        <a:pt x="390" y="804"/>
                      </a:lnTo>
                      <a:lnTo>
                        <a:pt x="378" y="792"/>
                      </a:lnTo>
                      <a:lnTo>
                        <a:pt x="372" y="774"/>
                      </a:lnTo>
                      <a:lnTo>
                        <a:pt x="366" y="756"/>
                      </a:lnTo>
                      <a:lnTo>
                        <a:pt x="360" y="750"/>
                      </a:lnTo>
                      <a:lnTo>
                        <a:pt x="360" y="744"/>
                      </a:lnTo>
                      <a:lnTo>
                        <a:pt x="354" y="732"/>
                      </a:lnTo>
                      <a:lnTo>
                        <a:pt x="354" y="726"/>
                      </a:lnTo>
                      <a:lnTo>
                        <a:pt x="354" y="714"/>
                      </a:lnTo>
                      <a:lnTo>
                        <a:pt x="354" y="702"/>
                      </a:lnTo>
                      <a:lnTo>
                        <a:pt x="336" y="666"/>
                      </a:lnTo>
                      <a:lnTo>
                        <a:pt x="300" y="630"/>
                      </a:lnTo>
                      <a:lnTo>
                        <a:pt x="252" y="600"/>
                      </a:lnTo>
                      <a:lnTo>
                        <a:pt x="222" y="576"/>
                      </a:lnTo>
                      <a:lnTo>
                        <a:pt x="210" y="570"/>
                      </a:lnTo>
                      <a:lnTo>
                        <a:pt x="204" y="558"/>
                      </a:lnTo>
                      <a:lnTo>
                        <a:pt x="204" y="552"/>
                      </a:lnTo>
                      <a:lnTo>
                        <a:pt x="210" y="540"/>
                      </a:lnTo>
                      <a:lnTo>
                        <a:pt x="204" y="534"/>
                      </a:lnTo>
                      <a:lnTo>
                        <a:pt x="198" y="522"/>
                      </a:lnTo>
                      <a:lnTo>
                        <a:pt x="174" y="504"/>
                      </a:lnTo>
                      <a:lnTo>
                        <a:pt x="138" y="486"/>
                      </a:lnTo>
                      <a:lnTo>
                        <a:pt x="96" y="468"/>
                      </a:lnTo>
                      <a:lnTo>
                        <a:pt x="60" y="462"/>
                      </a:lnTo>
                      <a:lnTo>
                        <a:pt x="42" y="456"/>
                      </a:lnTo>
                      <a:lnTo>
                        <a:pt x="24" y="450"/>
                      </a:lnTo>
                      <a:lnTo>
                        <a:pt x="12" y="438"/>
                      </a:lnTo>
                      <a:lnTo>
                        <a:pt x="6" y="420"/>
                      </a:lnTo>
                      <a:lnTo>
                        <a:pt x="0" y="396"/>
                      </a:lnTo>
                      <a:lnTo>
                        <a:pt x="0" y="378"/>
                      </a:lnTo>
                      <a:lnTo>
                        <a:pt x="0" y="366"/>
                      </a:lnTo>
                      <a:lnTo>
                        <a:pt x="6" y="354"/>
                      </a:lnTo>
                      <a:lnTo>
                        <a:pt x="12" y="348"/>
                      </a:lnTo>
                      <a:lnTo>
                        <a:pt x="18" y="342"/>
                      </a:lnTo>
                      <a:lnTo>
                        <a:pt x="30" y="336"/>
                      </a:lnTo>
                      <a:lnTo>
                        <a:pt x="48" y="330"/>
                      </a:lnTo>
                      <a:lnTo>
                        <a:pt x="78" y="324"/>
                      </a:lnTo>
                      <a:lnTo>
                        <a:pt x="114" y="324"/>
                      </a:lnTo>
                      <a:lnTo>
                        <a:pt x="156" y="336"/>
                      </a:lnTo>
                      <a:lnTo>
                        <a:pt x="180" y="342"/>
                      </a:lnTo>
                      <a:lnTo>
                        <a:pt x="192" y="342"/>
                      </a:lnTo>
                      <a:lnTo>
                        <a:pt x="204" y="342"/>
                      </a:lnTo>
                      <a:lnTo>
                        <a:pt x="210" y="342"/>
                      </a:lnTo>
                      <a:lnTo>
                        <a:pt x="222" y="336"/>
                      </a:lnTo>
                      <a:lnTo>
                        <a:pt x="240" y="336"/>
                      </a:lnTo>
                      <a:lnTo>
                        <a:pt x="264" y="330"/>
                      </a:lnTo>
                      <a:lnTo>
                        <a:pt x="270" y="324"/>
                      </a:lnTo>
                      <a:lnTo>
                        <a:pt x="276" y="318"/>
                      </a:lnTo>
                      <a:lnTo>
                        <a:pt x="276" y="306"/>
                      </a:lnTo>
                      <a:lnTo>
                        <a:pt x="270" y="294"/>
                      </a:lnTo>
                      <a:lnTo>
                        <a:pt x="264" y="282"/>
                      </a:lnTo>
                      <a:lnTo>
                        <a:pt x="258" y="264"/>
                      </a:lnTo>
                      <a:lnTo>
                        <a:pt x="246" y="246"/>
                      </a:lnTo>
                      <a:lnTo>
                        <a:pt x="234" y="222"/>
                      </a:lnTo>
                      <a:lnTo>
                        <a:pt x="222" y="210"/>
                      </a:lnTo>
                      <a:lnTo>
                        <a:pt x="222" y="204"/>
                      </a:lnTo>
                      <a:lnTo>
                        <a:pt x="222" y="198"/>
                      </a:lnTo>
                      <a:lnTo>
                        <a:pt x="234" y="192"/>
                      </a:lnTo>
                      <a:lnTo>
                        <a:pt x="246" y="192"/>
                      </a:lnTo>
                      <a:lnTo>
                        <a:pt x="270" y="192"/>
                      </a:lnTo>
                      <a:lnTo>
                        <a:pt x="288" y="198"/>
                      </a:lnTo>
                      <a:lnTo>
                        <a:pt x="300" y="204"/>
                      </a:lnTo>
                      <a:lnTo>
                        <a:pt x="312" y="210"/>
                      </a:lnTo>
                      <a:lnTo>
                        <a:pt x="324" y="222"/>
                      </a:lnTo>
                      <a:lnTo>
                        <a:pt x="336" y="234"/>
                      </a:lnTo>
                      <a:lnTo>
                        <a:pt x="348" y="252"/>
                      </a:lnTo>
                      <a:lnTo>
                        <a:pt x="360" y="264"/>
                      </a:lnTo>
                      <a:lnTo>
                        <a:pt x="372" y="270"/>
                      </a:lnTo>
                      <a:lnTo>
                        <a:pt x="384" y="264"/>
                      </a:lnTo>
                      <a:lnTo>
                        <a:pt x="396" y="258"/>
                      </a:lnTo>
                      <a:lnTo>
                        <a:pt x="414" y="240"/>
                      </a:lnTo>
                      <a:lnTo>
                        <a:pt x="420" y="228"/>
                      </a:lnTo>
                      <a:lnTo>
                        <a:pt x="426" y="222"/>
                      </a:lnTo>
                      <a:lnTo>
                        <a:pt x="432" y="210"/>
                      </a:lnTo>
                      <a:lnTo>
                        <a:pt x="438" y="198"/>
                      </a:lnTo>
                      <a:lnTo>
                        <a:pt x="450" y="192"/>
                      </a:lnTo>
                      <a:lnTo>
                        <a:pt x="468" y="186"/>
                      </a:lnTo>
                      <a:lnTo>
                        <a:pt x="486" y="180"/>
                      </a:lnTo>
                      <a:lnTo>
                        <a:pt x="498" y="174"/>
                      </a:lnTo>
                      <a:lnTo>
                        <a:pt x="510" y="168"/>
                      </a:lnTo>
                      <a:lnTo>
                        <a:pt x="522" y="162"/>
                      </a:lnTo>
                      <a:lnTo>
                        <a:pt x="534" y="156"/>
                      </a:lnTo>
                      <a:lnTo>
                        <a:pt x="546" y="138"/>
                      </a:lnTo>
                      <a:lnTo>
                        <a:pt x="558" y="126"/>
                      </a:lnTo>
                      <a:lnTo>
                        <a:pt x="570" y="108"/>
                      </a:lnTo>
                      <a:lnTo>
                        <a:pt x="576" y="96"/>
                      </a:lnTo>
                      <a:lnTo>
                        <a:pt x="582" y="84"/>
                      </a:lnTo>
                      <a:lnTo>
                        <a:pt x="588" y="72"/>
                      </a:lnTo>
                      <a:lnTo>
                        <a:pt x="606" y="60"/>
                      </a:lnTo>
                      <a:lnTo>
                        <a:pt x="636" y="42"/>
                      </a:lnTo>
                      <a:lnTo>
                        <a:pt x="666" y="24"/>
                      </a:lnTo>
                      <a:lnTo>
                        <a:pt x="69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0" name="Freeform 60">
                  <a:extLst>
                    <a:ext uri="{FF2B5EF4-FFF2-40B4-BE49-F238E27FC236}">
                      <a16:creationId xmlns:a16="http://schemas.microsoft.com/office/drawing/2014/main" id="{4AEE746E-720C-43EC-84DF-0A706CD150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5" y="-1722"/>
                  <a:ext cx="1284" cy="1002"/>
                </a:xfrm>
                <a:custGeom>
                  <a:avLst/>
                  <a:gdLst>
                    <a:gd name="T0" fmla="*/ 186 w 1284"/>
                    <a:gd name="T1" fmla="*/ 0 h 1002"/>
                    <a:gd name="T2" fmla="*/ 228 w 1284"/>
                    <a:gd name="T3" fmla="*/ 6 h 1002"/>
                    <a:gd name="T4" fmla="*/ 234 w 1284"/>
                    <a:gd name="T5" fmla="*/ 36 h 1002"/>
                    <a:gd name="T6" fmla="*/ 264 w 1284"/>
                    <a:gd name="T7" fmla="*/ 54 h 1002"/>
                    <a:gd name="T8" fmla="*/ 300 w 1284"/>
                    <a:gd name="T9" fmla="*/ 42 h 1002"/>
                    <a:gd name="T10" fmla="*/ 414 w 1284"/>
                    <a:gd name="T11" fmla="*/ 36 h 1002"/>
                    <a:gd name="T12" fmla="*/ 594 w 1284"/>
                    <a:gd name="T13" fmla="*/ 48 h 1002"/>
                    <a:gd name="T14" fmla="*/ 726 w 1284"/>
                    <a:gd name="T15" fmla="*/ 60 h 1002"/>
                    <a:gd name="T16" fmla="*/ 810 w 1284"/>
                    <a:gd name="T17" fmla="*/ 90 h 1002"/>
                    <a:gd name="T18" fmla="*/ 1098 w 1284"/>
                    <a:gd name="T19" fmla="*/ 144 h 1002"/>
                    <a:gd name="T20" fmla="*/ 1242 w 1284"/>
                    <a:gd name="T21" fmla="*/ 162 h 1002"/>
                    <a:gd name="T22" fmla="*/ 1272 w 1284"/>
                    <a:gd name="T23" fmla="*/ 168 h 1002"/>
                    <a:gd name="T24" fmla="*/ 1284 w 1284"/>
                    <a:gd name="T25" fmla="*/ 192 h 1002"/>
                    <a:gd name="T26" fmla="*/ 1278 w 1284"/>
                    <a:gd name="T27" fmla="*/ 234 h 1002"/>
                    <a:gd name="T28" fmla="*/ 1254 w 1284"/>
                    <a:gd name="T29" fmla="*/ 282 h 1002"/>
                    <a:gd name="T30" fmla="*/ 1182 w 1284"/>
                    <a:gd name="T31" fmla="*/ 324 h 1002"/>
                    <a:gd name="T32" fmla="*/ 1074 w 1284"/>
                    <a:gd name="T33" fmla="*/ 366 h 1002"/>
                    <a:gd name="T34" fmla="*/ 1026 w 1284"/>
                    <a:gd name="T35" fmla="*/ 390 h 1002"/>
                    <a:gd name="T36" fmla="*/ 966 w 1284"/>
                    <a:gd name="T37" fmla="*/ 468 h 1002"/>
                    <a:gd name="T38" fmla="*/ 906 w 1284"/>
                    <a:gd name="T39" fmla="*/ 558 h 1002"/>
                    <a:gd name="T40" fmla="*/ 918 w 1284"/>
                    <a:gd name="T41" fmla="*/ 618 h 1002"/>
                    <a:gd name="T42" fmla="*/ 948 w 1284"/>
                    <a:gd name="T43" fmla="*/ 648 h 1002"/>
                    <a:gd name="T44" fmla="*/ 936 w 1284"/>
                    <a:gd name="T45" fmla="*/ 696 h 1002"/>
                    <a:gd name="T46" fmla="*/ 894 w 1284"/>
                    <a:gd name="T47" fmla="*/ 726 h 1002"/>
                    <a:gd name="T48" fmla="*/ 864 w 1284"/>
                    <a:gd name="T49" fmla="*/ 762 h 1002"/>
                    <a:gd name="T50" fmla="*/ 864 w 1284"/>
                    <a:gd name="T51" fmla="*/ 810 h 1002"/>
                    <a:gd name="T52" fmla="*/ 840 w 1284"/>
                    <a:gd name="T53" fmla="*/ 822 h 1002"/>
                    <a:gd name="T54" fmla="*/ 786 w 1284"/>
                    <a:gd name="T55" fmla="*/ 852 h 1002"/>
                    <a:gd name="T56" fmla="*/ 756 w 1284"/>
                    <a:gd name="T57" fmla="*/ 888 h 1002"/>
                    <a:gd name="T58" fmla="*/ 732 w 1284"/>
                    <a:gd name="T59" fmla="*/ 924 h 1002"/>
                    <a:gd name="T60" fmla="*/ 666 w 1284"/>
                    <a:gd name="T61" fmla="*/ 930 h 1002"/>
                    <a:gd name="T62" fmla="*/ 522 w 1284"/>
                    <a:gd name="T63" fmla="*/ 948 h 1002"/>
                    <a:gd name="T64" fmla="*/ 414 w 1284"/>
                    <a:gd name="T65" fmla="*/ 990 h 1002"/>
                    <a:gd name="T66" fmla="*/ 360 w 1284"/>
                    <a:gd name="T67" fmla="*/ 1002 h 1002"/>
                    <a:gd name="T68" fmla="*/ 318 w 1284"/>
                    <a:gd name="T69" fmla="*/ 990 h 1002"/>
                    <a:gd name="T70" fmla="*/ 270 w 1284"/>
                    <a:gd name="T71" fmla="*/ 954 h 1002"/>
                    <a:gd name="T72" fmla="*/ 240 w 1284"/>
                    <a:gd name="T73" fmla="*/ 906 h 1002"/>
                    <a:gd name="T74" fmla="*/ 198 w 1284"/>
                    <a:gd name="T75" fmla="*/ 888 h 1002"/>
                    <a:gd name="T76" fmla="*/ 222 w 1284"/>
                    <a:gd name="T77" fmla="*/ 726 h 1002"/>
                    <a:gd name="T78" fmla="*/ 192 w 1284"/>
                    <a:gd name="T79" fmla="*/ 552 h 1002"/>
                    <a:gd name="T80" fmla="*/ 252 w 1284"/>
                    <a:gd name="T81" fmla="*/ 288 h 1002"/>
                    <a:gd name="T82" fmla="*/ 120 w 1284"/>
                    <a:gd name="T83" fmla="*/ 240 h 1002"/>
                    <a:gd name="T84" fmla="*/ 36 w 1284"/>
                    <a:gd name="T85" fmla="*/ 216 h 1002"/>
                    <a:gd name="T86" fmla="*/ 18 w 1284"/>
                    <a:gd name="T87" fmla="*/ 192 h 1002"/>
                    <a:gd name="T88" fmla="*/ 6 w 1284"/>
                    <a:gd name="T89" fmla="*/ 138 h 1002"/>
                    <a:gd name="T90" fmla="*/ 6 w 1284"/>
                    <a:gd name="T91" fmla="*/ 84 h 1002"/>
                    <a:gd name="T92" fmla="*/ 54 w 1284"/>
                    <a:gd name="T93" fmla="*/ 66 h 1002"/>
                    <a:gd name="T94" fmla="*/ 90 w 1284"/>
                    <a:gd name="T95" fmla="*/ 48 h 1002"/>
                    <a:gd name="T96" fmla="*/ 96 w 1284"/>
                    <a:gd name="T97" fmla="*/ 24 h 1002"/>
                    <a:gd name="T98" fmla="*/ 108 w 1284"/>
                    <a:gd name="T99" fmla="*/ 6 h 10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284" h="1002">
                      <a:moveTo>
                        <a:pt x="138" y="0"/>
                      </a:moveTo>
                      <a:lnTo>
                        <a:pt x="162" y="0"/>
                      </a:lnTo>
                      <a:lnTo>
                        <a:pt x="186" y="0"/>
                      </a:lnTo>
                      <a:lnTo>
                        <a:pt x="204" y="0"/>
                      </a:lnTo>
                      <a:lnTo>
                        <a:pt x="216" y="0"/>
                      </a:lnTo>
                      <a:lnTo>
                        <a:pt x="228" y="6"/>
                      </a:lnTo>
                      <a:lnTo>
                        <a:pt x="228" y="12"/>
                      </a:lnTo>
                      <a:lnTo>
                        <a:pt x="234" y="24"/>
                      </a:lnTo>
                      <a:lnTo>
                        <a:pt x="234" y="36"/>
                      </a:lnTo>
                      <a:lnTo>
                        <a:pt x="240" y="48"/>
                      </a:lnTo>
                      <a:lnTo>
                        <a:pt x="252" y="54"/>
                      </a:lnTo>
                      <a:lnTo>
                        <a:pt x="264" y="54"/>
                      </a:lnTo>
                      <a:lnTo>
                        <a:pt x="276" y="54"/>
                      </a:lnTo>
                      <a:lnTo>
                        <a:pt x="288" y="48"/>
                      </a:lnTo>
                      <a:lnTo>
                        <a:pt x="300" y="42"/>
                      </a:lnTo>
                      <a:lnTo>
                        <a:pt x="330" y="30"/>
                      </a:lnTo>
                      <a:lnTo>
                        <a:pt x="378" y="30"/>
                      </a:lnTo>
                      <a:lnTo>
                        <a:pt x="414" y="36"/>
                      </a:lnTo>
                      <a:lnTo>
                        <a:pt x="456" y="42"/>
                      </a:lnTo>
                      <a:lnTo>
                        <a:pt x="516" y="42"/>
                      </a:lnTo>
                      <a:lnTo>
                        <a:pt x="594" y="48"/>
                      </a:lnTo>
                      <a:lnTo>
                        <a:pt x="684" y="60"/>
                      </a:lnTo>
                      <a:lnTo>
                        <a:pt x="708" y="60"/>
                      </a:lnTo>
                      <a:lnTo>
                        <a:pt x="726" y="60"/>
                      </a:lnTo>
                      <a:lnTo>
                        <a:pt x="738" y="54"/>
                      </a:lnTo>
                      <a:lnTo>
                        <a:pt x="756" y="48"/>
                      </a:lnTo>
                      <a:lnTo>
                        <a:pt x="810" y="90"/>
                      </a:lnTo>
                      <a:lnTo>
                        <a:pt x="918" y="132"/>
                      </a:lnTo>
                      <a:lnTo>
                        <a:pt x="1026" y="138"/>
                      </a:lnTo>
                      <a:lnTo>
                        <a:pt x="1098" y="144"/>
                      </a:lnTo>
                      <a:lnTo>
                        <a:pt x="1164" y="162"/>
                      </a:lnTo>
                      <a:lnTo>
                        <a:pt x="1230" y="156"/>
                      </a:lnTo>
                      <a:lnTo>
                        <a:pt x="1242" y="162"/>
                      </a:lnTo>
                      <a:lnTo>
                        <a:pt x="1254" y="168"/>
                      </a:lnTo>
                      <a:lnTo>
                        <a:pt x="1266" y="168"/>
                      </a:lnTo>
                      <a:lnTo>
                        <a:pt x="1272" y="168"/>
                      </a:lnTo>
                      <a:lnTo>
                        <a:pt x="1278" y="174"/>
                      </a:lnTo>
                      <a:lnTo>
                        <a:pt x="1284" y="186"/>
                      </a:lnTo>
                      <a:lnTo>
                        <a:pt x="1284" y="192"/>
                      </a:lnTo>
                      <a:lnTo>
                        <a:pt x="1284" y="204"/>
                      </a:lnTo>
                      <a:lnTo>
                        <a:pt x="1278" y="216"/>
                      </a:lnTo>
                      <a:lnTo>
                        <a:pt x="1278" y="234"/>
                      </a:lnTo>
                      <a:lnTo>
                        <a:pt x="1272" y="252"/>
                      </a:lnTo>
                      <a:lnTo>
                        <a:pt x="1260" y="264"/>
                      </a:lnTo>
                      <a:lnTo>
                        <a:pt x="1254" y="282"/>
                      </a:lnTo>
                      <a:lnTo>
                        <a:pt x="1242" y="288"/>
                      </a:lnTo>
                      <a:lnTo>
                        <a:pt x="1212" y="300"/>
                      </a:lnTo>
                      <a:lnTo>
                        <a:pt x="1182" y="324"/>
                      </a:lnTo>
                      <a:lnTo>
                        <a:pt x="1146" y="342"/>
                      </a:lnTo>
                      <a:lnTo>
                        <a:pt x="1104" y="360"/>
                      </a:lnTo>
                      <a:lnTo>
                        <a:pt x="1074" y="366"/>
                      </a:lnTo>
                      <a:lnTo>
                        <a:pt x="1056" y="372"/>
                      </a:lnTo>
                      <a:lnTo>
                        <a:pt x="1038" y="378"/>
                      </a:lnTo>
                      <a:lnTo>
                        <a:pt x="1026" y="390"/>
                      </a:lnTo>
                      <a:lnTo>
                        <a:pt x="1020" y="402"/>
                      </a:lnTo>
                      <a:lnTo>
                        <a:pt x="996" y="432"/>
                      </a:lnTo>
                      <a:lnTo>
                        <a:pt x="966" y="468"/>
                      </a:lnTo>
                      <a:lnTo>
                        <a:pt x="936" y="510"/>
                      </a:lnTo>
                      <a:lnTo>
                        <a:pt x="918" y="540"/>
                      </a:lnTo>
                      <a:lnTo>
                        <a:pt x="906" y="558"/>
                      </a:lnTo>
                      <a:lnTo>
                        <a:pt x="906" y="582"/>
                      </a:lnTo>
                      <a:lnTo>
                        <a:pt x="912" y="600"/>
                      </a:lnTo>
                      <a:lnTo>
                        <a:pt x="918" y="618"/>
                      </a:lnTo>
                      <a:lnTo>
                        <a:pt x="930" y="630"/>
                      </a:lnTo>
                      <a:lnTo>
                        <a:pt x="942" y="636"/>
                      </a:lnTo>
                      <a:lnTo>
                        <a:pt x="948" y="648"/>
                      </a:lnTo>
                      <a:lnTo>
                        <a:pt x="948" y="666"/>
                      </a:lnTo>
                      <a:lnTo>
                        <a:pt x="942" y="678"/>
                      </a:lnTo>
                      <a:lnTo>
                        <a:pt x="936" y="696"/>
                      </a:lnTo>
                      <a:lnTo>
                        <a:pt x="924" y="708"/>
                      </a:lnTo>
                      <a:lnTo>
                        <a:pt x="906" y="720"/>
                      </a:lnTo>
                      <a:lnTo>
                        <a:pt x="894" y="726"/>
                      </a:lnTo>
                      <a:lnTo>
                        <a:pt x="882" y="738"/>
                      </a:lnTo>
                      <a:lnTo>
                        <a:pt x="870" y="750"/>
                      </a:lnTo>
                      <a:lnTo>
                        <a:pt x="864" y="762"/>
                      </a:lnTo>
                      <a:lnTo>
                        <a:pt x="864" y="780"/>
                      </a:lnTo>
                      <a:lnTo>
                        <a:pt x="864" y="798"/>
                      </a:lnTo>
                      <a:lnTo>
                        <a:pt x="864" y="810"/>
                      </a:lnTo>
                      <a:lnTo>
                        <a:pt x="858" y="816"/>
                      </a:lnTo>
                      <a:lnTo>
                        <a:pt x="846" y="822"/>
                      </a:lnTo>
                      <a:lnTo>
                        <a:pt x="840" y="822"/>
                      </a:lnTo>
                      <a:lnTo>
                        <a:pt x="822" y="834"/>
                      </a:lnTo>
                      <a:lnTo>
                        <a:pt x="804" y="840"/>
                      </a:lnTo>
                      <a:lnTo>
                        <a:pt x="786" y="852"/>
                      </a:lnTo>
                      <a:lnTo>
                        <a:pt x="774" y="864"/>
                      </a:lnTo>
                      <a:lnTo>
                        <a:pt x="762" y="876"/>
                      </a:lnTo>
                      <a:lnTo>
                        <a:pt x="756" y="888"/>
                      </a:lnTo>
                      <a:lnTo>
                        <a:pt x="750" y="900"/>
                      </a:lnTo>
                      <a:lnTo>
                        <a:pt x="744" y="918"/>
                      </a:lnTo>
                      <a:lnTo>
                        <a:pt x="732" y="924"/>
                      </a:lnTo>
                      <a:lnTo>
                        <a:pt x="720" y="930"/>
                      </a:lnTo>
                      <a:lnTo>
                        <a:pt x="702" y="930"/>
                      </a:lnTo>
                      <a:lnTo>
                        <a:pt x="666" y="930"/>
                      </a:lnTo>
                      <a:lnTo>
                        <a:pt x="612" y="936"/>
                      </a:lnTo>
                      <a:lnTo>
                        <a:pt x="558" y="942"/>
                      </a:lnTo>
                      <a:lnTo>
                        <a:pt x="522" y="948"/>
                      </a:lnTo>
                      <a:lnTo>
                        <a:pt x="486" y="966"/>
                      </a:lnTo>
                      <a:lnTo>
                        <a:pt x="450" y="984"/>
                      </a:lnTo>
                      <a:lnTo>
                        <a:pt x="414" y="990"/>
                      </a:lnTo>
                      <a:lnTo>
                        <a:pt x="396" y="990"/>
                      </a:lnTo>
                      <a:lnTo>
                        <a:pt x="378" y="996"/>
                      </a:lnTo>
                      <a:lnTo>
                        <a:pt x="360" y="1002"/>
                      </a:lnTo>
                      <a:lnTo>
                        <a:pt x="348" y="1002"/>
                      </a:lnTo>
                      <a:lnTo>
                        <a:pt x="330" y="1002"/>
                      </a:lnTo>
                      <a:lnTo>
                        <a:pt x="318" y="990"/>
                      </a:lnTo>
                      <a:lnTo>
                        <a:pt x="300" y="978"/>
                      </a:lnTo>
                      <a:lnTo>
                        <a:pt x="282" y="966"/>
                      </a:lnTo>
                      <a:lnTo>
                        <a:pt x="270" y="954"/>
                      </a:lnTo>
                      <a:lnTo>
                        <a:pt x="258" y="936"/>
                      </a:lnTo>
                      <a:lnTo>
                        <a:pt x="252" y="918"/>
                      </a:lnTo>
                      <a:lnTo>
                        <a:pt x="240" y="906"/>
                      </a:lnTo>
                      <a:lnTo>
                        <a:pt x="228" y="900"/>
                      </a:lnTo>
                      <a:lnTo>
                        <a:pt x="216" y="888"/>
                      </a:lnTo>
                      <a:lnTo>
                        <a:pt x="198" y="888"/>
                      </a:lnTo>
                      <a:lnTo>
                        <a:pt x="186" y="882"/>
                      </a:lnTo>
                      <a:lnTo>
                        <a:pt x="192" y="792"/>
                      </a:lnTo>
                      <a:lnTo>
                        <a:pt x="222" y="726"/>
                      </a:lnTo>
                      <a:lnTo>
                        <a:pt x="204" y="684"/>
                      </a:lnTo>
                      <a:lnTo>
                        <a:pt x="216" y="606"/>
                      </a:lnTo>
                      <a:lnTo>
                        <a:pt x="192" y="552"/>
                      </a:lnTo>
                      <a:lnTo>
                        <a:pt x="228" y="510"/>
                      </a:lnTo>
                      <a:lnTo>
                        <a:pt x="246" y="384"/>
                      </a:lnTo>
                      <a:lnTo>
                        <a:pt x="252" y="288"/>
                      </a:lnTo>
                      <a:lnTo>
                        <a:pt x="228" y="264"/>
                      </a:lnTo>
                      <a:lnTo>
                        <a:pt x="162" y="276"/>
                      </a:lnTo>
                      <a:lnTo>
                        <a:pt x="120" y="240"/>
                      </a:lnTo>
                      <a:lnTo>
                        <a:pt x="42" y="222"/>
                      </a:lnTo>
                      <a:lnTo>
                        <a:pt x="42" y="222"/>
                      </a:lnTo>
                      <a:lnTo>
                        <a:pt x="36" y="216"/>
                      </a:lnTo>
                      <a:lnTo>
                        <a:pt x="36" y="210"/>
                      </a:lnTo>
                      <a:lnTo>
                        <a:pt x="30" y="204"/>
                      </a:lnTo>
                      <a:lnTo>
                        <a:pt x="18" y="192"/>
                      </a:lnTo>
                      <a:lnTo>
                        <a:pt x="12" y="180"/>
                      </a:lnTo>
                      <a:lnTo>
                        <a:pt x="12" y="162"/>
                      </a:lnTo>
                      <a:lnTo>
                        <a:pt x="6" y="138"/>
                      </a:lnTo>
                      <a:lnTo>
                        <a:pt x="0" y="120"/>
                      </a:lnTo>
                      <a:lnTo>
                        <a:pt x="0" y="102"/>
                      </a:lnTo>
                      <a:lnTo>
                        <a:pt x="6" y="84"/>
                      </a:lnTo>
                      <a:lnTo>
                        <a:pt x="18" y="72"/>
                      </a:lnTo>
                      <a:lnTo>
                        <a:pt x="36" y="66"/>
                      </a:lnTo>
                      <a:lnTo>
                        <a:pt x="54" y="66"/>
                      </a:lnTo>
                      <a:lnTo>
                        <a:pt x="72" y="60"/>
                      </a:lnTo>
                      <a:lnTo>
                        <a:pt x="84" y="54"/>
                      </a:lnTo>
                      <a:lnTo>
                        <a:pt x="90" y="48"/>
                      </a:lnTo>
                      <a:lnTo>
                        <a:pt x="90" y="42"/>
                      </a:lnTo>
                      <a:lnTo>
                        <a:pt x="90" y="36"/>
                      </a:lnTo>
                      <a:lnTo>
                        <a:pt x="96" y="24"/>
                      </a:lnTo>
                      <a:lnTo>
                        <a:pt x="96" y="18"/>
                      </a:lnTo>
                      <a:lnTo>
                        <a:pt x="102" y="12"/>
                      </a:lnTo>
                      <a:lnTo>
                        <a:pt x="108" y="6"/>
                      </a:lnTo>
                      <a:lnTo>
                        <a:pt x="120" y="0"/>
                      </a:lnTo>
                      <a:lnTo>
                        <a:pt x="13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1" name="Freeform 61">
                  <a:extLst>
                    <a:ext uri="{FF2B5EF4-FFF2-40B4-BE49-F238E27FC236}">
                      <a16:creationId xmlns:a16="http://schemas.microsoft.com/office/drawing/2014/main" id="{03F055F1-6D26-4BEA-A3D0-2CA254648C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7" y="-1500"/>
                  <a:ext cx="294" cy="684"/>
                </a:xfrm>
                <a:custGeom>
                  <a:avLst/>
                  <a:gdLst>
                    <a:gd name="T0" fmla="*/ 84 w 294"/>
                    <a:gd name="T1" fmla="*/ 0 h 684"/>
                    <a:gd name="T2" fmla="*/ 162 w 294"/>
                    <a:gd name="T3" fmla="*/ 18 h 684"/>
                    <a:gd name="T4" fmla="*/ 204 w 294"/>
                    <a:gd name="T5" fmla="*/ 54 h 684"/>
                    <a:gd name="T6" fmla="*/ 270 w 294"/>
                    <a:gd name="T7" fmla="*/ 42 h 684"/>
                    <a:gd name="T8" fmla="*/ 294 w 294"/>
                    <a:gd name="T9" fmla="*/ 66 h 684"/>
                    <a:gd name="T10" fmla="*/ 288 w 294"/>
                    <a:gd name="T11" fmla="*/ 162 h 684"/>
                    <a:gd name="T12" fmla="*/ 270 w 294"/>
                    <a:gd name="T13" fmla="*/ 288 h 684"/>
                    <a:gd name="T14" fmla="*/ 234 w 294"/>
                    <a:gd name="T15" fmla="*/ 330 h 684"/>
                    <a:gd name="T16" fmla="*/ 258 w 294"/>
                    <a:gd name="T17" fmla="*/ 384 h 684"/>
                    <a:gd name="T18" fmla="*/ 252 w 294"/>
                    <a:gd name="T19" fmla="*/ 462 h 684"/>
                    <a:gd name="T20" fmla="*/ 270 w 294"/>
                    <a:gd name="T21" fmla="*/ 504 h 684"/>
                    <a:gd name="T22" fmla="*/ 234 w 294"/>
                    <a:gd name="T23" fmla="*/ 570 h 684"/>
                    <a:gd name="T24" fmla="*/ 228 w 294"/>
                    <a:gd name="T25" fmla="*/ 660 h 684"/>
                    <a:gd name="T26" fmla="*/ 216 w 294"/>
                    <a:gd name="T27" fmla="*/ 660 h 684"/>
                    <a:gd name="T28" fmla="*/ 198 w 294"/>
                    <a:gd name="T29" fmla="*/ 660 h 684"/>
                    <a:gd name="T30" fmla="*/ 138 w 294"/>
                    <a:gd name="T31" fmla="*/ 666 h 684"/>
                    <a:gd name="T32" fmla="*/ 78 w 294"/>
                    <a:gd name="T33" fmla="*/ 684 h 684"/>
                    <a:gd name="T34" fmla="*/ 60 w 294"/>
                    <a:gd name="T35" fmla="*/ 684 h 684"/>
                    <a:gd name="T36" fmla="*/ 48 w 294"/>
                    <a:gd name="T37" fmla="*/ 684 h 684"/>
                    <a:gd name="T38" fmla="*/ 42 w 294"/>
                    <a:gd name="T39" fmla="*/ 678 h 684"/>
                    <a:gd name="T40" fmla="*/ 42 w 294"/>
                    <a:gd name="T41" fmla="*/ 666 h 684"/>
                    <a:gd name="T42" fmla="*/ 48 w 294"/>
                    <a:gd name="T43" fmla="*/ 648 h 684"/>
                    <a:gd name="T44" fmla="*/ 54 w 294"/>
                    <a:gd name="T45" fmla="*/ 618 h 684"/>
                    <a:gd name="T46" fmla="*/ 54 w 294"/>
                    <a:gd name="T47" fmla="*/ 588 h 684"/>
                    <a:gd name="T48" fmla="*/ 54 w 294"/>
                    <a:gd name="T49" fmla="*/ 558 h 684"/>
                    <a:gd name="T50" fmla="*/ 54 w 294"/>
                    <a:gd name="T51" fmla="*/ 540 h 684"/>
                    <a:gd name="T52" fmla="*/ 54 w 294"/>
                    <a:gd name="T53" fmla="*/ 528 h 684"/>
                    <a:gd name="T54" fmla="*/ 48 w 294"/>
                    <a:gd name="T55" fmla="*/ 516 h 684"/>
                    <a:gd name="T56" fmla="*/ 36 w 294"/>
                    <a:gd name="T57" fmla="*/ 516 h 684"/>
                    <a:gd name="T58" fmla="*/ 24 w 294"/>
                    <a:gd name="T59" fmla="*/ 510 h 684"/>
                    <a:gd name="T60" fmla="*/ 24 w 294"/>
                    <a:gd name="T61" fmla="*/ 504 h 684"/>
                    <a:gd name="T62" fmla="*/ 24 w 294"/>
                    <a:gd name="T63" fmla="*/ 498 h 684"/>
                    <a:gd name="T64" fmla="*/ 24 w 294"/>
                    <a:gd name="T65" fmla="*/ 486 h 684"/>
                    <a:gd name="T66" fmla="*/ 18 w 294"/>
                    <a:gd name="T67" fmla="*/ 480 h 684"/>
                    <a:gd name="T68" fmla="*/ 18 w 294"/>
                    <a:gd name="T69" fmla="*/ 468 h 684"/>
                    <a:gd name="T70" fmla="*/ 6 w 294"/>
                    <a:gd name="T71" fmla="*/ 462 h 684"/>
                    <a:gd name="T72" fmla="*/ 0 w 294"/>
                    <a:gd name="T73" fmla="*/ 450 h 684"/>
                    <a:gd name="T74" fmla="*/ 0 w 294"/>
                    <a:gd name="T75" fmla="*/ 420 h 684"/>
                    <a:gd name="T76" fmla="*/ 18 w 294"/>
                    <a:gd name="T77" fmla="*/ 390 h 684"/>
                    <a:gd name="T78" fmla="*/ 36 w 294"/>
                    <a:gd name="T79" fmla="*/ 360 h 684"/>
                    <a:gd name="T80" fmla="*/ 54 w 294"/>
                    <a:gd name="T81" fmla="*/ 336 h 684"/>
                    <a:gd name="T82" fmla="*/ 66 w 294"/>
                    <a:gd name="T83" fmla="*/ 306 h 684"/>
                    <a:gd name="T84" fmla="*/ 66 w 294"/>
                    <a:gd name="T85" fmla="*/ 264 h 684"/>
                    <a:gd name="T86" fmla="*/ 66 w 294"/>
                    <a:gd name="T87" fmla="*/ 222 h 684"/>
                    <a:gd name="T88" fmla="*/ 72 w 294"/>
                    <a:gd name="T89" fmla="*/ 186 h 684"/>
                    <a:gd name="T90" fmla="*/ 78 w 294"/>
                    <a:gd name="T91" fmla="*/ 168 h 684"/>
                    <a:gd name="T92" fmla="*/ 78 w 294"/>
                    <a:gd name="T93" fmla="*/ 150 h 684"/>
                    <a:gd name="T94" fmla="*/ 72 w 294"/>
                    <a:gd name="T95" fmla="*/ 138 h 684"/>
                    <a:gd name="T96" fmla="*/ 66 w 294"/>
                    <a:gd name="T97" fmla="*/ 120 h 684"/>
                    <a:gd name="T98" fmla="*/ 60 w 294"/>
                    <a:gd name="T99" fmla="*/ 114 h 684"/>
                    <a:gd name="T100" fmla="*/ 60 w 294"/>
                    <a:gd name="T101" fmla="*/ 96 h 684"/>
                    <a:gd name="T102" fmla="*/ 54 w 294"/>
                    <a:gd name="T103" fmla="*/ 78 h 684"/>
                    <a:gd name="T104" fmla="*/ 60 w 294"/>
                    <a:gd name="T105" fmla="*/ 60 h 684"/>
                    <a:gd name="T106" fmla="*/ 60 w 294"/>
                    <a:gd name="T107" fmla="*/ 48 h 684"/>
                    <a:gd name="T108" fmla="*/ 66 w 294"/>
                    <a:gd name="T109" fmla="*/ 36 h 684"/>
                    <a:gd name="T110" fmla="*/ 72 w 294"/>
                    <a:gd name="T111" fmla="*/ 24 h 684"/>
                    <a:gd name="T112" fmla="*/ 78 w 294"/>
                    <a:gd name="T113" fmla="*/ 12 h 684"/>
                    <a:gd name="T114" fmla="*/ 84 w 294"/>
                    <a:gd name="T115" fmla="*/ 0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94" h="684">
                      <a:moveTo>
                        <a:pt x="84" y="0"/>
                      </a:moveTo>
                      <a:lnTo>
                        <a:pt x="162" y="18"/>
                      </a:lnTo>
                      <a:lnTo>
                        <a:pt x="204" y="54"/>
                      </a:lnTo>
                      <a:lnTo>
                        <a:pt x="270" y="42"/>
                      </a:lnTo>
                      <a:lnTo>
                        <a:pt x="294" y="66"/>
                      </a:lnTo>
                      <a:lnTo>
                        <a:pt x="288" y="162"/>
                      </a:lnTo>
                      <a:lnTo>
                        <a:pt x="270" y="288"/>
                      </a:lnTo>
                      <a:lnTo>
                        <a:pt x="234" y="330"/>
                      </a:lnTo>
                      <a:lnTo>
                        <a:pt x="258" y="384"/>
                      </a:lnTo>
                      <a:lnTo>
                        <a:pt x="252" y="462"/>
                      </a:lnTo>
                      <a:lnTo>
                        <a:pt x="270" y="504"/>
                      </a:lnTo>
                      <a:lnTo>
                        <a:pt x="234" y="570"/>
                      </a:lnTo>
                      <a:lnTo>
                        <a:pt x="228" y="660"/>
                      </a:lnTo>
                      <a:lnTo>
                        <a:pt x="216" y="660"/>
                      </a:lnTo>
                      <a:lnTo>
                        <a:pt x="198" y="660"/>
                      </a:lnTo>
                      <a:lnTo>
                        <a:pt x="138" y="666"/>
                      </a:lnTo>
                      <a:lnTo>
                        <a:pt x="78" y="684"/>
                      </a:lnTo>
                      <a:lnTo>
                        <a:pt x="60" y="684"/>
                      </a:lnTo>
                      <a:lnTo>
                        <a:pt x="48" y="684"/>
                      </a:lnTo>
                      <a:lnTo>
                        <a:pt x="42" y="678"/>
                      </a:lnTo>
                      <a:lnTo>
                        <a:pt x="42" y="666"/>
                      </a:lnTo>
                      <a:lnTo>
                        <a:pt x="48" y="648"/>
                      </a:lnTo>
                      <a:lnTo>
                        <a:pt x="54" y="618"/>
                      </a:lnTo>
                      <a:lnTo>
                        <a:pt x="54" y="588"/>
                      </a:lnTo>
                      <a:lnTo>
                        <a:pt x="54" y="558"/>
                      </a:lnTo>
                      <a:lnTo>
                        <a:pt x="54" y="540"/>
                      </a:lnTo>
                      <a:lnTo>
                        <a:pt x="54" y="528"/>
                      </a:lnTo>
                      <a:lnTo>
                        <a:pt x="48" y="516"/>
                      </a:lnTo>
                      <a:lnTo>
                        <a:pt x="36" y="516"/>
                      </a:lnTo>
                      <a:lnTo>
                        <a:pt x="24" y="510"/>
                      </a:lnTo>
                      <a:lnTo>
                        <a:pt x="24" y="504"/>
                      </a:lnTo>
                      <a:lnTo>
                        <a:pt x="24" y="498"/>
                      </a:lnTo>
                      <a:lnTo>
                        <a:pt x="24" y="486"/>
                      </a:lnTo>
                      <a:lnTo>
                        <a:pt x="18" y="480"/>
                      </a:lnTo>
                      <a:lnTo>
                        <a:pt x="18" y="468"/>
                      </a:lnTo>
                      <a:lnTo>
                        <a:pt x="6" y="462"/>
                      </a:lnTo>
                      <a:lnTo>
                        <a:pt x="0" y="450"/>
                      </a:lnTo>
                      <a:lnTo>
                        <a:pt x="0" y="420"/>
                      </a:lnTo>
                      <a:lnTo>
                        <a:pt x="18" y="390"/>
                      </a:lnTo>
                      <a:lnTo>
                        <a:pt x="36" y="360"/>
                      </a:lnTo>
                      <a:lnTo>
                        <a:pt x="54" y="336"/>
                      </a:lnTo>
                      <a:lnTo>
                        <a:pt x="66" y="306"/>
                      </a:lnTo>
                      <a:lnTo>
                        <a:pt x="66" y="264"/>
                      </a:lnTo>
                      <a:lnTo>
                        <a:pt x="66" y="222"/>
                      </a:lnTo>
                      <a:lnTo>
                        <a:pt x="72" y="186"/>
                      </a:lnTo>
                      <a:lnTo>
                        <a:pt x="78" y="168"/>
                      </a:lnTo>
                      <a:lnTo>
                        <a:pt x="78" y="150"/>
                      </a:lnTo>
                      <a:lnTo>
                        <a:pt x="72" y="138"/>
                      </a:lnTo>
                      <a:lnTo>
                        <a:pt x="66" y="120"/>
                      </a:lnTo>
                      <a:lnTo>
                        <a:pt x="60" y="114"/>
                      </a:lnTo>
                      <a:lnTo>
                        <a:pt x="60" y="96"/>
                      </a:lnTo>
                      <a:lnTo>
                        <a:pt x="54" y="78"/>
                      </a:lnTo>
                      <a:lnTo>
                        <a:pt x="60" y="60"/>
                      </a:lnTo>
                      <a:lnTo>
                        <a:pt x="60" y="48"/>
                      </a:lnTo>
                      <a:lnTo>
                        <a:pt x="66" y="36"/>
                      </a:lnTo>
                      <a:lnTo>
                        <a:pt x="72" y="24"/>
                      </a:lnTo>
                      <a:lnTo>
                        <a:pt x="78" y="12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2" name="Freeform 62">
                  <a:extLst>
                    <a:ext uri="{FF2B5EF4-FFF2-40B4-BE49-F238E27FC236}">
                      <a16:creationId xmlns:a16="http://schemas.microsoft.com/office/drawing/2014/main" id="{DC340A90-9A96-4B05-AABB-75EDCF1F34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47" y="-3384"/>
                  <a:ext cx="228" cy="174"/>
                </a:xfrm>
                <a:custGeom>
                  <a:avLst/>
                  <a:gdLst>
                    <a:gd name="T0" fmla="*/ 108 w 228"/>
                    <a:gd name="T1" fmla="*/ 0 h 174"/>
                    <a:gd name="T2" fmla="*/ 126 w 228"/>
                    <a:gd name="T3" fmla="*/ 0 h 174"/>
                    <a:gd name="T4" fmla="*/ 150 w 228"/>
                    <a:gd name="T5" fmla="*/ 12 h 174"/>
                    <a:gd name="T6" fmla="*/ 162 w 228"/>
                    <a:gd name="T7" fmla="*/ 18 h 174"/>
                    <a:gd name="T8" fmla="*/ 174 w 228"/>
                    <a:gd name="T9" fmla="*/ 24 h 174"/>
                    <a:gd name="T10" fmla="*/ 180 w 228"/>
                    <a:gd name="T11" fmla="*/ 30 h 174"/>
                    <a:gd name="T12" fmla="*/ 186 w 228"/>
                    <a:gd name="T13" fmla="*/ 36 h 174"/>
                    <a:gd name="T14" fmla="*/ 186 w 228"/>
                    <a:gd name="T15" fmla="*/ 48 h 174"/>
                    <a:gd name="T16" fmla="*/ 180 w 228"/>
                    <a:gd name="T17" fmla="*/ 60 h 174"/>
                    <a:gd name="T18" fmla="*/ 174 w 228"/>
                    <a:gd name="T19" fmla="*/ 66 h 174"/>
                    <a:gd name="T20" fmla="*/ 180 w 228"/>
                    <a:gd name="T21" fmla="*/ 78 h 174"/>
                    <a:gd name="T22" fmla="*/ 180 w 228"/>
                    <a:gd name="T23" fmla="*/ 84 h 174"/>
                    <a:gd name="T24" fmla="*/ 192 w 228"/>
                    <a:gd name="T25" fmla="*/ 90 h 174"/>
                    <a:gd name="T26" fmla="*/ 198 w 228"/>
                    <a:gd name="T27" fmla="*/ 96 h 174"/>
                    <a:gd name="T28" fmla="*/ 204 w 228"/>
                    <a:gd name="T29" fmla="*/ 102 h 174"/>
                    <a:gd name="T30" fmla="*/ 210 w 228"/>
                    <a:gd name="T31" fmla="*/ 108 h 174"/>
                    <a:gd name="T32" fmla="*/ 216 w 228"/>
                    <a:gd name="T33" fmla="*/ 114 h 174"/>
                    <a:gd name="T34" fmla="*/ 222 w 228"/>
                    <a:gd name="T35" fmla="*/ 120 h 174"/>
                    <a:gd name="T36" fmla="*/ 222 w 228"/>
                    <a:gd name="T37" fmla="*/ 126 h 174"/>
                    <a:gd name="T38" fmla="*/ 228 w 228"/>
                    <a:gd name="T39" fmla="*/ 138 h 174"/>
                    <a:gd name="T40" fmla="*/ 228 w 228"/>
                    <a:gd name="T41" fmla="*/ 144 h 174"/>
                    <a:gd name="T42" fmla="*/ 222 w 228"/>
                    <a:gd name="T43" fmla="*/ 150 h 174"/>
                    <a:gd name="T44" fmla="*/ 216 w 228"/>
                    <a:gd name="T45" fmla="*/ 156 h 174"/>
                    <a:gd name="T46" fmla="*/ 204 w 228"/>
                    <a:gd name="T47" fmla="*/ 162 h 174"/>
                    <a:gd name="T48" fmla="*/ 186 w 228"/>
                    <a:gd name="T49" fmla="*/ 162 h 174"/>
                    <a:gd name="T50" fmla="*/ 174 w 228"/>
                    <a:gd name="T51" fmla="*/ 168 h 174"/>
                    <a:gd name="T52" fmla="*/ 168 w 228"/>
                    <a:gd name="T53" fmla="*/ 174 h 174"/>
                    <a:gd name="T54" fmla="*/ 168 w 228"/>
                    <a:gd name="T55" fmla="*/ 174 h 174"/>
                    <a:gd name="T56" fmla="*/ 114 w 228"/>
                    <a:gd name="T57" fmla="*/ 168 h 174"/>
                    <a:gd name="T58" fmla="*/ 78 w 228"/>
                    <a:gd name="T59" fmla="*/ 156 h 174"/>
                    <a:gd name="T60" fmla="*/ 30 w 228"/>
                    <a:gd name="T61" fmla="*/ 150 h 174"/>
                    <a:gd name="T62" fmla="*/ 0 w 228"/>
                    <a:gd name="T63" fmla="*/ 120 h 174"/>
                    <a:gd name="T64" fmla="*/ 12 w 228"/>
                    <a:gd name="T65" fmla="*/ 84 h 174"/>
                    <a:gd name="T66" fmla="*/ 66 w 228"/>
                    <a:gd name="T67" fmla="*/ 54 h 174"/>
                    <a:gd name="T68" fmla="*/ 66 w 228"/>
                    <a:gd name="T69" fmla="*/ 18 h 174"/>
                    <a:gd name="T70" fmla="*/ 66 w 228"/>
                    <a:gd name="T71" fmla="*/ 18 h 174"/>
                    <a:gd name="T72" fmla="*/ 72 w 228"/>
                    <a:gd name="T73" fmla="*/ 18 h 174"/>
                    <a:gd name="T74" fmla="*/ 78 w 228"/>
                    <a:gd name="T75" fmla="*/ 12 h 174"/>
                    <a:gd name="T76" fmla="*/ 90 w 228"/>
                    <a:gd name="T77" fmla="*/ 0 h 174"/>
                    <a:gd name="T78" fmla="*/ 108 w 228"/>
                    <a:gd name="T79" fmla="*/ 0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28" h="174">
                      <a:moveTo>
                        <a:pt x="108" y="0"/>
                      </a:moveTo>
                      <a:lnTo>
                        <a:pt x="126" y="0"/>
                      </a:lnTo>
                      <a:lnTo>
                        <a:pt x="150" y="12"/>
                      </a:lnTo>
                      <a:lnTo>
                        <a:pt x="162" y="18"/>
                      </a:lnTo>
                      <a:lnTo>
                        <a:pt x="174" y="24"/>
                      </a:lnTo>
                      <a:lnTo>
                        <a:pt x="180" y="30"/>
                      </a:lnTo>
                      <a:lnTo>
                        <a:pt x="186" y="36"/>
                      </a:lnTo>
                      <a:lnTo>
                        <a:pt x="186" y="48"/>
                      </a:lnTo>
                      <a:lnTo>
                        <a:pt x="180" y="60"/>
                      </a:lnTo>
                      <a:lnTo>
                        <a:pt x="174" y="66"/>
                      </a:lnTo>
                      <a:lnTo>
                        <a:pt x="180" y="78"/>
                      </a:lnTo>
                      <a:lnTo>
                        <a:pt x="180" y="84"/>
                      </a:lnTo>
                      <a:lnTo>
                        <a:pt x="192" y="90"/>
                      </a:lnTo>
                      <a:lnTo>
                        <a:pt x="198" y="96"/>
                      </a:lnTo>
                      <a:lnTo>
                        <a:pt x="204" y="102"/>
                      </a:lnTo>
                      <a:lnTo>
                        <a:pt x="210" y="108"/>
                      </a:lnTo>
                      <a:lnTo>
                        <a:pt x="216" y="114"/>
                      </a:lnTo>
                      <a:lnTo>
                        <a:pt x="222" y="120"/>
                      </a:lnTo>
                      <a:lnTo>
                        <a:pt x="222" y="126"/>
                      </a:lnTo>
                      <a:lnTo>
                        <a:pt x="228" y="138"/>
                      </a:lnTo>
                      <a:lnTo>
                        <a:pt x="228" y="144"/>
                      </a:lnTo>
                      <a:lnTo>
                        <a:pt x="222" y="150"/>
                      </a:lnTo>
                      <a:lnTo>
                        <a:pt x="216" y="156"/>
                      </a:lnTo>
                      <a:lnTo>
                        <a:pt x="204" y="162"/>
                      </a:lnTo>
                      <a:lnTo>
                        <a:pt x="186" y="162"/>
                      </a:lnTo>
                      <a:lnTo>
                        <a:pt x="174" y="168"/>
                      </a:lnTo>
                      <a:lnTo>
                        <a:pt x="168" y="174"/>
                      </a:lnTo>
                      <a:lnTo>
                        <a:pt x="168" y="174"/>
                      </a:lnTo>
                      <a:lnTo>
                        <a:pt x="114" y="168"/>
                      </a:lnTo>
                      <a:lnTo>
                        <a:pt x="78" y="156"/>
                      </a:lnTo>
                      <a:lnTo>
                        <a:pt x="30" y="150"/>
                      </a:lnTo>
                      <a:lnTo>
                        <a:pt x="0" y="120"/>
                      </a:lnTo>
                      <a:lnTo>
                        <a:pt x="12" y="84"/>
                      </a:lnTo>
                      <a:lnTo>
                        <a:pt x="66" y="54"/>
                      </a:lnTo>
                      <a:lnTo>
                        <a:pt x="66" y="18"/>
                      </a:lnTo>
                      <a:lnTo>
                        <a:pt x="66" y="18"/>
                      </a:lnTo>
                      <a:lnTo>
                        <a:pt x="72" y="18"/>
                      </a:lnTo>
                      <a:lnTo>
                        <a:pt x="78" y="12"/>
                      </a:lnTo>
                      <a:lnTo>
                        <a:pt x="90" y="0"/>
                      </a:lnTo>
                      <a:lnTo>
                        <a:pt x="10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3" name="Freeform 63">
                  <a:extLst>
                    <a:ext uri="{FF2B5EF4-FFF2-40B4-BE49-F238E27FC236}">
                      <a16:creationId xmlns:a16="http://schemas.microsoft.com/office/drawing/2014/main" id="{E9243140-A590-4FEE-9D72-AB3769E4A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35" y="-3378"/>
                  <a:ext cx="474" cy="540"/>
                </a:xfrm>
                <a:custGeom>
                  <a:avLst/>
                  <a:gdLst>
                    <a:gd name="T0" fmla="*/ 324 w 474"/>
                    <a:gd name="T1" fmla="*/ 6 h 540"/>
                    <a:gd name="T2" fmla="*/ 354 w 474"/>
                    <a:gd name="T3" fmla="*/ 12 h 540"/>
                    <a:gd name="T4" fmla="*/ 300 w 474"/>
                    <a:gd name="T5" fmla="*/ 78 h 540"/>
                    <a:gd name="T6" fmla="*/ 366 w 474"/>
                    <a:gd name="T7" fmla="*/ 150 h 540"/>
                    <a:gd name="T8" fmla="*/ 456 w 474"/>
                    <a:gd name="T9" fmla="*/ 168 h 540"/>
                    <a:gd name="T10" fmla="*/ 462 w 474"/>
                    <a:gd name="T11" fmla="*/ 204 h 540"/>
                    <a:gd name="T12" fmla="*/ 474 w 474"/>
                    <a:gd name="T13" fmla="*/ 240 h 540"/>
                    <a:gd name="T14" fmla="*/ 462 w 474"/>
                    <a:gd name="T15" fmla="*/ 300 h 540"/>
                    <a:gd name="T16" fmla="*/ 462 w 474"/>
                    <a:gd name="T17" fmla="*/ 384 h 540"/>
                    <a:gd name="T18" fmla="*/ 444 w 474"/>
                    <a:gd name="T19" fmla="*/ 414 h 540"/>
                    <a:gd name="T20" fmla="*/ 444 w 474"/>
                    <a:gd name="T21" fmla="*/ 432 h 540"/>
                    <a:gd name="T22" fmla="*/ 438 w 474"/>
                    <a:gd name="T23" fmla="*/ 456 h 540"/>
                    <a:gd name="T24" fmla="*/ 384 w 474"/>
                    <a:gd name="T25" fmla="*/ 468 h 540"/>
                    <a:gd name="T26" fmla="*/ 306 w 474"/>
                    <a:gd name="T27" fmla="*/ 474 h 540"/>
                    <a:gd name="T28" fmla="*/ 234 w 474"/>
                    <a:gd name="T29" fmla="*/ 528 h 540"/>
                    <a:gd name="T30" fmla="*/ 132 w 474"/>
                    <a:gd name="T31" fmla="*/ 534 h 540"/>
                    <a:gd name="T32" fmla="*/ 114 w 474"/>
                    <a:gd name="T33" fmla="*/ 504 h 540"/>
                    <a:gd name="T34" fmla="*/ 78 w 474"/>
                    <a:gd name="T35" fmla="*/ 516 h 540"/>
                    <a:gd name="T36" fmla="*/ 42 w 474"/>
                    <a:gd name="T37" fmla="*/ 540 h 540"/>
                    <a:gd name="T38" fmla="*/ 30 w 474"/>
                    <a:gd name="T39" fmla="*/ 516 h 540"/>
                    <a:gd name="T40" fmla="*/ 36 w 474"/>
                    <a:gd name="T41" fmla="*/ 492 h 540"/>
                    <a:gd name="T42" fmla="*/ 12 w 474"/>
                    <a:gd name="T43" fmla="*/ 486 h 540"/>
                    <a:gd name="T44" fmla="*/ 0 w 474"/>
                    <a:gd name="T45" fmla="*/ 474 h 540"/>
                    <a:gd name="T46" fmla="*/ 18 w 474"/>
                    <a:gd name="T47" fmla="*/ 450 h 540"/>
                    <a:gd name="T48" fmla="*/ 36 w 474"/>
                    <a:gd name="T49" fmla="*/ 426 h 540"/>
                    <a:gd name="T50" fmla="*/ 42 w 474"/>
                    <a:gd name="T51" fmla="*/ 396 h 540"/>
                    <a:gd name="T52" fmla="*/ 78 w 474"/>
                    <a:gd name="T53" fmla="*/ 390 h 540"/>
                    <a:gd name="T54" fmla="*/ 132 w 474"/>
                    <a:gd name="T55" fmla="*/ 390 h 540"/>
                    <a:gd name="T56" fmla="*/ 150 w 474"/>
                    <a:gd name="T57" fmla="*/ 378 h 540"/>
                    <a:gd name="T58" fmla="*/ 126 w 474"/>
                    <a:gd name="T59" fmla="*/ 348 h 540"/>
                    <a:gd name="T60" fmla="*/ 72 w 474"/>
                    <a:gd name="T61" fmla="*/ 342 h 540"/>
                    <a:gd name="T62" fmla="*/ 72 w 474"/>
                    <a:gd name="T63" fmla="*/ 324 h 540"/>
                    <a:gd name="T64" fmla="*/ 108 w 474"/>
                    <a:gd name="T65" fmla="*/ 300 h 540"/>
                    <a:gd name="T66" fmla="*/ 144 w 474"/>
                    <a:gd name="T67" fmla="*/ 294 h 540"/>
                    <a:gd name="T68" fmla="*/ 162 w 474"/>
                    <a:gd name="T69" fmla="*/ 276 h 540"/>
                    <a:gd name="T70" fmla="*/ 162 w 474"/>
                    <a:gd name="T71" fmla="*/ 246 h 540"/>
                    <a:gd name="T72" fmla="*/ 126 w 474"/>
                    <a:gd name="T73" fmla="*/ 246 h 540"/>
                    <a:gd name="T74" fmla="*/ 84 w 474"/>
                    <a:gd name="T75" fmla="*/ 234 h 540"/>
                    <a:gd name="T76" fmla="*/ 54 w 474"/>
                    <a:gd name="T77" fmla="*/ 204 h 540"/>
                    <a:gd name="T78" fmla="*/ 72 w 474"/>
                    <a:gd name="T79" fmla="*/ 192 h 540"/>
                    <a:gd name="T80" fmla="*/ 78 w 474"/>
                    <a:gd name="T81" fmla="*/ 168 h 540"/>
                    <a:gd name="T82" fmla="*/ 66 w 474"/>
                    <a:gd name="T83" fmla="*/ 150 h 540"/>
                    <a:gd name="T84" fmla="*/ 96 w 474"/>
                    <a:gd name="T85" fmla="*/ 126 h 540"/>
                    <a:gd name="T86" fmla="*/ 144 w 474"/>
                    <a:gd name="T87" fmla="*/ 120 h 540"/>
                    <a:gd name="T88" fmla="*/ 192 w 474"/>
                    <a:gd name="T89" fmla="*/ 144 h 540"/>
                    <a:gd name="T90" fmla="*/ 216 w 474"/>
                    <a:gd name="T91" fmla="*/ 126 h 540"/>
                    <a:gd name="T92" fmla="*/ 216 w 474"/>
                    <a:gd name="T93" fmla="*/ 90 h 540"/>
                    <a:gd name="T94" fmla="*/ 204 w 474"/>
                    <a:gd name="T95" fmla="*/ 60 h 540"/>
                    <a:gd name="T96" fmla="*/ 240 w 474"/>
                    <a:gd name="T97" fmla="*/ 18 h 540"/>
                    <a:gd name="T98" fmla="*/ 282 w 474"/>
                    <a:gd name="T99" fmla="*/ 0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474" h="540">
                      <a:moveTo>
                        <a:pt x="300" y="0"/>
                      </a:moveTo>
                      <a:lnTo>
                        <a:pt x="312" y="0"/>
                      </a:lnTo>
                      <a:lnTo>
                        <a:pt x="324" y="6"/>
                      </a:lnTo>
                      <a:lnTo>
                        <a:pt x="336" y="12"/>
                      </a:lnTo>
                      <a:lnTo>
                        <a:pt x="342" y="12"/>
                      </a:lnTo>
                      <a:lnTo>
                        <a:pt x="354" y="12"/>
                      </a:lnTo>
                      <a:lnTo>
                        <a:pt x="354" y="12"/>
                      </a:lnTo>
                      <a:lnTo>
                        <a:pt x="354" y="48"/>
                      </a:lnTo>
                      <a:lnTo>
                        <a:pt x="300" y="78"/>
                      </a:lnTo>
                      <a:lnTo>
                        <a:pt x="288" y="114"/>
                      </a:lnTo>
                      <a:lnTo>
                        <a:pt x="318" y="144"/>
                      </a:lnTo>
                      <a:lnTo>
                        <a:pt x="366" y="150"/>
                      </a:lnTo>
                      <a:lnTo>
                        <a:pt x="408" y="162"/>
                      </a:lnTo>
                      <a:lnTo>
                        <a:pt x="456" y="168"/>
                      </a:lnTo>
                      <a:lnTo>
                        <a:pt x="456" y="168"/>
                      </a:lnTo>
                      <a:lnTo>
                        <a:pt x="456" y="180"/>
                      </a:lnTo>
                      <a:lnTo>
                        <a:pt x="456" y="192"/>
                      </a:lnTo>
                      <a:lnTo>
                        <a:pt x="462" y="204"/>
                      </a:lnTo>
                      <a:lnTo>
                        <a:pt x="468" y="222"/>
                      </a:lnTo>
                      <a:lnTo>
                        <a:pt x="474" y="234"/>
                      </a:lnTo>
                      <a:lnTo>
                        <a:pt x="474" y="240"/>
                      </a:lnTo>
                      <a:lnTo>
                        <a:pt x="474" y="252"/>
                      </a:lnTo>
                      <a:lnTo>
                        <a:pt x="468" y="270"/>
                      </a:lnTo>
                      <a:lnTo>
                        <a:pt x="462" y="300"/>
                      </a:lnTo>
                      <a:lnTo>
                        <a:pt x="468" y="336"/>
                      </a:lnTo>
                      <a:lnTo>
                        <a:pt x="474" y="372"/>
                      </a:lnTo>
                      <a:lnTo>
                        <a:pt x="462" y="384"/>
                      </a:lnTo>
                      <a:lnTo>
                        <a:pt x="456" y="396"/>
                      </a:lnTo>
                      <a:lnTo>
                        <a:pt x="450" y="402"/>
                      </a:lnTo>
                      <a:lnTo>
                        <a:pt x="444" y="414"/>
                      </a:lnTo>
                      <a:lnTo>
                        <a:pt x="438" y="420"/>
                      </a:lnTo>
                      <a:lnTo>
                        <a:pt x="438" y="426"/>
                      </a:lnTo>
                      <a:lnTo>
                        <a:pt x="444" y="432"/>
                      </a:lnTo>
                      <a:lnTo>
                        <a:pt x="450" y="438"/>
                      </a:lnTo>
                      <a:lnTo>
                        <a:pt x="444" y="450"/>
                      </a:lnTo>
                      <a:lnTo>
                        <a:pt x="438" y="456"/>
                      </a:lnTo>
                      <a:lnTo>
                        <a:pt x="426" y="462"/>
                      </a:lnTo>
                      <a:lnTo>
                        <a:pt x="402" y="468"/>
                      </a:lnTo>
                      <a:lnTo>
                        <a:pt x="384" y="468"/>
                      </a:lnTo>
                      <a:lnTo>
                        <a:pt x="360" y="462"/>
                      </a:lnTo>
                      <a:lnTo>
                        <a:pt x="324" y="462"/>
                      </a:lnTo>
                      <a:lnTo>
                        <a:pt x="306" y="474"/>
                      </a:lnTo>
                      <a:lnTo>
                        <a:pt x="288" y="486"/>
                      </a:lnTo>
                      <a:lnTo>
                        <a:pt x="264" y="510"/>
                      </a:lnTo>
                      <a:lnTo>
                        <a:pt x="234" y="528"/>
                      </a:lnTo>
                      <a:lnTo>
                        <a:pt x="198" y="540"/>
                      </a:lnTo>
                      <a:lnTo>
                        <a:pt x="162" y="540"/>
                      </a:lnTo>
                      <a:lnTo>
                        <a:pt x="132" y="534"/>
                      </a:lnTo>
                      <a:lnTo>
                        <a:pt x="120" y="522"/>
                      </a:lnTo>
                      <a:lnTo>
                        <a:pt x="120" y="510"/>
                      </a:lnTo>
                      <a:lnTo>
                        <a:pt x="114" y="504"/>
                      </a:lnTo>
                      <a:lnTo>
                        <a:pt x="102" y="504"/>
                      </a:lnTo>
                      <a:lnTo>
                        <a:pt x="90" y="510"/>
                      </a:lnTo>
                      <a:lnTo>
                        <a:pt x="78" y="516"/>
                      </a:lnTo>
                      <a:lnTo>
                        <a:pt x="66" y="528"/>
                      </a:lnTo>
                      <a:lnTo>
                        <a:pt x="54" y="540"/>
                      </a:lnTo>
                      <a:lnTo>
                        <a:pt x="42" y="540"/>
                      </a:lnTo>
                      <a:lnTo>
                        <a:pt x="30" y="534"/>
                      </a:lnTo>
                      <a:lnTo>
                        <a:pt x="24" y="528"/>
                      </a:lnTo>
                      <a:lnTo>
                        <a:pt x="30" y="516"/>
                      </a:lnTo>
                      <a:lnTo>
                        <a:pt x="30" y="504"/>
                      </a:lnTo>
                      <a:lnTo>
                        <a:pt x="36" y="498"/>
                      </a:lnTo>
                      <a:lnTo>
                        <a:pt x="36" y="492"/>
                      </a:lnTo>
                      <a:lnTo>
                        <a:pt x="36" y="492"/>
                      </a:lnTo>
                      <a:lnTo>
                        <a:pt x="24" y="486"/>
                      </a:lnTo>
                      <a:lnTo>
                        <a:pt x="12" y="486"/>
                      </a:lnTo>
                      <a:lnTo>
                        <a:pt x="6" y="486"/>
                      </a:lnTo>
                      <a:lnTo>
                        <a:pt x="0" y="480"/>
                      </a:lnTo>
                      <a:lnTo>
                        <a:pt x="0" y="474"/>
                      </a:lnTo>
                      <a:lnTo>
                        <a:pt x="6" y="468"/>
                      </a:lnTo>
                      <a:lnTo>
                        <a:pt x="12" y="462"/>
                      </a:lnTo>
                      <a:lnTo>
                        <a:pt x="18" y="450"/>
                      </a:lnTo>
                      <a:lnTo>
                        <a:pt x="24" y="444"/>
                      </a:lnTo>
                      <a:lnTo>
                        <a:pt x="36" y="438"/>
                      </a:lnTo>
                      <a:lnTo>
                        <a:pt x="36" y="426"/>
                      </a:lnTo>
                      <a:lnTo>
                        <a:pt x="36" y="420"/>
                      </a:lnTo>
                      <a:lnTo>
                        <a:pt x="36" y="408"/>
                      </a:lnTo>
                      <a:lnTo>
                        <a:pt x="42" y="396"/>
                      </a:lnTo>
                      <a:lnTo>
                        <a:pt x="48" y="396"/>
                      </a:lnTo>
                      <a:lnTo>
                        <a:pt x="60" y="390"/>
                      </a:lnTo>
                      <a:lnTo>
                        <a:pt x="78" y="390"/>
                      </a:lnTo>
                      <a:lnTo>
                        <a:pt x="96" y="390"/>
                      </a:lnTo>
                      <a:lnTo>
                        <a:pt x="114" y="390"/>
                      </a:lnTo>
                      <a:lnTo>
                        <a:pt x="132" y="390"/>
                      </a:lnTo>
                      <a:lnTo>
                        <a:pt x="144" y="384"/>
                      </a:lnTo>
                      <a:lnTo>
                        <a:pt x="150" y="384"/>
                      </a:lnTo>
                      <a:lnTo>
                        <a:pt x="150" y="378"/>
                      </a:lnTo>
                      <a:lnTo>
                        <a:pt x="150" y="366"/>
                      </a:lnTo>
                      <a:lnTo>
                        <a:pt x="138" y="360"/>
                      </a:lnTo>
                      <a:lnTo>
                        <a:pt x="126" y="348"/>
                      </a:lnTo>
                      <a:lnTo>
                        <a:pt x="108" y="348"/>
                      </a:lnTo>
                      <a:lnTo>
                        <a:pt x="84" y="342"/>
                      </a:lnTo>
                      <a:lnTo>
                        <a:pt x="72" y="342"/>
                      </a:lnTo>
                      <a:lnTo>
                        <a:pt x="66" y="336"/>
                      </a:lnTo>
                      <a:lnTo>
                        <a:pt x="66" y="330"/>
                      </a:lnTo>
                      <a:lnTo>
                        <a:pt x="72" y="324"/>
                      </a:lnTo>
                      <a:lnTo>
                        <a:pt x="84" y="318"/>
                      </a:lnTo>
                      <a:lnTo>
                        <a:pt x="96" y="306"/>
                      </a:lnTo>
                      <a:lnTo>
                        <a:pt x="108" y="300"/>
                      </a:lnTo>
                      <a:lnTo>
                        <a:pt x="120" y="294"/>
                      </a:lnTo>
                      <a:lnTo>
                        <a:pt x="132" y="294"/>
                      </a:lnTo>
                      <a:lnTo>
                        <a:pt x="144" y="294"/>
                      </a:lnTo>
                      <a:lnTo>
                        <a:pt x="156" y="288"/>
                      </a:lnTo>
                      <a:lnTo>
                        <a:pt x="162" y="282"/>
                      </a:lnTo>
                      <a:lnTo>
                        <a:pt x="162" y="276"/>
                      </a:lnTo>
                      <a:lnTo>
                        <a:pt x="162" y="264"/>
                      </a:lnTo>
                      <a:lnTo>
                        <a:pt x="162" y="252"/>
                      </a:lnTo>
                      <a:lnTo>
                        <a:pt x="162" y="246"/>
                      </a:lnTo>
                      <a:lnTo>
                        <a:pt x="150" y="246"/>
                      </a:lnTo>
                      <a:lnTo>
                        <a:pt x="138" y="240"/>
                      </a:lnTo>
                      <a:lnTo>
                        <a:pt x="126" y="246"/>
                      </a:lnTo>
                      <a:lnTo>
                        <a:pt x="114" y="246"/>
                      </a:lnTo>
                      <a:lnTo>
                        <a:pt x="96" y="240"/>
                      </a:lnTo>
                      <a:lnTo>
                        <a:pt x="84" y="234"/>
                      </a:lnTo>
                      <a:lnTo>
                        <a:pt x="66" y="228"/>
                      </a:lnTo>
                      <a:lnTo>
                        <a:pt x="54" y="216"/>
                      </a:lnTo>
                      <a:lnTo>
                        <a:pt x="54" y="204"/>
                      </a:lnTo>
                      <a:lnTo>
                        <a:pt x="54" y="198"/>
                      </a:lnTo>
                      <a:lnTo>
                        <a:pt x="66" y="192"/>
                      </a:lnTo>
                      <a:lnTo>
                        <a:pt x="72" y="192"/>
                      </a:lnTo>
                      <a:lnTo>
                        <a:pt x="78" y="186"/>
                      </a:lnTo>
                      <a:lnTo>
                        <a:pt x="78" y="180"/>
                      </a:lnTo>
                      <a:lnTo>
                        <a:pt x="78" y="168"/>
                      </a:lnTo>
                      <a:lnTo>
                        <a:pt x="72" y="162"/>
                      </a:lnTo>
                      <a:lnTo>
                        <a:pt x="66" y="156"/>
                      </a:lnTo>
                      <a:lnTo>
                        <a:pt x="66" y="150"/>
                      </a:lnTo>
                      <a:lnTo>
                        <a:pt x="72" y="144"/>
                      </a:lnTo>
                      <a:lnTo>
                        <a:pt x="84" y="132"/>
                      </a:lnTo>
                      <a:lnTo>
                        <a:pt x="96" y="126"/>
                      </a:lnTo>
                      <a:lnTo>
                        <a:pt x="114" y="120"/>
                      </a:lnTo>
                      <a:lnTo>
                        <a:pt x="126" y="120"/>
                      </a:lnTo>
                      <a:lnTo>
                        <a:pt x="144" y="120"/>
                      </a:lnTo>
                      <a:lnTo>
                        <a:pt x="162" y="126"/>
                      </a:lnTo>
                      <a:lnTo>
                        <a:pt x="174" y="132"/>
                      </a:lnTo>
                      <a:lnTo>
                        <a:pt x="192" y="144"/>
                      </a:lnTo>
                      <a:lnTo>
                        <a:pt x="204" y="144"/>
                      </a:lnTo>
                      <a:lnTo>
                        <a:pt x="210" y="138"/>
                      </a:lnTo>
                      <a:lnTo>
                        <a:pt x="216" y="126"/>
                      </a:lnTo>
                      <a:lnTo>
                        <a:pt x="222" y="114"/>
                      </a:lnTo>
                      <a:lnTo>
                        <a:pt x="222" y="102"/>
                      </a:lnTo>
                      <a:lnTo>
                        <a:pt x="216" y="90"/>
                      </a:lnTo>
                      <a:lnTo>
                        <a:pt x="210" y="78"/>
                      </a:lnTo>
                      <a:lnTo>
                        <a:pt x="204" y="72"/>
                      </a:lnTo>
                      <a:lnTo>
                        <a:pt x="204" y="60"/>
                      </a:lnTo>
                      <a:lnTo>
                        <a:pt x="216" y="48"/>
                      </a:lnTo>
                      <a:lnTo>
                        <a:pt x="228" y="36"/>
                      </a:lnTo>
                      <a:lnTo>
                        <a:pt x="240" y="18"/>
                      </a:lnTo>
                      <a:lnTo>
                        <a:pt x="252" y="12"/>
                      </a:lnTo>
                      <a:lnTo>
                        <a:pt x="264" y="6"/>
                      </a:lnTo>
                      <a:lnTo>
                        <a:pt x="282" y="0"/>
                      </a:lnTo>
                      <a:lnTo>
                        <a:pt x="30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4" name="Freeform 64">
                  <a:extLst>
                    <a:ext uri="{FF2B5EF4-FFF2-40B4-BE49-F238E27FC236}">
                      <a16:creationId xmlns:a16="http://schemas.microsoft.com/office/drawing/2014/main" id="{07967C71-FAF0-4B3E-A8A9-421CF3AEAA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91" y="-3912"/>
                  <a:ext cx="780" cy="1326"/>
                </a:xfrm>
                <a:custGeom>
                  <a:avLst/>
                  <a:gdLst>
                    <a:gd name="T0" fmla="*/ 324 w 780"/>
                    <a:gd name="T1" fmla="*/ 36 h 1326"/>
                    <a:gd name="T2" fmla="*/ 270 w 780"/>
                    <a:gd name="T3" fmla="*/ 108 h 1326"/>
                    <a:gd name="T4" fmla="*/ 222 w 780"/>
                    <a:gd name="T5" fmla="*/ 210 h 1326"/>
                    <a:gd name="T6" fmla="*/ 264 w 780"/>
                    <a:gd name="T7" fmla="*/ 204 h 1326"/>
                    <a:gd name="T8" fmla="*/ 348 w 780"/>
                    <a:gd name="T9" fmla="*/ 138 h 1326"/>
                    <a:gd name="T10" fmla="*/ 438 w 780"/>
                    <a:gd name="T11" fmla="*/ 186 h 1326"/>
                    <a:gd name="T12" fmla="*/ 360 w 780"/>
                    <a:gd name="T13" fmla="*/ 378 h 1326"/>
                    <a:gd name="T14" fmla="*/ 318 w 780"/>
                    <a:gd name="T15" fmla="*/ 438 h 1326"/>
                    <a:gd name="T16" fmla="*/ 408 w 780"/>
                    <a:gd name="T17" fmla="*/ 456 h 1326"/>
                    <a:gd name="T18" fmla="*/ 474 w 780"/>
                    <a:gd name="T19" fmla="*/ 540 h 1326"/>
                    <a:gd name="T20" fmla="*/ 498 w 780"/>
                    <a:gd name="T21" fmla="*/ 624 h 1326"/>
                    <a:gd name="T22" fmla="*/ 570 w 780"/>
                    <a:gd name="T23" fmla="*/ 666 h 1326"/>
                    <a:gd name="T24" fmla="*/ 582 w 780"/>
                    <a:gd name="T25" fmla="*/ 708 h 1326"/>
                    <a:gd name="T26" fmla="*/ 606 w 780"/>
                    <a:gd name="T27" fmla="*/ 846 h 1326"/>
                    <a:gd name="T28" fmla="*/ 642 w 780"/>
                    <a:gd name="T29" fmla="*/ 858 h 1326"/>
                    <a:gd name="T30" fmla="*/ 762 w 780"/>
                    <a:gd name="T31" fmla="*/ 912 h 1326"/>
                    <a:gd name="T32" fmla="*/ 756 w 780"/>
                    <a:gd name="T33" fmla="*/ 1002 h 1326"/>
                    <a:gd name="T34" fmla="*/ 714 w 780"/>
                    <a:gd name="T35" fmla="*/ 1032 h 1326"/>
                    <a:gd name="T36" fmla="*/ 690 w 780"/>
                    <a:gd name="T37" fmla="*/ 1056 h 1326"/>
                    <a:gd name="T38" fmla="*/ 654 w 780"/>
                    <a:gd name="T39" fmla="*/ 1098 h 1326"/>
                    <a:gd name="T40" fmla="*/ 750 w 780"/>
                    <a:gd name="T41" fmla="*/ 1110 h 1326"/>
                    <a:gd name="T42" fmla="*/ 726 w 780"/>
                    <a:gd name="T43" fmla="*/ 1158 h 1326"/>
                    <a:gd name="T44" fmla="*/ 468 w 780"/>
                    <a:gd name="T45" fmla="*/ 1212 h 1326"/>
                    <a:gd name="T46" fmla="*/ 372 w 780"/>
                    <a:gd name="T47" fmla="*/ 1218 h 1326"/>
                    <a:gd name="T48" fmla="*/ 312 w 780"/>
                    <a:gd name="T49" fmla="*/ 1224 h 1326"/>
                    <a:gd name="T50" fmla="*/ 276 w 780"/>
                    <a:gd name="T51" fmla="*/ 1260 h 1326"/>
                    <a:gd name="T52" fmla="*/ 180 w 780"/>
                    <a:gd name="T53" fmla="*/ 1284 h 1326"/>
                    <a:gd name="T54" fmla="*/ 90 w 780"/>
                    <a:gd name="T55" fmla="*/ 1296 h 1326"/>
                    <a:gd name="T56" fmla="*/ 18 w 780"/>
                    <a:gd name="T57" fmla="*/ 1326 h 1326"/>
                    <a:gd name="T58" fmla="*/ 24 w 780"/>
                    <a:gd name="T59" fmla="*/ 1284 h 1326"/>
                    <a:gd name="T60" fmla="*/ 192 w 780"/>
                    <a:gd name="T61" fmla="*/ 1164 h 1326"/>
                    <a:gd name="T62" fmla="*/ 336 w 780"/>
                    <a:gd name="T63" fmla="*/ 1134 h 1326"/>
                    <a:gd name="T64" fmla="*/ 240 w 780"/>
                    <a:gd name="T65" fmla="*/ 1104 h 1326"/>
                    <a:gd name="T66" fmla="*/ 156 w 780"/>
                    <a:gd name="T67" fmla="*/ 1080 h 1326"/>
                    <a:gd name="T68" fmla="*/ 96 w 780"/>
                    <a:gd name="T69" fmla="*/ 1092 h 1326"/>
                    <a:gd name="T70" fmla="*/ 90 w 780"/>
                    <a:gd name="T71" fmla="*/ 1038 h 1326"/>
                    <a:gd name="T72" fmla="*/ 162 w 780"/>
                    <a:gd name="T73" fmla="*/ 990 h 1326"/>
                    <a:gd name="T74" fmla="*/ 192 w 780"/>
                    <a:gd name="T75" fmla="*/ 930 h 1326"/>
                    <a:gd name="T76" fmla="*/ 132 w 780"/>
                    <a:gd name="T77" fmla="*/ 900 h 1326"/>
                    <a:gd name="T78" fmla="*/ 204 w 780"/>
                    <a:gd name="T79" fmla="*/ 834 h 1326"/>
                    <a:gd name="T80" fmla="*/ 300 w 780"/>
                    <a:gd name="T81" fmla="*/ 804 h 1326"/>
                    <a:gd name="T82" fmla="*/ 294 w 780"/>
                    <a:gd name="T83" fmla="*/ 732 h 1326"/>
                    <a:gd name="T84" fmla="*/ 246 w 780"/>
                    <a:gd name="T85" fmla="*/ 702 h 1326"/>
                    <a:gd name="T86" fmla="*/ 264 w 780"/>
                    <a:gd name="T87" fmla="*/ 606 h 1326"/>
                    <a:gd name="T88" fmla="*/ 216 w 780"/>
                    <a:gd name="T89" fmla="*/ 570 h 1326"/>
                    <a:gd name="T90" fmla="*/ 168 w 780"/>
                    <a:gd name="T91" fmla="*/ 576 h 1326"/>
                    <a:gd name="T92" fmla="*/ 108 w 780"/>
                    <a:gd name="T93" fmla="*/ 582 h 1326"/>
                    <a:gd name="T94" fmla="*/ 96 w 780"/>
                    <a:gd name="T95" fmla="*/ 492 h 1326"/>
                    <a:gd name="T96" fmla="*/ 102 w 780"/>
                    <a:gd name="T97" fmla="*/ 378 h 1326"/>
                    <a:gd name="T98" fmla="*/ 42 w 780"/>
                    <a:gd name="T99" fmla="*/ 432 h 1326"/>
                    <a:gd name="T100" fmla="*/ 66 w 780"/>
                    <a:gd name="T101" fmla="*/ 336 h 1326"/>
                    <a:gd name="T102" fmla="*/ 66 w 780"/>
                    <a:gd name="T103" fmla="*/ 192 h 1326"/>
                    <a:gd name="T104" fmla="*/ 90 w 780"/>
                    <a:gd name="T105" fmla="*/ 108 h 1326"/>
                    <a:gd name="T106" fmla="*/ 126 w 780"/>
                    <a:gd name="T107" fmla="*/ 48 h 1326"/>
                    <a:gd name="T108" fmla="*/ 204 w 780"/>
                    <a:gd name="T109" fmla="*/ 24 h 1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80" h="1326">
                      <a:moveTo>
                        <a:pt x="270" y="0"/>
                      </a:moveTo>
                      <a:lnTo>
                        <a:pt x="288" y="0"/>
                      </a:lnTo>
                      <a:lnTo>
                        <a:pt x="300" y="6"/>
                      </a:lnTo>
                      <a:lnTo>
                        <a:pt x="312" y="12"/>
                      </a:lnTo>
                      <a:lnTo>
                        <a:pt x="324" y="24"/>
                      </a:lnTo>
                      <a:lnTo>
                        <a:pt x="324" y="36"/>
                      </a:lnTo>
                      <a:lnTo>
                        <a:pt x="324" y="54"/>
                      </a:lnTo>
                      <a:lnTo>
                        <a:pt x="324" y="66"/>
                      </a:lnTo>
                      <a:lnTo>
                        <a:pt x="318" y="78"/>
                      </a:lnTo>
                      <a:lnTo>
                        <a:pt x="306" y="90"/>
                      </a:lnTo>
                      <a:lnTo>
                        <a:pt x="288" y="102"/>
                      </a:lnTo>
                      <a:lnTo>
                        <a:pt x="270" y="108"/>
                      </a:lnTo>
                      <a:lnTo>
                        <a:pt x="258" y="120"/>
                      </a:lnTo>
                      <a:lnTo>
                        <a:pt x="246" y="132"/>
                      </a:lnTo>
                      <a:lnTo>
                        <a:pt x="240" y="144"/>
                      </a:lnTo>
                      <a:lnTo>
                        <a:pt x="228" y="162"/>
                      </a:lnTo>
                      <a:lnTo>
                        <a:pt x="228" y="192"/>
                      </a:lnTo>
                      <a:lnTo>
                        <a:pt x="222" y="210"/>
                      </a:lnTo>
                      <a:lnTo>
                        <a:pt x="222" y="216"/>
                      </a:lnTo>
                      <a:lnTo>
                        <a:pt x="228" y="222"/>
                      </a:lnTo>
                      <a:lnTo>
                        <a:pt x="234" y="222"/>
                      </a:lnTo>
                      <a:lnTo>
                        <a:pt x="240" y="222"/>
                      </a:lnTo>
                      <a:lnTo>
                        <a:pt x="252" y="210"/>
                      </a:lnTo>
                      <a:lnTo>
                        <a:pt x="264" y="204"/>
                      </a:lnTo>
                      <a:lnTo>
                        <a:pt x="270" y="192"/>
                      </a:lnTo>
                      <a:lnTo>
                        <a:pt x="282" y="180"/>
                      </a:lnTo>
                      <a:lnTo>
                        <a:pt x="300" y="162"/>
                      </a:lnTo>
                      <a:lnTo>
                        <a:pt x="312" y="156"/>
                      </a:lnTo>
                      <a:lnTo>
                        <a:pt x="330" y="144"/>
                      </a:lnTo>
                      <a:lnTo>
                        <a:pt x="348" y="138"/>
                      </a:lnTo>
                      <a:lnTo>
                        <a:pt x="372" y="138"/>
                      </a:lnTo>
                      <a:lnTo>
                        <a:pt x="390" y="138"/>
                      </a:lnTo>
                      <a:lnTo>
                        <a:pt x="408" y="144"/>
                      </a:lnTo>
                      <a:lnTo>
                        <a:pt x="426" y="156"/>
                      </a:lnTo>
                      <a:lnTo>
                        <a:pt x="432" y="168"/>
                      </a:lnTo>
                      <a:lnTo>
                        <a:pt x="438" y="186"/>
                      </a:lnTo>
                      <a:lnTo>
                        <a:pt x="438" y="198"/>
                      </a:lnTo>
                      <a:lnTo>
                        <a:pt x="420" y="252"/>
                      </a:lnTo>
                      <a:lnTo>
                        <a:pt x="402" y="318"/>
                      </a:lnTo>
                      <a:lnTo>
                        <a:pt x="390" y="342"/>
                      </a:lnTo>
                      <a:lnTo>
                        <a:pt x="378" y="360"/>
                      </a:lnTo>
                      <a:lnTo>
                        <a:pt x="360" y="378"/>
                      </a:lnTo>
                      <a:lnTo>
                        <a:pt x="342" y="384"/>
                      </a:lnTo>
                      <a:lnTo>
                        <a:pt x="324" y="396"/>
                      </a:lnTo>
                      <a:lnTo>
                        <a:pt x="312" y="408"/>
                      </a:lnTo>
                      <a:lnTo>
                        <a:pt x="312" y="420"/>
                      </a:lnTo>
                      <a:lnTo>
                        <a:pt x="312" y="426"/>
                      </a:lnTo>
                      <a:lnTo>
                        <a:pt x="318" y="438"/>
                      </a:lnTo>
                      <a:lnTo>
                        <a:pt x="330" y="444"/>
                      </a:lnTo>
                      <a:lnTo>
                        <a:pt x="348" y="444"/>
                      </a:lnTo>
                      <a:lnTo>
                        <a:pt x="360" y="444"/>
                      </a:lnTo>
                      <a:lnTo>
                        <a:pt x="378" y="444"/>
                      </a:lnTo>
                      <a:lnTo>
                        <a:pt x="396" y="450"/>
                      </a:lnTo>
                      <a:lnTo>
                        <a:pt x="408" y="456"/>
                      </a:lnTo>
                      <a:lnTo>
                        <a:pt x="420" y="468"/>
                      </a:lnTo>
                      <a:lnTo>
                        <a:pt x="432" y="480"/>
                      </a:lnTo>
                      <a:lnTo>
                        <a:pt x="450" y="492"/>
                      </a:lnTo>
                      <a:lnTo>
                        <a:pt x="462" y="510"/>
                      </a:lnTo>
                      <a:lnTo>
                        <a:pt x="468" y="528"/>
                      </a:lnTo>
                      <a:lnTo>
                        <a:pt x="474" y="540"/>
                      </a:lnTo>
                      <a:lnTo>
                        <a:pt x="474" y="558"/>
                      </a:lnTo>
                      <a:lnTo>
                        <a:pt x="474" y="582"/>
                      </a:lnTo>
                      <a:lnTo>
                        <a:pt x="474" y="594"/>
                      </a:lnTo>
                      <a:lnTo>
                        <a:pt x="480" y="606"/>
                      </a:lnTo>
                      <a:lnTo>
                        <a:pt x="486" y="612"/>
                      </a:lnTo>
                      <a:lnTo>
                        <a:pt x="498" y="624"/>
                      </a:lnTo>
                      <a:lnTo>
                        <a:pt x="510" y="624"/>
                      </a:lnTo>
                      <a:lnTo>
                        <a:pt x="522" y="630"/>
                      </a:lnTo>
                      <a:lnTo>
                        <a:pt x="540" y="636"/>
                      </a:lnTo>
                      <a:lnTo>
                        <a:pt x="552" y="648"/>
                      </a:lnTo>
                      <a:lnTo>
                        <a:pt x="564" y="660"/>
                      </a:lnTo>
                      <a:lnTo>
                        <a:pt x="570" y="666"/>
                      </a:lnTo>
                      <a:lnTo>
                        <a:pt x="570" y="678"/>
                      </a:lnTo>
                      <a:lnTo>
                        <a:pt x="558" y="684"/>
                      </a:lnTo>
                      <a:lnTo>
                        <a:pt x="552" y="690"/>
                      </a:lnTo>
                      <a:lnTo>
                        <a:pt x="558" y="696"/>
                      </a:lnTo>
                      <a:lnTo>
                        <a:pt x="570" y="702"/>
                      </a:lnTo>
                      <a:lnTo>
                        <a:pt x="582" y="708"/>
                      </a:lnTo>
                      <a:lnTo>
                        <a:pt x="600" y="714"/>
                      </a:lnTo>
                      <a:lnTo>
                        <a:pt x="612" y="732"/>
                      </a:lnTo>
                      <a:lnTo>
                        <a:pt x="624" y="762"/>
                      </a:lnTo>
                      <a:lnTo>
                        <a:pt x="618" y="798"/>
                      </a:lnTo>
                      <a:lnTo>
                        <a:pt x="612" y="834"/>
                      </a:lnTo>
                      <a:lnTo>
                        <a:pt x="606" y="846"/>
                      </a:lnTo>
                      <a:lnTo>
                        <a:pt x="606" y="858"/>
                      </a:lnTo>
                      <a:lnTo>
                        <a:pt x="612" y="864"/>
                      </a:lnTo>
                      <a:lnTo>
                        <a:pt x="618" y="864"/>
                      </a:lnTo>
                      <a:lnTo>
                        <a:pt x="624" y="864"/>
                      </a:lnTo>
                      <a:lnTo>
                        <a:pt x="636" y="864"/>
                      </a:lnTo>
                      <a:lnTo>
                        <a:pt x="642" y="858"/>
                      </a:lnTo>
                      <a:lnTo>
                        <a:pt x="648" y="852"/>
                      </a:lnTo>
                      <a:lnTo>
                        <a:pt x="660" y="846"/>
                      </a:lnTo>
                      <a:lnTo>
                        <a:pt x="684" y="858"/>
                      </a:lnTo>
                      <a:lnTo>
                        <a:pt x="714" y="876"/>
                      </a:lnTo>
                      <a:lnTo>
                        <a:pt x="744" y="894"/>
                      </a:lnTo>
                      <a:lnTo>
                        <a:pt x="762" y="912"/>
                      </a:lnTo>
                      <a:lnTo>
                        <a:pt x="774" y="924"/>
                      </a:lnTo>
                      <a:lnTo>
                        <a:pt x="780" y="936"/>
                      </a:lnTo>
                      <a:lnTo>
                        <a:pt x="774" y="954"/>
                      </a:lnTo>
                      <a:lnTo>
                        <a:pt x="768" y="972"/>
                      </a:lnTo>
                      <a:lnTo>
                        <a:pt x="762" y="984"/>
                      </a:lnTo>
                      <a:lnTo>
                        <a:pt x="756" y="1002"/>
                      </a:lnTo>
                      <a:lnTo>
                        <a:pt x="750" y="1020"/>
                      </a:lnTo>
                      <a:lnTo>
                        <a:pt x="744" y="1026"/>
                      </a:lnTo>
                      <a:lnTo>
                        <a:pt x="744" y="1032"/>
                      </a:lnTo>
                      <a:lnTo>
                        <a:pt x="738" y="1038"/>
                      </a:lnTo>
                      <a:lnTo>
                        <a:pt x="726" y="1038"/>
                      </a:lnTo>
                      <a:lnTo>
                        <a:pt x="714" y="1032"/>
                      </a:lnTo>
                      <a:lnTo>
                        <a:pt x="702" y="1032"/>
                      </a:lnTo>
                      <a:lnTo>
                        <a:pt x="696" y="1032"/>
                      </a:lnTo>
                      <a:lnTo>
                        <a:pt x="690" y="1032"/>
                      </a:lnTo>
                      <a:lnTo>
                        <a:pt x="690" y="1038"/>
                      </a:lnTo>
                      <a:lnTo>
                        <a:pt x="690" y="1044"/>
                      </a:lnTo>
                      <a:lnTo>
                        <a:pt x="690" y="1056"/>
                      </a:lnTo>
                      <a:lnTo>
                        <a:pt x="678" y="1062"/>
                      </a:lnTo>
                      <a:lnTo>
                        <a:pt x="672" y="1068"/>
                      </a:lnTo>
                      <a:lnTo>
                        <a:pt x="666" y="1080"/>
                      </a:lnTo>
                      <a:lnTo>
                        <a:pt x="660" y="1086"/>
                      </a:lnTo>
                      <a:lnTo>
                        <a:pt x="654" y="1092"/>
                      </a:lnTo>
                      <a:lnTo>
                        <a:pt x="654" y="1098"/>
                      </a:lnTo>
                      <a:lnTo>
                        <a:pt x="654" y="1104"/>
                      </a:lnTo>
                      <a:lnTo>
                        <a:pt x="666" y="1104"/>
                      </a:lnTo>
                      <a:lnTo>
                        <a:pt x="684" y="1110"/>
                      </a:lnTo>
                      <a:lnTo>
                        <a:pt x="708" y="1104"/>
                      </a:lnTo>
                      <a:lnTo>
                        <a:pt x="732" y="1104"/>
                      </a:lnTo>
                      <a:lnTo>
                        <a:pt x="750" y="1110"/>
                      </a:lnTo>
                      <a:lnTo>
                        <a:pt x="762" y="1110"/>
                      </a:lnTo>
                      <a:lnTo>
                        <a:pt x="762" y="1116"/>
                      </a:lnTo>
                      <a:lnTo>
                        <a:pt x="762" y="1128"/>
                      </a:lnTo>
                      <a:lnTo>
                        <a:pt x="756" y="1134"/>
                      </a:lnTo>
                      <a:lnTo>
                        <a:pt x="744" y="1146"/>
                      </a:lnTo>
                      <a:lnTo>
                        <a:pt x="726" y="1158"/>
                      </a:lnTo>
                      <a:lnTo>
                        <a:pt x="708" y="1170"/>
                      </a:lnTo>
                      <a:lnTo>
                        <a:pt x="654" y="1200"/>
                      </a:lnTo>
                      <a:lnTo>
                        <a:pt x="612" y="1212"/>
                      </a:lnTo>
                      <a:lnTo>
                        <a:pt x="558" y="1212"/>
                      </a:lnTo>
                      <a:lnTo>
                        <a:pt x="504" y="1206"/>
                      </a:lnTo>
                      <a:lnTo>
                        <a:pt x="468" y="1212"/>
                      </a:lnTo>
                      <a:lnTo>
                        <a:pt x="438" y="1230"/>
                      </a:lnTo>
                      <a:lnTo>
                        <a:pt x="420" y="1236"/>
                      </a:lnTo>
                      <a:lnTo>
                        <a:pt x="402" y="1242"/>
                      </a:lnTo>
                      <a:lnTo>
                        <a:pt x="390" y="1242"/>
                      </a:lnTo>
                      <a:lnTo>
                        <a:pt x="378" y="1236"/>
                      </a:lnTo>
                      <a:lnTo>
                        <a:pt x="372" y="1218"/>
                      </a:lnTo>
                      <a:lnTo>
                        <a:pt x="360" y="1212"/>
                      </a:lnTo>
                      <a:lnTo>
                        <a:pt x="354" y="1206"/>
                      </a:lnTo>
                      <a:lnTo>
                        <a:pt x="342" y="1206"/>
                      </a:lnTo>
                      <a:lnTo>
                        <a:pt x="336" y="1212"/>
                      </a:lnTo>
                      <a:lnTo>
                        <a:pt x="324" y="1218"/>
                      </a:lnTo>
                      <a:lnTo>
                        <a:pt x="312" y="1224"/>
                      </a:lnTo>
                      <a:lnTo>
                        <a:pt x="300" y="1224"/>
                      </a:lnTo>
                      <a:lnTo>
                        <a:pt x="294" y="1230"/>
                      </a:lnTo>
                      <a:lnTo>
                        <a:pt x="288" y="1236"/>
                      </a:lnTo>
                      <a:lnTo>
                        <a:pt x="288" y="1242"/>
                      </a:lnTo>
                      <a:lnTo>
                        <a:pt x="282" y="1254"/>
                      </a:lnTo>
                      <a:lnTo>
                        <a:pt x="276" y="1260"/>
                      </a:lnTo>
                      <a:lnTo>
                        <a:pt x="264" y="1272"/>
                      </a:lnTo>
                      <a:lnTo>
                        <a:pt x="240" y="1284"/>
                      </a:lnTo>
                      <a:lnTo>
                        <a:pt x="228" y="1290"/>
                      </a:lnTo>
                      <a:lnTo>
                        <a:pt x="210" y="1290"/>
                      </a:lnTo>
                      <a:lnTo>
                        <a:pt x="198" y="1290"/>
                      </a:lnTo>
                      <a:lnTo>
                        <a:pt x="180" y="1284"/>
                      </a:lnTo>
                      <a:lnTo>
                        <a:pt x="168" y="1278"/>
                      </a:lnTo>
                      <a:lnTo>
                        <a:pt x="150" y="1272"/>
                      </a:lnTo>
                      <a:lnTo>
                        <a:pt x="138" y="1278"/>
                      </a:lnTo>
                      <a:lnTo>
                        <a:pt x="120" y="1284"/>
                      </a:lnTo>
                      <a:lnTo>
                        <a:pt x="102" y="1290"/>
                      </a:lnTo>
                      <a:lnTo>
                        <a:pt x="90" y="1296"/>
                      </a:lnTo>
                      <a:lnTo>
                        <a:pt x="78" y="1296"/>
                      </a:lnTo>
                      <a:lnTo>
                        <a:pt x="66" y="1308"/>
                      </a:lnTo>
                      <a:lnTo>
                        <a:pt x="54" y="1314"/>
                      </a:lnTo>
                      <a:lnTo>
                        <a:pt x="42" y="1320"/>
                      </a:lnTo>
                      <a:lnTo>
                        <a:pt x="30" y="1326"/>
                      </a:lnTo>
                      <a:lnTo>
                        <a:pt x="18" y="1326"/>
                      </a:lnTo>
                      <a:lnTo>
                        <a:pt x="6" y="1320"/>
                      </a:lnTo>
                      <a:lnTo>
                        <a:pt x="0" y="1314"/>
                      </a:lnTo>
                      <a:lnTo>
                        <a:pt x="0" y="1308"/>
                      </a:lnTo>
                      <a:lnTo>
                        <a:pt x="6" y="1296"/>
                      </a:lnTo>
                      <a:lnTo>
                        <a:pt x="12" y="1290"/>
                      </a:lnTo>
                      <a:lnTo>
                        <a:pt x="24" y="1284"/>
                      </a:lnTo>
                      <a:lnTo>
                        <a:pt x="36" y="1272"/>
                      </a:lnTo>
                      <a:lnTo>
                        <a:pt x="48" y="1260"/>
                      </a:lnTo>
                      <a:lnTo>
                        <a:pt x="84" y="1230"/>
                      </a:lnTo>
                      <a:lnTo>
                        <a:pt x="126" y="1200"/>
                      </a:lnTo>
                      <a:lnTo>
                        <a:pt x="162" y="1176"/>
                      </a:lnTo>
                      <a:lnTo>
                        <a:pt x="192" y="1164"/>
                      </a:lnTo>
                      <a:lnTo>
                        <a:pt x="234" y="1164"/>
                      </a:lnTo>
                      <a:lnTo>
                        <a:pt x="282" y="1164"/>
                      </a:lnTo>
                      <a:lnTo>
                        <a:pt x="306" y="1158"/>
                      </a:lnTo>
                      <a:lnTo>
                        <a:pt x="324" y="1152"/>
                      </a:lnTo>
                      <a:lnTo>
                        <a:pt x="336" y="1146"/>
                      </a:lnTo>
                      <a:lnTo>
                        <a:pt x="336" y="1134"/>
                      </a:lnTo>
                      <a:lnTo>
                        <a:pt x="330" y="1128"/>
                      </a:lnTo>
                      <a:lnTo>
                        <a:pt x="318" y="1116"/>
                      </a:lnTo>
                      <a:lnTo>
                        <a:pt x="306" y="1110"/>
                      </a:lnTo>
                      <a:lnTo>
                        <a:pt x="288" y="1104"/>
                      </a:lnTo>
                      <a:lnTo>
                        <a:pt x="264" y="1104"/>
                      </a:lnTo>
                      <a:lnTo>
                        <a:pt x="240" y="1104"/>
                      </a:lnTo>
                      <a:lnTo>
                        <a:pt x="222" y="1110"/>
                      </a:lnTo>
                      <a:lnTo>
                        <a:pt x="204" y="1110"/>
                      </a:lnTo>
                      <a:lnTo>
                        <a:pt x="192" y="1104"/>
                      </a:lnTo>
                      <a:lnTo>
                        <a:pt x="174" y="1092"/>
                      </a:lnTo>
                      <a:lnTo>
                        <a:pt x="162" y="1080"/>
                      </a:lnTo>
                      <a:lnTo>
                        <a:pt x="156" y="1080"/>
                      </a:lnTo>
                      <a:lnTo>
                        <a:pt x="150" y="1074"/>
                      </a:lnTo>
                      <a:lnTo>
                        <a:pt x="144" y="1074"/>
                      </a:lnTo>
                      <a:lnTo>
                        <a:pt x="138" y="1080"/>
                      </a:lnTo>
                      <a:lnTo>
                        <a:pt x="126" y="1086"/>
                      </a:lnTo>
                      <a:lnTo>
                        <a:pt x="108" y="1092"/>
                      </a:lnTo>
                      <a:lnTo>
                        <a:pt x="96" y="1092"/>
                      </a:lnTo>
                      <a:lnTo>
                        <a:pt x="84" y="1092"/>
                      </a:lnTo>
                      <a:lnTo>
                        <a:pt x="78" y="1086"/>
                      </a:lnTo>
                      <a:lnTo>
                        <a:pt x="78" y="1074"/>
                      </a:lnTo>
                      <a:lnTo>
                        <a:pt x="78" y="1062"/>
                      </a:lnTo>
                      <a:lnTo>
                        <a:pt x="84" y="1050"/>
                      </a:lnTo>
                      <a:lnTo>
                        <a:pt x="90" y="1038"/>
                      </a:lnTo>
                      <a:lnTo>
                        <a:pt x="102" y="1026"/>
                      </a:lnTo>
                      <a:lnTo>
                        <a:pt x="108" y="1014"/>
                      </a:lnTo>
                      <a:lnTo>
                        <a:pt x="120" y="1002"/>
                      </a:lnTo>
                      <a:lnTo>
                        <a:pt x="132" y="996"/>
                      </a:lnTo>
                      <a:lnTo>
                        <a:pt x="144" y="990"/>
                      </a:lnTo>
                      <a:lnTo>
                        <a:pt x="162" y="990"/>
                      </a:lnTo>
                      <a:lnTo>
                        <a:pt x="174" y="984"/>
                      </a:lnTo>
                      <a:lnTo>
                        <a:pt x="186" y="972"/>
                      </a:lnTo>
                      <a:lnTo>
                        <a:pt x="192" y="960"/>
                      </a:lnTo>
                      <a:lnTo>
                        <a:pt x="198" y="948"/>
                      </a:lnTo>
                      <a:lnTo>
                        <a:pt x="198" y="936"/>
                      </a:lnTo>
                      <a:lnTo>
                        <a:pt x="192" y="930"/>
                      </a:lnTo>
                      <a:lnTo>
                        <a:pt x="180" y="924"/>
                      </a:lnTo>
                      <a:lnTo>
                        <a:pt x="162" y="924"/>
                      </a:lnTo>
                      <a:lnTo>
                        <a:pt x="144" y="918"/>
                      </a:lnTo>
                      <a:lnTo>
                        <a:pt x="132" y="918"/>
                      </a:lnTo>
                      <a:lnTo>
                        <a:pt x="132" y="912"/>
                      </a:lnTo>
                      <a:lnTo>
                        <a:pt x="132" y="900"/>
                      </a:lnTo>
                      <a:lnTo>
                        <a:pt x="138" y="894"/>
                      </a:lnTo>
                      <a:lnTo>
                        <a:pt x="150" y="876"/>
                      </a:lnTo>
                      <a:lnTo>
                        <a:pt x="162" y="864"/>
                      </a:lnTo>
                      <a:lnTo>
                        <a:pt x="174" y="852"/>
                      </a:lnTo>
                      <a:lnTo>
                        <a:pt x="186" y="840"/>
                      </a:lnTo>
                      <a:lnTo>
                        <a:pt x="204" y="834"/>
                      </a:lnTo>
                      <a:lnTo>
                        <a:pt x="222" y="834"/>
                      </a:lnTo>
                      <a:lnTo>
                        <a:pt x="240" y="840"/>
                      </a:lnTo>
                      <a:lnTo>
                        <a:pt x="258" y="834"/>
                      </a:lnTo>
                      <a:lnTo>
                        <a:pt x="276" y="828"/>
                      </a:lnTo>
                      <a:lnTo>
                        <a:pt x="294" y="816"/>
                      </a:lnTo>
                      <a:lnTo>
                        <a:pt x="300" y="804"/>
                      </a:lnTo>
                      <a:lnTo>
                        <a:pt x="300" y="792"/>
                      </a:lnTo>
                      <a:lnTo>
                        <a:pt x="294" y="780"/>
                      </a:lnTo>
                      <a:lnTo>
                        <a:pt x="294" y="768"/>
                      </a:lnTo>
                      <a:lnTo>
                        <a:pt x="288" y="756"/>
                      </a:lnTo>
                      <a:lnTo>
                        <a:pt x="294" y="738"/>
                      </a:lnTo>
                      <a:lnTo>
                        <a:pt x="294" y="732"/>
                      </a:lnTo>
                      <a:lnTo>
                        <a:pt x="288" y="726"/>
                      </a:lnTo>
                      <a:lnTo>
                        <a:pt x="282" y="720"/>
                      </a:lnTo>
                      <a:lnTo>
                        <a:pt x="276" y="720"/>
                      </a:lnTo>
                      <a:lnTo>
                        <a:pt x="264" y="714"/>
                      </a:lnTo>
                      <a:lnTo>
                        <a:pt x="252" y="714"/>
                      </a:lnTo>
                      <a:lnTo>
                        <a:pt x="246" y="702"/>
                      </a:lnTo>
                      <a:lnTo>
                        <a:pt x="240" y="690"/>
                      </a:lnTo>
                      <a:lnTo>
                        <a:pt x="234" y="672"/>
                      </a:lnTo>
                      <a:lnTo>
                        <a:pt x="234" y="654"/>
                      </a:lnTo>
                      <a:lnTo>
                        <a:pt x="240" y="636"/>
                      </a:lnTo>
                      <a:lnTo>
                        <a:pt x="252" y="618"/>
                      </a:lnTo>
                      <a:lnTo>
                        <a:pt x="264" y="606"/>
                      </a:lnTo>
                      <a:lnTo>
                        <a:pt x="264" y="594"/>
                      </a:lnTo>
                      <a:lnTo>
                        <a:pt x="264" y="582"/>
                      </a:lnTo>
                      <a:lnTo>
                        <a:pt x="258" y="576"/>
                      </a:lnTo>
                      <a:lnTo>
                        <a:pt x="246" y="570"/>
                      </a:lnTo>
                      <a:lnTo>
                        <a:pt x="234" y="570"/>
                      </a:lnTo>
                      <a:lnTo>
                        <a:pt x="216" y="570"/>
                      </a:lnTo>
                      <a:lnTo>
                        <a:pt x="204" y="576"/>
                      </a:lnTo>
                      <a:lnTo>
                        <a:pt x="192" y="582"/>
                      </a:lnTo>
                      <a:lnTo>
                        <a:pt x="186" y="582"/>
                      </a:lnTo>
                      <a:lnTo>
                        <a:pt x="180" y="582"/>
                      </a:lnTo>
                      <a:lnTo>
                        <a:pt x="174" y="576"/>
                      </a:lnTo>
                      <a:lnTo>
                        <a:pt x="168" y="576"/>
                      </a:lnTo>
                      <a:lnTo>
                        <a:pt x="162" y="576"/>
                      </a:lnTo>
                      <a:lnTo>
                        <a:pt x="156" y="582"/>
                      </a:lnTo>
                      <a:lnTo>
                        <a:pt x="144" y="588"/>
                      </a:lnTo>
                      <a:lnTo>
                        <a:pt x="132" y="594"/>
                      </a:lnTo>
                      <a:lnTo>
                        <a:pt x="120" y="594"/>
                      </a:lnTo>
                      <a:lnTo>
                        <a:pt x="108" y="582"/>
                      </a:lnTo>
                      <a:lnTo>
                        <a:pt x="96" y="570"/>
                      </a:lnTo>
                      <a:lnTo>
                        <a:pt x="84" y="552"/>
                      </a:lnTo>
                      <a:lnTo>
                        <a:pt x="78" y="534"/>
                      </a:lnTo>
                      <a:lnTo>
                        <a:pt x="78" y="522"/>
                      </a:lnTo>
                      <a:lnTo>
                        <a:pt x="84" y="504"/>
                      </a:lnTo>
                      <a:lnTo>
                        <a:pt x="96" y="492"/>
                      </a:lnTo>
                      <a:lnTo>
                        <a:pt x="114" y="444"/>
                      </a:lnTo>
                      <a:lnTo>
                        <a:pt x="114" y="396"/>
                      </a:lnTo>
                      <a:lnTo>
                        <a:pt x="114" y="384"/>
                      </a:lnTo>
                      <a:lnTo>
                        <a:pt x="114" y="372"/>
                      </a:lnTo>
                      <a:lnTo>
                        <a:pt x="108" y="372"/>
                      </a:lnTo>
                      <a:lnTo>
                        <a:pt x="102" y="378"/>
                      </a:lnTo>
                      <a:lnTo>
                        <a:pt x="96" y="384"/>
                      </a:lnTo>
                      <a:lnTo>
                        <a:pt x="84" y="396"/>
                      </a:lnTo>
                      <a:lnTo>
                        <a:pt x="72" y="408"/>
                      </a:lnTo>
                      <a:lnTo>
                        <a:pt x="60" y="426"/>
                      </a:lnTo>
                      <a:lnTo>
                        <a:pt x="54" y="432"/>
                      </a:lnTo>
                      <a:lnTo>
                        <a:pt x="42" y="432"/>
                      </a:lnTo>
                      <a:lnTo>
                        <a:pt x="36" y="432"/>
                      </a:lnTo>
                      <a:lnTo>
                        <a:pt x="36" y="420"/>
                      </a:lnTo>
                      <a:lnTo>
                        <a:pt x="36" y="414"/>
                      </a:lnTo>
                      <a:lnTo>
                        <a:pt x="36" y="390"/>
                      </a:lnTo>
                      <a:lnTo>
                        <a:pt x="48" y="360"/>
                      </a:lnTo>
                      <a:lnTo>
                        <a:pt x="66" y="336"/>
                      </a:lnTo>
                      <a:lnTo>
                        <a:pt x="72" y="318"/>
                      </a:lnTo>
                      <a:lnTo>
                        <a:pt x="78" y="294"/>
                      </a:lnTo>
                      <a:lnTo>
                        <a:pt x="78" y="270"/>
                      </a:lnTo>
                      <a:lnTo>
                        <a:pt x="78" y="240"/>
                      </a:lnTo>
                      <a:lnTo>
                        <a:pt x="72" y="216"/>
                      </a:lnTo>
                      <a:lnTo>
                        <a:pt x="66" y="192"/>
                      </a:lnTo>
                      <a:lnTo>
                        <a:pt x="60" y="174"/>
                      </a:lnTo>
                      <a:lnTo>
                        <a:pt x="60" y="162"/>
                      </a:lnTo>
                      <a:lnTo>
                        <a:pt x="66" y="150"/>
                      </a:lnTo>
                      <a:lnTo>
                        <a:pt x="72" y="132"/>
                      </a:lnTo>
                      <a:lnTo>
                        <a:pt x="84" y="120"/>
                      </a:lnTo>
                      <a:lnTo>
                        <a:pt x="90" y="108"/>
                      </a:lnTo>
                      <a:lnTo>
                        <a:pt x="102" y="96"/>
                      </a:lnTo>
                      <a:lnTo>
                        <a:pt x="108" y="90"/>
                      </a:lnTo>
                      <a:lnTo>
                        <a:pt x="114" y="78"/>
                      </a:lnTo>
                      <a:lnTo>
                        <a:pt x="120" y="66"/>
                      </a:lnTo>
                      <a:lnTo>
                        <a:pt x="120" y="54"/>
                      </a:lnTo>
                      <a:lnTo>
                        <a:pt x="126" y="48"/>
                      </a:lnTo>
                      <a:lnTo>
                        <a:pt x="132" y="42"/>
                      </a:lnTo>
                      <a:lnTo>
                        <a:pt x="144" y="36"/>
                      </a:lnTo>
                      <a:lnTo>
                        <a:pt x="156" y="30"/>
                      </a:lnTo>
                      <a:lnTo>
                        <a:pt x="174" y="24"/>
                      </a:lnTo>
                      <a:lnTo>
                        <a:pt x="186" y="24"/>
                      </a:lnTo>
                      <a:lnTo>
                        <a:pt x="204" y="24"/>
                      </a:lnTo>
                      <a:lnTo>
                        <a:pt x="222" y="18"/>
                      </a:lnTo>
                      <a:lnTo>
                        <a:pt x="240" y="12"/>
                      </a:lnTo>
                      <a:lnTo>
                        <a:pt x="258" y="6"/>
                      </a:lnTo>
                      <a:lnTo>
                        <a:pt x="27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5" name="Freeform 65">
                  <a:extLst>
                    <a:ext uri="{FF2B5EF4-FFF2-40B4-BE49-F238E27FC236}">
                      <a16:creationId xmlns:a16="http://schemas.microsoft.com/office/drawing/2014/main" id="{E1F92060-7BF7-4F1B-A98E-3BAC636A9E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27" y="-3732"/>
                  <a:ext cx="60" cy="78"/>
                </a:xfrm>
                <a:custGeom>
                  <a:avLst/>
                  <a:gdLst>
                    <a:gd name="T0" fmla="*/ 36 w 60"/>
                    <a:gd name="T1" fmla="*/ 0 h 78"/>
                    <a:gd name="T2" fmla="*/ 42 w 60"/>
                    <a:gd name="T3" fmla="*/ 0 h 78"/>
                    <a:gd name="T4" fmla="*/ 42 w 60"/>
                    <a:gd name="T5" fmla="*/ 12 h 78"/>
                    <a:gd name="T6" fmla="*/ 48 w 60"/>
                    <a:gd name="T7" fmla="*/ 24 h 78"/>
                    <a:gd name="T8" fmla="*/ 54 w 60"/>
                    <a:gd name="T9" fmla="*/ 36 h 78"/>
                    <a:gd name="T10" fmla="*/ 60 w 60"/>
                    <a:gd name="T11" fmla="*/ 42 h 78"/>
                    <a:gd name="T12" fmla="*/ 60 w 60"/>
                    <a:gd name="T13" fmla="*/ 54 h 78"/>
                    <a:gd name="T14" fmla="*/ 54 w 60"/>
                    <a:gd name="T15" fmla="*/ 66 h 78"/>
                    <a:gd name="T16" fmla="*/ 42 w 60"/>
                    <a:gd name="T17" fmla="*/ 72 h 78"/>
                    <a:gd name="T18" fmla="*/ 30 w 60"/>
                    <a:gd name="T19" fmla="*/ 78 h 78"/>
                    <a:gd name="T20" fmla="*/ 18 w 60"/>
                    <a:gd name="T21" fmla="*/ 72 h 78"/>
                    <a:gd name="T22" fmla="*/ 12 w 60"/>
                    <a:gd name="T23" fmla="*/ 66 h 78"/>
                    <a:gd name="T24" fmla="*/ 0 w 60"/>
                    <a:gd name="T25" fmla="*/ 54 h 78"/>
                    <a:gd name="T26" fmla="*/ 0 w 60"/>
                    <a:gd name="T27" fmla="*/ 42 h 78"/>
                    <a:gd name="T28" fmla="*/ 0 w 60"/>
                    <a:gd name="T29" fmla="*/ 30 h 78"/>
                    <a:gd name="T30" fmla="*/ 0 w 60"/>
                    <a:gd name="T31" fmla="*/ 18 h 78"/>
                    <a:gd name="T32" fmla="*/ 6 w 60"/>
                    <a:gd name="T33" fmla="*/ 12 h 78"/>
                    <a:gd name="T34" fmla="*/ 18 w 60"/>
                    <a:gd name="T35" fmla="*/ 6 h 78"/>
                    <a:gd name="T36" fmla="*/ 24 w 60"/>
                    <a:gd name="T37" fmla="*/ 0 h 78"/>
                    <a:gd name="T38" fmla="*/ 36 w 60"/>
                    <a:gd name="T3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0" h="78">
                      <a:moveTo>
                        <a:pt x="36" y="0"/>
                      </a:moveTo>
                      <a:lnTo>
                        <a:pt x="42" y="0"/>
                      </a:lnTo>
                      <a:lnTo>
                        <a:pt x="42" y="12"/>
                      </a:lnTo>
                      <a:lnTo>
                        <a:pt x="48" y="24"/>
                      </a:lnTo>
                      <a:lnTo>
                        <a:pt x="54" y="36"/>
                      </a:lnTo>
                      <a:lnTo>
                        <a:pt x="60" y="42"/>
                      </a:lnTo>
                      <a:lnTo>
                        <a:pt x="60" y="54"/>
                      </a:lnTo>
                      <a:lnTo>
                        <a:pt x="54" y="66"/>
                      </a:lnTo>
                      <a:lnTo>
                        <a:pt x="42" y="72"/>
                      </a:lnTo>
                      <a:lnTo>
                        <a:pt x="30" y="78"/>
                      </a:lnTo>
                      <a:lnTo>
                        <a:pt x="18" y="72"/>
                      </a:lnTo>
                      <a:lnTo>
                        <a:pt x="12" y="66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18" y="6"/>
                      </a:lnTo>
                      <a:lnTo>
                        <a:pt x="24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6" name="Freeform 66">
                  <a:extLst>
                    <a:ext uri="{FF2B5EF4-FFF2-40B4-BE49-F238E27FC236}">
                      <a16:creationId xmlns:a16="http://schemas.microsoft.com/office/drawing/2014/main" id="{C39C5C14-6A20-4FFD-B90C-040296C5F1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75" y="-3894"/>
                  <a:ext cx="120" cy="108"/>
                </a:xfrm>
                <a:custGeom>
                  <a:avLst/>
                  <a:gdLst>
                    <a:gd name="T0" fmla="*/ 114 w 120"/>
                    <a:gd name="T1" fmla="*/ 0 h 108"/>
                    <a:gd name="T2" fmla="*/ 114 w 120"/>
                    <a:gd name="T3" fmla="*/ 6 h 108"/>
                    <a:gd name="T4" fmla="*/ 120 w 120"/>
                    <a:gd name="T5" fmla="*/ 12 h 108"/>
                    <a:gd name="T6" fmla="*/ 120 w 120"/>
                    <a:gd name="T7" fmla="*/ 18 h 108"/>
                    <a:gd name="T8" fmla="*/ 114 w 120"/>
                    <a:gd name="T9" fmla="*/ 30 h 108"/>
                    <a:gd name="T10" fmla="*/ 108 w 120"/>
                    <a:gd name="T11" fmla="*/ 48 h 108"/>
                    <a:gd name="T12" fmla="*/ 108 w 120"/>
                    <a:gd name="T13" fmla="*/ 60 h 108"/>
                    <a:gd name="T14" fmla="*/ 102 w 120"/>
                    <a:gd name="T15" fmla="*/ 78 h 108"/>
                    <a:gd name="T16" fmla="*/ 96 w 120"/>
                    <a:gd name="T17" fmla="*/ 84 h 108"/>
                    <a:gd name="T18" fmla="*/ 84 w 120"/>
                    <a:gd name="T19" fmla="*/ 90 h 108"/>
                    <a:gd name="T20" fmla="*/ 72 w 120"/>
                    <a:gd name="T21" fmla="*/ 96 h 108"/>
                    <a:gd name="T22" fmla="*/ 60 w 120"/>
                    <a:gd name="T23" fmla="*/ 96 h 108"/>
                    <a:gd name="T24" fmla="*/ 48 w 120"/>
                    <a:gd name="T25" fmla="*/ 96 h 108"/>
                    <a:gd name="T26" fmla="*/ 36 w 120"/>
                    <a:gd name="T27" fmla="*/ 96 h 108"/>
                    <a:gd name="T28" fmla="*/ 30 w 120"/>
                    <a:gd name="T29" fmla="*/ 102 h 108"/>
                    <a:gd name="T30" fmla="*/ 18 w 120"/>
                    <a:gd name="T31" fmla="*/ 108 h 108"/>
                    <a:gd name="T32" fmla="*/ 6 w 120"/>
                    <a:gd name="T33" fmla="*/ 108 h 108"/>
                    <a:gd name="T34" fmla="*/ 0 w 120"/>
                    <a:gd name="T35" fmla="*/ 102 h 108"/>
                    <a:gd name="T36" fmla="*/ 0 w 120"/>
                    <a:gd name="T37" fmla="*/ 90 h 108"/>
                    <a:gd name="T38" fmla="*/ 0 w 120"/>
                    <a:gd name="T39" fmla="*/ 78 h 108"/>
                    <a:gd name="T40" fmla="*/ 6 w 120"/>
                    <a:gd name="T41" fmla="*/ 66 h 108"/>
                    <a:gd name="T42" fmla="*/ 18 w 120"/>
                    <a:gd name="T43" fmla="*/ 54 h 108"/>
                    <a:gd name="T44" fmla="*/ 24 w 120"/>
                    <a:gd name="T45" fmla="*/ 54 h 108"/>
                    <a:gd name="T46" fmla="*/ 30 w 120"/>
                    <a:gd name="T47" fmla="*/ 48 h 108"/>
                    <a:gd name="T48" fmla="*/ 42 w 120"/>
                    <a:gd name="T49" fmla="*/ 42 h 108"/>
                    <a:gd name="T50" fmla="*/ 60 w 120"/>
                    <a:gd name="T51" fmla="*/ 30 h 108"/>
                    <a:gd name="T52" fmla="*/ 78 w 120"/>
                    <a:gd name="T53" fmla="*/ 18 h 108"/>
                    <a:gd name="T54" fmla="*/ 90 w 120"/>
                    <a:gd name="T55" fmla="*/ 6 h 108"/>
                    <a:gd name="T56" fmla="*/ 102 w 120"/>
                    <a:gd name="T57" fmla="*/ 0 h 108"/>
                    <a:gd name="T58" fmla="*/ 114 w 120"/>
                    <a:gd name="T59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20" h="108">
                      <a:moveTo>
                        <a:pt x="114" y="0"/>
                      </a:moveTo>
                      <a:lnTo>
                        <a:pt x="114" y="6"/>
                      </a:lnTo>
                      <a:lnTo>
                        <a:pt x="120" y="12"/>
                      </a:lnTo>
                      <a:lnTo>
                        <a:pt x="120" y="18"/>
                      </a:lnTo>
                      <a:lnTo>
                        <a:pt x="114" y="30"/>
                      </a:lnTo>
                      <a:lnTo>
                        <a:pt x="108" y="48"/>
                      </a:lnTo>
                      <a:lnTo>
                        <a:pt x="108" y="60"/>
                      </a:lnTo>
                      <a:lnTo>
                        <a:pt x="102" y="78"/>
                      </a:lnTo>
                      <a:lnTo>
                        <a:pt x="96" y="84"/>
                      </a:lnTo>
                      <a:lnTo>
                        <a:pt x="84" y="90"/>
                      </a:lnTo>
                      <a:lnTo>
                        <a:pt x="72" y="96"/>
                      </a:lnTo>
                      <a:lnTo>
                        <a:pt x="60" y="96"/>
                      </a:lnTo>
                      <a:lnTo>
                        <a:pt x="48" y="96"/>
                      </a:lnTo>
                      <a:lnTo>
                        <a:pt x="36" y="96"/>
                      </a:lnTo>
                      <a:lnTo>
                        <a:pt x="30" y="102"/>
                      </a:lnTo>
                      <a:lnTo>
                        <a:pt x="18" y="108"/>
                      </a:lnTo>
                      <a:lnTo>
                        <a:pt x="6" y="108"/>
                      </a:lnTo>
                      <a:lnTo>
                        <a:pt x="0" y="102"/>
                      </a:lnTo>
                      <a:lnTo>
                        <a:pt x="0" y="90"/>
                      </a:lnTo>
                      <a:lnTo>
                        <a:pt x="0" y="78"/>
                      </a:lnTo>
                      <a:lnTo>
                        <a:pt x="6" y="66"/>
                      </a:lnTo>
                      <a:lnTo>
                        <a:pt x="18" y="54"/>
                      </a:lnTo>
                      <a:lnTo>
                        <a:pt x="24" y="54"/>
                      </a:lnTo>
                      <a:lnTo>
                        <a:pt x="30" y="48"/>
                      </a:lnTo>
                      <a:lnTo>
                        <a:pt x="42" y="42"/>
                      </a:lnTo>
                      <a:lnTo>
                        <a:pt x="60" y="30"/>
                      </a:lnTo>
                      <a:lnTo>
                        <a:pt x="78" y="18"/>
                      </a:lnTo>
                      <a:lnTo>
                        <a:pt x="90" y="6"/>
                      </a:lnTo>
                      <a:lnTo>
                        <a:pt x="102" y="0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7" name="Freeform 67">
                  <a:extLst>
                    <a:ext uri="{FF2B5EF4-FFF2-40B4-BE49-F238E27FC236}">
                      <a16:creationId xmlns:a16="http://schemas.microsoft.com/office/drawing/2014/main" id="{581ABEA8-6671-491B-BC98-F1BB1C094E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23" y="-3744"/>
                  <a:ext cx="48" cy="54"/>
                </a:xfrm>
                <a:custGeom>
                  <a:avLst/>
                  <a:gdLst>
                    <a:gd name="T0" fmla="*/ 24 w 48"/>
                    <a:gd name="T1" fmla="*/ 0 h 54"/>
                    <a:gd name="T2" fmla="*/ 30 w 48"/>
                    <a:gd name="T3" fmla="*/ 0 h 54"/>
                    <a:gd name="T4" fmla="*/ 42 w 48"/>
                    <a:gd name="T5" fmla="*/ 6 h 54"/>
                    <a:gd name="T6" fmla="*/ 48 w 48"/>
                    <a:gd name="T7" fmla="*/ 12 h 54"/>
                    <a:gd name="T8" fmla="*/ 48 w 48"/>
                    <a:gd name="T9" fmla="*/ 24 h 54"/>
                    <a:gd name="T10" fmla="*/ 48 w 48"/>
                    <a:gd name="T11" fmla="*/ 30 h 54"/>
                    <a:gd name="T12" fmla="*/ 36 w 48"/>
                    <a:gd name="T13" fmla="*/ 42 h 54"/>
                    <a:gd name="T14" fmla="*/ 30 w 48"/>
                    <a:gd name="T15" fmla="*/ 48 h 54"/>
                    <a:gd name="T16" fmla="*/ 18 w 48"/>
                    <a:gd name="T17" fmla="*/ 54 h 54"/>
                    <a:gd name="T18" fmla="*/ 12 w 48"/>
                    <a:gd name="T19" fmla="*/ 48 h 54"/>
                    <a:gd name="T20" fmla="*/ 6 w 48"/>
                    <a:gd name="T21" fmla="*/ 48 h 54"/>
                    <a:gd name="T22" fmla="*/ 0 w 48"/>
                    <a:gd name="T23" fmla="*/ 36 h 54"/>
                    <a:gd name="T24" fmla="*/ 0 w 48"/>
                    <a:gd name="T25" fmla="*/ 24 h 54"/>
                    <a:gd name="T26" fmla="*/ 6 w 48"/>
                    <a:gd name="T27" fmla="*/ 6 h 54"/>
                    <a:gd name="T28" fmla="*/ 12 w 48"/>
                    <a:gd name="T29" fmla="*/ 6 h 54"/>
                    <a:gd name="T30" fmla="*/ 24 w 48"/>
                    <a:gd name="T31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8" h="54">
                      <a:moveTo>
                        <a:pt x="24" y="0"/>
                      </a:moveTo>
                      <a:lnTo>
                        <a:pt x="30" y="0"/>
                      </a:lnTo>
                      <a:lnTo>
                        <a:pt x="42" y="6"/>
                      </a:lnTo>
                      <a:lnTo>
                        <a:pt x="48" y="12"/>
                      </a:lnTo>
                      <a:lnTo>
                        <a:pt x="48" y="24"/>
                      </a:lnTo>
                      <a:lnTo>
                        <a:pt x="48" y="30"/>
                      </a:lnTo>
                      <a:lnTo>
                        <a:pt x="36" y="42"/>
                      </a:lnTo>
                      <a:lnTo>
                        <a:pt x="30" y="48"/>
                      </a:lnTo>
                      <a:lnTo>
                        <a:pt x="18" y="54"/>
                      </a:lnTo>
                      <a:lnTo>
                        <a:pt x="12" y="48"/>
                      </a:lnTo>
                      <a:lnTo>
                        <a:pt x="6" y="48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8" name="Freeform 68">
                  <a:extLst>
                    <a:ext uri="{FF2B5EF4-FFF2-40B4-BE49-F238E27FC236}">
                      <a16:creationId xmlns:a16="http://schemas.microsoft.com/office/drawing/2014/main" id="{B14668DE-895B-44D3-810B-BAB626F7F6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39" y="-3582"/>
                  <a:ext cx="42" cy="48"/>
                </a:xfrm>
                <a:custGeom>
                  <a:avLst/>
                  <a:gdLst>
                    <a:gd name="T0" fmla="*/ 24 w 42"/>
                    <a:gd name="T1" fmla="*/ 0 h 48"/>
                    <a:gd name="T2" fmla="*/ 30 w 42"/>
                    <a:gd name="T3" fmla="*/ 6 h 48"/>
                    <a:gd name="T4" fmla="*/ 36 w 42"/>
                    <a:gd name="T5" fmla="*/ 12 h 48"/>
                    <a:gd name="T6" fmla="*/ 42 w 42"/>
                    <a:gd name="T7" fmla="*/ 18 h 48"/>
                    <a:gd name="T8" fmla="*/ 36 w 42"/>
                    <a:gd name="T9" fmla="*/ 30 h 48"/>
                    <a:gd name="T10" fmla="*/ 30 w 42"/>
                    <a:gd name="T11" fmla="*/ 42 h 48"/>
                    <a:gd name="T12" fmla="*/ 24 w 42"/>
                    <a:gd name="T13" fmla="*/ 48 h 48"/>
                    <a:gd name="T14" fmla="*/ 12 w 42"/>
                    <a:gd name="T15" fmla="*/ 48 h 48"/>
                    <a:gd name="T16" fmla="*/ 6 w 42"/>
                    <a:gd name="T17" fmla="*/ 42 h 48"/>
                    <a:gd name="T18" fmla="*/ 0 w 42"/>
                    <a:gd name="T19" fmla="*/ 36 h 48"/>
                    <a:gd name="T20" fmla="*/ 0 w 42"/>
                    <a:gd name="T21" fmla="*/ 24 h 48"/>
                    <a:gd name="T22" fmla="*/ 0 w 42"/>
                    <a:gd name="T23" fmla="*/ 18 h 48"/>
                    <a:gd name="T24" fmla="*/ 6 w 42"/>
                    <a:gd name="T25" fmla="*/ 6 h 48"/>
                    <a:gd name="T26" fmla="*/ 12 w 42"/>
                    <a:gd name="T27" fmla="*/ 6 h 48"/>
                    <a:gd name="T28" fmla="*/ 24 w 42"/>
                    <a:gd name="T2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2" h="48">
                      <a:moveTo>
                        <a:pt x="24" y="0"/>
                      </a:moveTo>
                      <a:lnTo>
                        <a:pt x="30" y="6"/>
                      </a:lnTo>
                      <a:lnTo>
                        <a:pt x="36" y="12"/>
                      </a:lnTo>
                      <a:lnTo>
                        <a:pt x="42" y="18"/>
                      </a:lnTo>
                      <a:lnTo>
                        <a:pt x="36" y="30"/>
                      </a:lnTo>
                      <a:lnTo>
                        <a:pt x="30" y="42"/>
                      </a:lnTo>
                      <a:lnTo>
                        <a:pt x="24" y="48"/>
                      </a:lnTo>
                      <a:lnTo>
                        <a:pt x="12" y="48"/>
                      </a:lnTo>
                      <a:lnTo>
                        <a:pt x="6" y="42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09" name="Freeform 69">
                  <a:extLst>
                    <a:ext uri="{FF2B5EF4-FFF2-40B4-BE49-F238E27FC236}">
                      <a16:creationId xmlns:a16="http://schemas.microsoft.com/office/drawing/2014/main" id="{F98431EE-D3F9-412A-A2A8-5EA20126CD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1" y="-3996"/>
                  <a:ext cx="72" cy="42"/>
                </a:xfrm>
                <a:custGeom>
                  <a:avLst/>
                  <a:gdLst>
                    <a:gd name="T0" fmla="*/ 24 w 72"/>
                    <a:gd name="T1" fmla="*/ 0 h 42"/>
                    <a:gd name="T2" fmla="*/ 36 w 72"/>
                    <a:gd name="T3" fmla="*/ 0 h 42"/>
                    <a:gd name="T4" fmla="*/ 54 w 72"/>
                    <a:gd name="T5" fmla="*/ 6 h 42"/>
                    <a:gd name="T6" fmla="*/ 66 w 72"/>
                    <a:gd name="T7" fmla="*/ 12 h 42"/>
                    <a:gd name="T8" fmla="*/ 72 w 72"/>
                    <a:gd name="T9" fmla="*/ 24 h 42"/>
                    <a:gd name="T10" fmla="*/ 66 w 72"/>
                    <a:gd name="T11" fmla="*/ 30 h 42"/>
                    <a:gd name="T12" fmla="*/ 60 w 72"/>
                    <a:gd name="T13" fmla="*/ 42 h 42"/>
                    <a:gd name="T14" fmla="*/ 48 w 72"/>
                    <a:gd name="T15" fmla="*/ 42 h 42"/>
                    <a:gd name="T16" fmla="*/ 36 w 72"/>
                    <a:gd name="T17" fmla="*/ 42 h 42"/>
                    <a:gd name="T18" fmla="*/ 24 w 72"/>
                    <a:gd name="T19" fmla="*/ 42 h 42"/>
                    <a:gd name="T20" fmla="*/ 6 w 72"/>
                    <a:gd name="T21" fmla="*/ 30 h 42"/>
                    <a:gd name="T22" fmla="*/ 0 w 72"/>
                    <a:gd name="T23" fmla="*/ 18 h 42"/>
                    <a:gd name="T24" fmla="*/ 0 w 72"/>
                    <a:gd name="T25" fmla="*/ 12 h 42"/>
                    <a:gd name="T26" fmla="*/ 0 w 72"/>
                    <a:gd name="T27" fmla="*/ 6 h 42"/>
                    <a:gd name="T28" fmla="*/ 12 w 72"/>
                    <a:gd name="T29" fmla="*/ 0 h 42"/>
                    <a:gd name="T30" fmla="*/ 24 w 72"/>
                    <a:gd name="T31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2" h="42">
                      <a:moveTo>
                        <a:pt x="24" y="0"/>
                      </a:moveTo>
                      <a:lnTo>
                        <a:pt x="36" y="0"/>
                      </a:lnTo>
                      <a:lnTo>
                        <a:pt x="54" y="6"/>
                      </a:lnTo>
                      <a:lnTo>
                        <a:pt x="66" y="12"/>
                      </a:lnTo>
                      <a:lnTo>
                        <a:pt x="72" y="24"/>
                      </a:lnTo>
                      <a:lnTo>
                        <a:pt x="66" y="30"/>
                      </a:lnTo>
                      <a:lnTo>
                        <a:pt x="60" y="42"/>
                      </a:lnTo>
                      <a:lnTo>
                        <a:pt x="48" y="42"/>
                      </a:lnTo>
                      <a:lnTo>
                        <a:pt x="36" y="42"/>
                      </a:lnTo>
                      <a:lnTo>
                        <a:pt x="24" y="42"/>
                      </a:lnTo>
                      <a:lnTo>
                        <a:pt x="6" y="30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12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0" name="Freeform 70">
                  <a:extLst>
                    <a:ext uri="{FF2B5EF4-FFF2-40B4-BE49-F238E27FC236}">
                      <a16:creationId xmlns:a16="http://schemas.microsoft.com/office/drawing/2014/main" id="{85C0DF36-E3CF-4C5D-B9EC-6EA148D70A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" y="-4170"/>
                  <a:ext cx="66" cy="96"/>
                </a:xfrm>
                <a:custGeom>
                  <a:avLst/>
                  <a:gdLst>
                    <a:gd name="T0" fmla="*/ 30 w 66"/>
                    <a:gd name="T1" fmla="*/ 0 h 96"/>
                    <a:gd name="T2" fmla="*/ 42 w 66"/>
                    <a:gd name="T3" fmla="*/ 0 h 96"/>
                    <a:gd name="T4" fmla="*/ 48 w 66"/>
                    <a:gd name="T5" fmla="*/ 6 h 96"/>
                    <a:gd name="T6" fmla="*/ 60 w 66"/>
                    <a:gd name="T7" fmla="*/ 12 h 96"/>
                    <a:gd name="T8" fmla="*/ 66 w 66"/>
                    <a:gd name="T9" fmla="*/ 12 h 96"/>
                    <a:gd name="T10" fmla="*/ 66 w 66"/>
                    <a:gd name="T11" fmla="*/ 24 h 96"/>
                    <a:gd name="T12" fmla="*/ 66 w 66"/>
                    <a:gd name="T13" fmla="*/ 42 h 96"/>
                    <a:gd name="T14" fmla="*/ 66 w 66"/>
                    <a:gd name="T15" fmla="*/ 54 h 96"/>
                    <a:gd name="T16" fmla="*/ 60 w 66"/>
                    <a:gd name="T17" fmla="*/ 66 h 96"/>
                    <a:gd name="T18" fmla="*/ 54 w 66"/>
                    <a:gd name="T19" fmla="*/ 84 h 96"/>
                    <a:gd name="T20" fmla="*/ 48 w 66"/>
                    <a:gd name="T21" fmla="*/ 90 h 96"/>
                    <a:gd name="T22" fmla="*/ 42 w 66"/>
                    <a:gd name="T23" fmla="*/ 96 h 96"/>
                    <a:gd name="T24" fmla="*/ 30 w 66"/>
                    <a:gd name="T25" fmla="*/ 90 h 96"/>
                    <a:gd name="T26" fmla="*/ 24 w 66"/>
                    <a:gd name="T27" fmla="*/ 84 h 96"/>
                    <a:gd name="T28" fmla="*/ 18 w 66"/>
                    <a:gd name="T29" fmla="*/ 66 h 96"/>
                    <a:gd name="T30" fmla="*/ 18 w 66"/>
                    <a:gd name="T31" fmla="*/ 48 h 96"/>
                    <a:gd name="T32" fmla="*/ 12 w 66"/>
                    <a:gd name="T33" fmla="*/ 42 h 96"/>
                    <a:gd name="T34" fmla="*/ 6 w 66"/>
                    <a:gd name="T35" fmla="*/ 36 h 96"/>
                    <a:gd name="T36" fmla="*/ 6 w 66"/>
                    <a:gd name="T37" fmla="*/ 30 h 96"/>
                    <a:gd name="T38" fmla="*/ 0 w 66"/>
                    <a:gd name="T39" fmla="*/ 24 h 96"/>
                    <a:gd name="T40" fmla="*/ 0 w 66"/>
                    <a:gd name="T41" fmla="*/ 12 h 96"/>
                    <a:gd name="T42" fmla="*/ 0 w 66"/>
                    <a:gd name="T43" fmla="*/ 6 h 96"/>
                    <a:gd name="T44" fmla="*/ 6 w 66"/>
                    <a:gd name="T45" fmla="*/ 0 h 96"/>
                    <a:gd name="T46" fmla="*/ 18 w 66"/>
                    <a:gd name="T47" fmla="*/ 0 h 96"/>
                    <a:gd name="T48" fmla="*/ 30 w 66"/>
                    <a:gd name="T49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6" h="96">
                      <a:moveTo>
                        <a:pt x="30" y="0"/>
                      </a:moveTo>
                      <a:lnTo>
                        <a:pt x="42" y="0"/>
                      </a:lnTo>
                      <a:lnTo>
                        <a:pt x="48" y="6"/>
                      </a:lnTo>
                      <a:lnTo>
                        <a:pt x="60" y="12"/>
                      </a:lnTo>
                      <a:lnTo>
                        <a:pt x="66" y="12"/>
                      </a:lnTo>
                      <a:lnTo>
                        <a:pt x="66" y="24"/>
                      </a:lnTo>
                      <a:lnTo>
                        <a:pt x="66" y="42"/>
                      </a:lnTo>
                      <a:lnTo>
                        <a:pt x="66" y="54"/>
                      </a:lnTo>
                      <a:lnTo>
                        <a:pt x="60" y="66"/>
                      </a:lnTo>
                      <a:lnTo>
                        <a:pt x="54" y="84"/>
                      </a:lnTo>
                      <a:lnTo>
                        <a:pt x="48" y="90"/>
                      </a:lnTo>
                      <a:lnTo>
                        <a:pt x="42" y="96"/>
                      </a:lnTo>
                      <a:lnTo>
                        <a:pt x="30" y="90"/>
                      </a:lnTo>
                      <a:lnTo>
                        <a:pt x="24" y="84"/>
                      </a:lnTo>
                      <a:lnTo>
                        <a:pt x="18" y="66"/>
                      </a:lnTo>
                      <a:lnTo>
                        <a:pt x="18" y="48"/>
                      </a:lnTo>
                      <a:lnTo>
                        <a:pt x="12" y="42"/>
                      </a:lnTo>
                      <a:lnTo>
                        <a:pt x="6" y="36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8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1" name="Freeform 71">
                  <a:extLst>
                    <a:ext uri="{FF2B5EF4-FFF2-40B4-BE49-F238E27FC236}">
                      <a16:creationId xmlns:a16="http://schemas.microsoft.com/office/drawing/2014/main" id="{3B95EE2D-23E6-4D38-AFE0-E393F12272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59" y="-3258"/>
                  <a:ext cx="42" cy="48"/>
                </a:xfrm>
                <a:custGeom>
                  <a:avLst/>
                  <a:gdLst>
                    <a:gd name="T0" fmla="*/ 24 w 42"/>
                    <a:gd name="T1" fmla="*/ 0 h 48"/>
                    <a:gd name="T2" fmla="*/ 30 w 42"/>
                    <a:gd name="T3" fmla="*/ 6 h 48"/>
                    <a:gd name="T4" fmla="*/ 36 w 42"/>
                    <a:gd name="T5" fmla="*/ 12 h 48"/>
                    <a:gd name="T6" fmla="*/ 42 w 42"/>
                    <a:gd name="T7" fmla="*/ 18 h 48"/>
                    <a:gd name="T8" fmla="*/ 36 w 42"/>
                    <a:gd name="T9" fmla="*/ 30 h 48"/>
                    <a:gd name="T10" fmla="*/ 30 w 42"/>
                    <a:gd name="T11" fmla="*/ 42 h 48"/>
                    <a:gd name="T12" fmla="*/ 24 w 42"/>
                    <a:gd name="T13" fmla="*/ 48 h 48"/>
                    <a:gd name="T14" fmla="*/ 12 w 42"/>
                    <a:gd name="T15" fmla="*/ 48 h 48"/>
                    <a:gd name="T16" fmla="*/ 6 w 42"/>
                    <a:gd name="T17" fmla="*/ 42 h 48"/>
                    <a:gd name="T18" fmla="*/ 0 w 42"/>
                    <a:gd name="T19" fmla="*/ 36 h 48"/>
                    <a:gd name="T20" fmla="*/ 0 w 42"/>
                    <a:gd name="T21" fmla="*/ 24 h 48"/>
                    <a:gd name="T22" fmla="*/ 0 w 42"/>
                    <a:gd name="T23" fmla="*/ 18 h 48"/>
                    <a:gd name="T24" fmla="*/ 6 w 42"/>
                    <a:gd name="T25" fmla="*/ 6 h 48"/>
                    <a:gd name="T26" fmla="*/ 12 w 42"/>
                    <a:gd name="T27" fmla="*/ 6 h 48"/>
                    <a:gd name="T28" fmla="*/ 24 w 42"/>
                    <a:gd name="T2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2" h="48">
                      <a:moveTo>
                        <a:pt x="24" y="0"/>
                      </a:moveTo>
                      <a:lnTo>
                        <a:pt x="30" y="6"/>
                      </a:lnTo>
                      <a:lnTo>
                        <a:pt x="36" y="12"/>
                      </a:lnTo>
                      <a:lnTo>
                        <a:pt x="42" y="18"/>
                      </a:lnTo>
                      <a:lnTo>
                        <a:pt x="36" y="30"/>
                      </a:lnTo>
                      <a:lnTo>
                        <a:pt x="30" y="42"/>
                      </a:lnTo>
                      <a:lnTo>
                        <a:pt x="24" y="48"/>
                      </a:lnTo>
                      <a:lnTo>
                        <a:pt x="12" y="48"/>
                      </a:lnTo>
                      <a:lnTo>
                        <a:pt x="6" y="42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2" name="Freeform 72">
                  <a:extLst>
                    <a:ext uri="{FF2B5EF4-FFF2-40B4-BE49-F238E27FC236}">
                      <a16:creationId xmlns:a16="http://schemas.microsoft.com/office/drawing/2014/main" id="{A0C0CA71-A422-4161-89AB-0E5EA8E5D0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71" y="-3144"/>
                  <a:ext cx="42" cy="48"/>
                </a:xfrm>
                <a:custGeom>
                  <a:avLst/>
                  <a:gdLst>
                    <a:gd name="T0" fmla="*/ 24 w 42"/>
                    <a:gd name="T1" fmla="*/ 0 h 48"/>
                    <a:gd name="T2" fmla="*/ 30 w 42"/>
                    <a:gd name="T3" fmla="*/ 6 h 48"/>
                    <a:gd name="T4" fmla="*/ 36 w 42"/>
                    <a:gd name="T5" fmla="*/ 12 h 48"/>
                    <a:gd name="T6" fmla="*/ 42 w 42"/>
                    <a:gd name="T7" fmla="*/ 18 h 48"/>
                    <a:gd name="T8" fmla="*/ 36 w 42"/>
                    <a:gd name="T9" fmla="*/ 30 h 48"/>
                    <a:gd name="T10" fmla="*/ 30 w 42"/>
                    <a:gd name="T11" fmla="*/ 42 h 48"/>
                    <a:gd name="T12" fmla="*/ 24 w 42"/>
                    <a:gd name="T13" fmla="*/ 48 h 48"/>
                    <a:gd name="T14" fmla="*/ 12 w 42"/>
                    <a:gd name="T15" fmla="*/ 48 h 48"/>
                    <a:gd name="T16" fmla="*/ 6 w 42"/>
                    <a:gd name="T17" fmla="*/ 42 h 48"/>
                    <a:gd name="T18" fmla="*/ 0 w 42"/>
                    <a:gd name="T19" fmla="*/ 36 h 48"/>
                    <a:gd name="T20" fmla="*/ 0 w 42"/>
                    <a:gd name="T21" fmla="*/ 24 h 48"/>
                    <a:gd name="T22" fmla="*/ 0 w 42"/>
                    <a:gd name="T23" fmla="*/ 18 h 48"/>
                    <a:gd name="T24" fmla="*/ 6 w 42"/>
                    <a:gd name="T25" fmla="*/ 6 h 48"/>
                    <a:gd name="T26" fmla="*/ 12 w 42"/>
                    <a:gd name="T27" fmla="*/ 6 h 48"/>
                    <a:gd name="T28" fmla="*/ 24 w 42"/>
                    <a:gd name="T2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2" h="48">
                      <a:moveTo>
                        <a:pt x="24" y="0"/>
                      </a:moveTo>
                      <a:lnTo>
                        <a:pt x="30" y="6"/>
                      </a:lnTo>
                      <a:lnTo>
                        <a:pt x="36" y="12"/>
                      </a:lnTo>
                      <a:lnTo>
                        <a:pt x="42" y="18"/>
                      </a:lnTo>
                      <a:lnTo>
                        <a:pt x="36" y="30"/>
                      </a:lnTo>
                      <a:lnTo>
                        <a:pt x="30" y="42"/>
                      </a:lnTo>
                      <a:lnTo>
                        <a:pt x="24" y="48"/>
                      </a:lnTo>
                      <a:lnTo>
                        <a:pt x="12" y="48"/>
                      </a:lnTo>
                      <a:lnTo>
                        <a:pt x="6" y="42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3" name="Freeform 74">
                  <a:extLst>
                    <a:ext uri="{FF2B5EF4-FFF2-40B4-BE49-F238E27FC236}">
                      <a16:creationId xmlns:a16="http://schemas.microsoft.com/office/drawing/2014/main" id="{0B078242-B5A1-45F1-81BE-B40A750FB5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" y="-1098"/>
                  <a:ext cx="48" cy="54"/>
                </a:xfrm>
                <a:custGeom>
                  <a:avLst/>
                  <a:gdLst>
                    <a:gd name="T0" fmla="*/ 24 w 48"/>
                    <a:gd name="T1" fmla="*/ 0 h 54"/>
                    <a:gd name="T2" fmla="*/ 36 w 48"/>
                    <a:gd name="T3" fmla="*/ 0 h 54"/>
                    <a:gd name="T4" fmla="*/ 42 w 48"/>
                    <a:gd name="T5" fmla="*/ 6 h 54"/>
                    <a:gd name="T6" fmla="*/ 48 w 48"/>
                    <a:gd name="T7" fmla="*/ 18 h 54"/>
                    <a:gd name="T8" fmla="*/ 48 w 48"/>
                    <a:gd name="T9" fmla="*/ 30 h 54"/>
                    <a:gd name="T10" fmla="*/ 48 w 48"/>
                    <a:gd name="T11" fmla="*/ 42 h 54"/>
                    <a:gd name="T12" fmla="*/ 36 w 48"/>
                    <a:gd name="T13" fmla="*/ 48 h 54"/>
                    <a:gd name="T14" fmla="*/ 24 w 48"/>
                    <a:gd name="T15" fmla="*/ 54 h 54"/>
                    <a:gd name="T16" fmla="*/ 12 w 48"/>
                    <a:gd name="T17" fmla="*/ 48 h 54"/>
                    <a:gd name="T18" fmla="*/ 6 w 48"/>
                    <a:gd name="T19" fmla="*/ 42 h 54"/>
                    <a:gd name="T20" fmla="*/ 0 w 48"/>
                    <a:gd name="T21" fmla="*/ 30 h 54"/>
                    <a:gd name="T22" fmla="*/ 0 w 48"/>
                    <a:gd name="T23" fmla="*/ 18 h 54"/>
                    <a:gd name="T24" fmla="*/ 6 w 48"/>
                    <a:gd name="T25" fmla="*/ 6 h 54"/>
                    <a:gd name="T26" fmla="*/ 12 w 48"/>
                    <a:gd name="T27" fmla="*/ 0 h 54"/>
                    <a:gd name="T28" fmla="*/ 24 w 48"/>
                    <a:gd name="T29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54">
                      <a:moveTo>
                        <a:pt x="24" y="0"/>
                      </a:moveTo>
                      <a:lnTo>
                        <a:pt x="36" y="0"/>
                      </a:lnTo>
                      <a:lnTo>
                        <a:pt x="42" y="6"/>
                      </a:lnTo>
                      <a:lnTo>
                        <a:pt x="48" y="18"/>
                      </a:lnTo>
                      <a:lnTo>
                        <a:pt x="48" y="30"/>
                      </a:lnTo>
                      <a:lnTo>
                        <a:pt x="48" y="42"/>
                      </a:lnTo>
                      <a:lnTo>
                        <a:pt x="36" y="48"/>
                      </a:lnTo>
                      <a:lnTo>
                        <a:pt x="24" y="54"/>
                      </a:lnTo>
                      <a:lnTo>
                        <a:pt x="12" y="48"/>
                      </a:lnTo>
                      <a:lnTo>
                        <a:pt x="6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2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4" name="Freeform 75">
                  <a:extLst>
                    <a:ext uri="{FF2B5EF4-FFF2-40B4-BE49-F238E27FC236}">
                      <a16:creationId xmlns:a16="http://schemas.microsoft.com/office/drawing/2014/main" id="{417616FF-2E42-47B5-ACB2-19885D5B9D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" y="-1206"/>
                  <a:ext cx="72" cy="84"/>
                </a:xfrm>
                <a:custGeom>
                  <a:avLst/>
                  <a:gdLst>
                    <a:gd name="T0" fmla="*/ 42 w 72"/>
                    <a:gd name="T1" fmla="*/ 0 h 84"/>
                    <a:gd name="T2" fmla="*/ 54 w 72"/>
                    <a:gd name="T3" fmla="*/ 6 h 84"/>
                    <a:gd name="T4" fmla="*/ 66 w 72"/>
                    <a:gd name="T5" fmla="*/ 12 h 84"/>
                    <a:gd name="T6" fmla="*/ 72 w 72"/>
                    <a:gd name="T7" fmla="*/ 24 h 84"/>
                    <a:gd name="T8" fmla="*/ 72 w 72"/>
                    <a:gd name="T9" fmla="*/ 36 h 84"/>
                    <a:gd name="T10" fmla="*/ 72 w 72"/>
                    <a:gd name="T11" fmla="*/ 54 h 84"/>
                    <a:gd name="T12" fmla="*/ 66 w 72"/>
                    <a:gd name="T13" fmla="*/ 66 h 84"/>
                    <a:gd name="T14" fmla="*/ 54 w 72"/>
                    <a:gd name="T15" fmla="*/ 78 h 84"/>
                    <a:gd name="T16" fmla="*/ 42 w 72"/>
                    <a:gd name="T17" fmla="*/ 84 h 84"/>
                    <a:gd name="T18" fmla="*/ 30 w 72"/>
                    <a:gd name="T19" fmla="*/ 84 h 84"/>
                    <a:gd name="T20" fmla="*/ 18 w 72"/>
                    <a:gd name="T21" fmla="*/ 72 h 84"/>
                    <a:gd name="T22" fmla="*/ 6 w 72"/>
                    <a:gd name="T23" fmla="*/ 60 h 84"/>
                    <a:gd name="T24" fmla="*/ 0 w 72"/>
                    <a:gd name="T25" fmla="*/ 48 h 84"/>
                    <a:gd name="T26" fmla="*/ 0 w 72"/>
                    <a:gd name="T27" fmla="*/ 30 h 84"/>
                    <a:gd name="T28" fmla="*/ 6 w 72"/>
                    <a:gd name="T29" fmla="*/ 18 h 84"/>
                    <a:gd name="T30" fmla="*/ 12 w 72"/>
                    <a:gd name="T31" fmla="*/ 6 h 84"/>
                    <a:gd name="T32" fmla="*/ 30 w 72"/>
                    <a:gd name="T33" fmla="*/ 0 h 84"/>
                    <a:gd name="T34" fmla="*/ 42 w 72"/>
                    <a:gd name="T3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2" h="84">
                      <a:moveTo>
                        <a:pt x="42" y="0"/>
                      </a:moveTo>
                      <a:lnTo>
                        <a:pt x="54" y="6"/>
                      </a:lnTo>
                      <a:lnTo>
                        <a:pt x="66" y="12"/>
                      </a:lnTo>
                      <a:lnTo>
                        <a:pt x="72" y="24"/>
                      </a:lnTo>
                      <a:lnTo>
                        <a:pt x="72" y="36"/>
                      </a:lnTo>
                      <a:lnTo>
                        <a:pt x="72" y="54"/>
                      </a:lnTo>
                      <a:lnTo>
                        <a:pt x="66" y="66"/>
                      </a:lnTo>
                      <a:lnTo>
                        <a:pt x="54" y="78"/>
                      </a:lnTo>
                      <a:lnTo>
                        <a:pt x="42" y="84"/>
                      </a:lnTo>
                      <a:lnTo>
                        <a:pt x="30" y="84"/>
                      </a:lnTo>
                      <a:lnTo>
                        <a:pt x="18" y="72"/>
                      </a:lnTo>
                      <a:lnTo>
                        <a:pt x="6" y="60"/>
                      </a:lnTo>
                      <a:lnTo>
                        <a:pt x="0" y="48"/>
                      </a:lnTo>
                      <a:lnTo>
                        <a:pt x="0" y="30"/>
                      </a:lnTo>
                      <a:lnTo>
                        <a:pt x="6" y="18"/>
                      </a:lnTo>
                      <a:lnTo>
                        <a:pt x="12" y="6"/>
                      </a:lnTo>
                      <a:lnTo>
                        <a:pt x="30" y="0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5" name="Freeform 76">
                  <a:extLst>
                    <a:ext uri="{FF2B5EF4-FFF2-40B4-BE49-F238E27FC236}">
                      <a16:creationId xmlns:a16="http://schemas.microsoft.com/office/drawing/2014/main" id="{E3F9F44C-39C0-4104-88C7-93EA8750EB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7" y="-1374"/>
                  <a:ext cx="168" cy="312"/>
                </a:xfrm>
                <a:custGeom>
                  <a:avLst/>
                  <a:gdLst>
                    <a:gd name="T0" fmla="*/ 102 w 168"/>
                    <a:gd name="T1" fmla="*/ 0 h 312"/>
                    <a:gd name="T2" fmla="*/ 114 w 168"/>
                    <a:gd name="T3" fmla="*/ 6 h 312"/>
                    <a:gd name="T4" fmla="*/ 126 w 168"/>
                    <a:gd name="T5" fmla="*/ 12 h 312"/>
                    <a:gd name="T6" fmla="*/ 132 w 168"/>
                    <a:gd name="T7" fmla="*/ 24 h 312"/>
                    <a:gd name="T8" fmla="*/ 144 w 168"/>
                    <a:gd name="T9" fmla="*/ 42 h 312"/>
                    <a:gd name="T10" fmla="*/ 156 w 168"/>
                    <a:gd name="T11" fmla="*/ 60 h 312"/>
                    <a:gd name="T12" fmla="*/ 162 w 168"/>
                    <a:gd name="T13" fmla="*/ 78 h 312"/>
                    <a:gd name="T14" fmla="*/ 168 w 168"/>
                    <a:gd name="T15" fmla="*/ 90 h 312"/>
                    <a:gd name="T16" fmla="*/ 168 w 168"/>
                    <a:gd name="T17" fmla="*/ 102 h 312"/>
                    <a:gd name="T18" fmla="*/ 162 w 168"/>
                    <a:gd name="T19" fmla="*/ 108 h 312"/>
                    <a:gd name="T20" fmla="*/ 156 w 168"/>
                    <a:gd name="T21" fmla="*/ 120 h 312"/>
                    <a:gd name="T22" fmla="*/ 144 w 168"/>
                    <a:gd name="T23" fmla="*/ 126 h 312"/>
                    <a:gd name="T24" fmla="*/ 144 w 168"/>
                    <a:gd name="T25" fmla="*/ 138 h 312"/>
                    <a:gd name="T26" fmla="*/ 144 w 168"/>
                    <a:gd name="T27" fmla="*/ 144 h 312"/>
                    <a:gd name="T28" fmla="*/ 156 w 168"/>
                    <a:gd name="T29" fmla="*/ 156 h 312"/>
                    <a:gd name="T30" fmla="*/ 156 w 168"/>
                    <a:gd name="T31" fmla="*/ 162 h 312"/>
                    <a:gd name="T32" fmla="*/ 162 w 168"/>
                    <a:gd name="T33" fmla="*/ 168 h 312"/>
                    <a:gd name="T34" fmla="*/ 156 w 168"/>
                    <a:gd name="T35" fmla="*/ 180 h 312"/>
                    <a:gd name="T36" fmla="*/ 156 w 168"/>
                    <a:gd name="T37" fmla="*/ 192 h 312"/>
                    <a:gd name="T38" fmla="*/ 150 w 168"/>
                    <a:gd name="T39" fmla="*/ 204 h 312"/>
                    <a:gd name="T40" fmla="*/ 150 w 168"/>
                    <a:gd name="T41" fmla="*/ 216 h 312"/>
                    <a:gd name="T42" fmla="*/ 150 w 168"/>
                    <a:gd name="T43" fmla="*/ 228 h 312"/>
                    <a:gd name="T44" fmla="*/ 150 w 168"/>
                    <a:gd name="T45" fmla="*/ 240 h 312"/>
                    <a:gd name="T46" fmla="*/ 156 w 168"/>
                    <a:gd name="T47" fmla="*/ 246 h 312"/>
                    <a:gd name="T48" fmla="*/ 156 w 168"/>
                    <a:gd name="T49" fmla="*/ 258 h 312"/>
                    <a:gd name="T50" fmla="*/ 150 w 168"/>
                    <a:gd name="T51" fmla="*/ 264 h 312"/>
                    <a:gd name="T52" fmla="*/ 150 w 168"/>
                    <a:gd name="T53" fmla="*/ 270 h 312"/>
                    <a:gd name="T54" fmla="*/ 138 w 168"/>
                    <a:gd name="T55" fmla="*/ 276 h 312"/>
                    <a:gd name="T56" fmla="*/ 132 w 168"/>
                    <a:gd name="T57" fmla="*/ 276 h 312"/>
                    <a:gd name="T58" fmla="*/ 114 w 168"/>
                    <a:gd name="T59" fmla="*/ 270 h 312"/>
                    <a:gd name="T60" fmla="*/ 96 w 168"/>
                    <a:gd name="T61" fmla="*/ 276 h 312"/>
                    <a:gd name="T62" fmla="*/ 84 w 168"/>
                    <a:gd name="T63" fmla="*/ 282 h 312"/>
                    <a:gd name="T64" fmla="*/ 72 w 168"/>
                    <a:gd name="T65" fmla="*/ 288 h 312"/>
                    <a:gd name="T66" fmla="*/ 60 w 168"/>
                    <a:gd name="T67" fmla="*/ 300 h 312"/>
                    <a:gd name="T68" fmla="*/ 42 w 168"/>
                    <a:gd name="T69" fmla="*/ 312 h 312"/>
                    <a:gd name="T70" fmla="*/ 36 w 168"/>
                    <a:gd name="T71" fmla="*/ 312 h 312"/>
                    <a:gd name="T72" fmla="*/ 24 w 168"/>
                    <a:gd name="T73" fmla="*/ 306 h 312"/>
                    <a:gd name="T74" fmla="*/ 18 w 168"/>
                    <a:gd name="T75" fmla="*/ 300 h 312"/>
                    <a:gd name="T76" fmla="*/ 18 w 168"/>
                    <a:gd name="T77" fmla="*/ 288 h 312"/>
                    <a:gd name="T78" fmla="*/ 24 w 168"/>
                    <a:gd name="T79" fmla="*/ 276 h 312"/>
                    <a:gd name="T80" fmla="*/ 30 w 168"/>
                    <a:gd name="T81" fmla="*/ 258 h 312"/>
                    <a:gd name="T82" fmla="*/ 30 w 168"/>
                    <a:gd name="T83" fmla="*/ 246 h 312"/>
                    <a:gd name="T84" fmla="*/ 30 w 168"/>
                    <a:gd name="T85" fmla="*/ 234 h 312"/>
                    <a:gd name="T86" fmla="*/ 30 w 168"/>
                    <a:gd name="T87" fmla="*/ 222 h 312"/>
                    <a:gd name="T88" fmla="*/ 24 w 168"/>
                    <a:gd name="T89" fmla="*/ 210 h 312"/>
                    <a:gd name="T90" fmla="*/ 18 w 168"/>
                    <a:gd name="T91" fmla="*/ 198 h 312"/>
                    <a:gd name="T92" fmla="*/ 18 w 168"/>
                    <a:gd name="T93" fmla="*/ 186 h 312"/>
                    <a:gd name="T94" fmla="*/ 12 w 168"/>
                    <a:gd name="T95" fmla="*/ 174 h 312"/>
                    <a:gd name="T96" fmla="*/ 12 w 168"/>
                    <a:gd name="T97" fmla="*/ 150 h 312"/>
                    <a:gd name="T98" fmla="*/ 12 w 168"/>
                    <a:gd name="T99" fmla="*/ 126 h 312"/>
                    <a:gd name="T100" fmla="*/ 12 w 168"/>
                    <a:gd name="T101" fmla="*/ 108 h 312"/>
                    <a:gd name="T102" fmla="*/ 6 w 168"/>
                    <a:gd name="T103" fmla="*/ 96 h 312"/>
                    <a:gd name="T104" fmla="*/ 0 w 168"/>
                    <a:gd name="T105" fmla="*/ 84 h 312"/>
                    <a:gd name="T106" fmla="*/ 0 w 168"/>
                    <a:gd name="T107" fmla="*/ 72 h 312"/>
                    <a:gd name="T108" fmla="*/ 0 w 168"/>
                    <a:gd name="T109" fmla="*/ 66 h 312"/>
                    <a:gd name="T110" fmla="*/ 12 w 168"/>
                    <a:gd name="T111" fmla="*/ 54 h 312"/>
                    <a:gd name="T112" fmla="*/ 30 w 168"/>
                    <a:gd name="T113" fmla="*/ 42 h 312"/>
                    <a:gd name="T114" fmla="*/ 48 w 168"/>
                    <a:gd name="T115" fmla="*/ 30 h 312"/>
                    <a:gd name="T116" fmla="*/ 72 w 168"/>
                    <a:gd name="T117" fmla="*/ 18 h 312"/>
                    <a:gd name="T118" fmla="*/ 90 w 168"/>
                    <a:gd name="T119" fmla="*/ 6 h 312"/>
                    <a:gd name="T120" fmla="*/ 102 w 168"/>
                    <a:gd name="T121" fmla="*/ 0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68" h="312">
                      <a:moveTo>
                        <a:pt x="102" y="0"/>
                      </a:moveTo>
                      <a:lnTo>
                        <a:pt x="114" y="6"/>
                      </a:lnTo>
                      <a:lnTo>
                        <a:pt x="126" y="12"/>
                      </a:lnTo>
                      <a:lnTo>
                        <a:pt x="132" y="24"/>
                      </a:lnTo>
                      <a:lnTo>
                        <a:pt x="144" y="42"/>
                      </a:lnTo>
                      <a:lnTo>
                        <a:pt x="156" y="60"/>
                      </a:lnTo>
                      <a:lnTo>
                        <a:pt x="162" y="78"/>
                      </a:lnTo>
                      <a:lnTo>
                        <a:pt x="168" y="90"/>
                      </a:lnTo>
                      <a:lnTo>
                        <a:pt x="168" y="102"/>
                      </a:lnTo>
                      <a:lnTo>
                        <a:pt x="162" y="108"/>
                      </a:lnTo>
                      <a:lnTo>
                        <a:pt x="156" y="120"/>
                      </a:lnTo>
                      <a:lnTo>
                        <a:pt x="144" y="126"/>
                      </a:lnTo>
                      <a:lnTo>
                        <a:pt x="144" y="138"/>
                      </a:lnTo>
                      <a:lnTo>
                        <a:pt x="144" y="144"/>
                      </a:lnTo>
                      <a:lnTo>
                        <a:pt x="156" y="156"/>
                      </a:lnTo>
                      <a:lnTo>
                        <a:pt x="156" y="162"/>
                      </a:lnTo>
                      <a:lnTo>
                        <a:pt x="162" y="168"/>
                      </a:lnTo>
                      <a:lnTo>
                        <a:pt x="156" y="180"/>
                      </a:lnTo>
                      <a:lnTo>
                        <a:pt x="156" y="192"/>
                      </a:lnTo>
                      <a:lnTo>
                        <a:pt x="150" y="204"/>
                      </a:lnTo>
                      <a:lnTo>
                        <a:pt x="150" y="216"/>
                      </a:lnTo>
                      <a:lnTo>
                        <a:pt x="150" y="228"/>
                      </a:lnTo>
                      <a:lnTo>
                        <a:pt x="150" y="240"/>
                      </a:lnTo>
                      <a:lnTo>
                        <a:pt x="156" y="246"/>
                      </a:lnTo>
                      <a:lnTo>
                        <a:pt x="156" y="258"/>
                      </a:lnTo>
                      <a:lnTo>
                        <a:pt x="150" y="264"/>
                      </a:lnTo>
                      <a:lnTo>
                        <a:pt x="150" y="270"/>
                      </a:lnTo>
                      <a:lnTo>
                        <a:pt x="138" y="276"/>
                      </a:lnTo>
                      <a:lnTo>
                        <a:pt x="132" y="276"/>
                      </a:lnTo>
                      <a:lnTo>
                        <a:pt x="114" y="270"/>
                      </a:lnTo>
                      <a:lnTo>
                        <a:pt x="96" y="276"/>
                      </a:lnTo>
                      <a:lnTo>
                        <a:pt x="84" y="282"/>
                      </a:lnTo>
                      <a:lnTo>
                        <a:pt x="72" y="288"/>
                      </a:lnTo>
                      <a:lnTo>
                        <a:pt x="60" y="300"/>
                      </a:lnTo>
                      <a:lnTo>
                        <a:pt x="42" y="312"/>
                      </a:lnTo>
                      <a:lnTo>
                        <a:pt x="36" y="312"/>
                      </a:lnTo>
                      <a:lnTo>
                        <a:pt x="24" y="306"/>
                      </a:lnTo>
                      <a:lnTo>
                        <a:pt x="18" y="300"/>
                      </a:lnTo>
                      <a:lnTo>
                        <a:pt x="18" y="288"/>
                      </a:lnTo>
                      <a:lnTo>
                        <a:pt x="24" y="276"/>
                      </a:lnTo>
                      <a:lnTo>
                        <a:pt x="30" y="258"/>
                      </a:lnTo>
                      <a:lnTo>
                        <a:pt x="30" y="246"/>
                      </a:lnTo>
                      <a:lnTo>
                        <a:pt x="30" y="234"/>
                      </a:lnTo>
                      <a:lnTo>
                        <a:pt x="30" y="222"/>
                      </a:lnTo>
                      <a:lnTo>
                        <a:pt x="24" y="210"/>
                      </a:lnTo>
                      <a:lnTo>
                        <a:pt x="18" y="198"/>
                      </a:lnTo>
                      <a:lnTo>
                        <a:pt x="18" y="186"/>
                      </a:lnTo>
                      <a:lnTo>
                        <a:pt x="12" y="174"/>
                      </a:lnTo>
                      <a:lnTo>
                        <a:pt x="12" y="150"/>
                      </a:lnTo>
                      <a:lnTo>
                        <a:pt x="12" y="126"/>
                      </a:lnTo>
                      <a:lnTo>
                        <a:pt x="12" y="108"/>
                      </a:lnTo>
                      <a:lnTo>
                        <a:pt x="6" y="96"/>
                      </a:lnTo>
                      <a:lnTo>
                        <a:pt x="0" y="84"/>
                      </a:lnTo>
                      <a:lnTo>
                        <a:pt x="0" y="72"/>
                      </a:lnTo>
                      <a:lnTo>
                        <a:pt x="0" y="66"/>
                      </a:lnTo>
                      <a:lnTo>
                        <a:pt x="12" y="54"/>
                      </a:lnTo>
                      <a:lnTo>
                        <a:pt x="30" y="42"/>
                      </a:lnTo>
                      <a:lnTo>
                        <a:pt x="48" y="30"/>
                      </a:lnTo>
                      <a:lnTo>
                        <a:pt x="72" y="18"/>
                      </a:lnTo>
                      <a:lnTo>
                        <a:pt x="90" y="6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6" name="Freeform 77">
                  <a:extLst>
                    <a:ext uri="{FF2B5EF4-FFF2-40B4-BE49-F238E27FC236}">
                      <a16:creationId xmlns:a16="http://schemas.microsoft.com/office/drawing/2014/main" id="{5F228676-5E41-46A5-B0DB-AB905FC092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5" y="-1254"/>
                  <a:ext cx="36" cy="36"/>
                </a:xfrm>
                <a:custGeom>
                  <a:avLst/>
                  <a:gdLst>
                    <a:gd name="T0" fmla="*/ 12 w 36"/>
                    <a:gd name="T1" fmla="*/ 0 h 36"/>
                    <a:gd name="T2" fmla="*/ 24 w 36"/>
                    <a:gd name="T3" fmla="*/ 0 h 36"/>
                    <a:gd name="T4" fmla="*/ 30 w 36"/>
                    <a:gd name="T5" fmla="*/ 6 h 36"/>
                    <a:gd name="T6" fmla="*/ 36 w 36"/>
                    <a:gd name="T7" fmla="*/ 12 h 36"/>
                    <a:gd name="T8" fmla="*/ 36 w 36"/>
                    <a:gd name="T9" fmla="*/ 24 h 36"/>
                    <a:gd name="T10" fmla="*/ 36 w 36"/>
                    <a:gd name="T11" fmla="*/ 30 h 36"/>
                    <a:gd name="T12" fmla="*/ 24 w 36"/>
                    <a:gd name="T13" fmla="*/ 36 h 36"/>
                    <a:gd name="T14" fmla="*/ 18 w 36"/>
                    <a:gd name="T15" fmla="*/ 36 h 36"/>
                    <a:gd name="T16" fmla="*/ 6 w 36"/>
                    <a:gd name="T17" fmla="*/ 30 h 36"/>
                    <a:gd name="T18" fmla="*/ 0 w 36"/>
                    <a:gd name="T19" fmla="*/ 24 h 36"/>
                    <a:gd name="T20" fmla="*/ 0 w 36"/>
                    <a:gd name="T21" fmla="*/ 12 h 36"/>
                    <a:gd name="T22" fmla="*/ 6 w 36"/>
                    <a:gd name="T23" fmla="*/ 0 h 36"/>
                    <a:gd name="T24" fmla="*/ 12 w 36"/>
                    <a:gd name="T25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6" h="36">
                      <a:moveTo>
                        <a:pt x="12" y="0"/>
                      </a:moveTo>
                      <a:lnTo>
                        <a:pt x="24" y="0"/>
                      </a:lnTo>
                      <a:lnTo>
                        <a:pt x="30" y="6"/>
                      </a:lnTo>
                      <a:lnTo>
                        <a:pt x="36" y="12"/>
                      </a:lnTo>
                      <a:lnTo>
                        <a:pt x="36" y="24"/>
                      </a:lnTo>
                      <a:lnTo>
                        <a:pt x="36" y="30"/>
                      </a:lnTo>
                      <a:lnTo>
                        <a:pt x="24" y="36"/>
                      </a:lnTo>
                      <a:lnTo>
                        <a:pt x="18" y="36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7" name="Freeform 78">
                  <a:extLst>
                    <a:ext uri="{FF2B5EF4-FFF2-40B4-BE49-F238E27FC236}">
                      <a16:creationId xmlns:a16="http://schemas.microsoft.com/office/drawing/2014/main" id="{24F1F136-363F-4133-ABB3-109C9F0367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5" y="-1608"/>
                  <a:ext cx="102" cy="174"/>
                </a:xfrm>
                <a:custGeom>
                  <a:avLst/>
                  <a:gdLst>
                    <a:gd name="T0" fmla="*/ 72 w 102"/>
                    <a:gd name="T1" fmla="*/ 0 h 174"/>
                    <a:gd name="T2" fmla="*/ 84 w 102"/>
                    <a:gd name="T3" fmla="*/ 6 h 174"/>
                    <a:gd name="T4" fmla="*/ 90 w 102"/>
                    <a:gd name="T5" fmla="*/ 18 h 174"/>
                    <a:gd name="T6" fmla="*/ 96 w 102"/>
                    <a:gd name="T7" fmla="*/ 30 h 174"/>
                    <a:gd name="T8" fmla="*/ 96 w 102"/>
                    <a:gd name="T9" fmla="*/ 42 h 174"/>
                    <a:gd name="T10" fmla="*/ 96 w 102"/>
                    <a:gd name="T11" fmla="*/ 60 h 174"/>
                    <a:gd name="T12" fmla="*/ 90 w 102"/>
                    <a:gd name="T13" fmla="*/ 72 h 174"/>
                    <a:gd name="T14" fmla="*/ 96 w 102"/>
                    <a:gd name="T15" fmla="*/ 84 h 174"/>
                    <a:gd name="T16" fmla="*/ 102 w 102"/>
                    <a:gd name="T17" fmla="*/ 102 h 174"/>
                    <a:gd name="T18" fmla="*/ 102 w 102"/>
                    <a:gd name="T19" fmla="*/ 120 h 174"/>
                    <a:gd name="T20" fmla="*/ 90 w 102"/>
                    <a:gd name="T21" fmla="*/ 144 h 174"/>
                    <a:gd name="T22" fmla="*/ 78 w 102"/>
                    <a:gd name="T23" fmla="*/ 162 h 174"/>
                    <a:gd name="T24" fmla="*/ 60 w 102"/>
                    <a:gd name="T25" fmla="*/ 174 h 174"/>
                    <a:gd name="T26" fmla="*/ 54 w 102"/>
                    <a:gd name="T27" fmla="*/ 174 h 174"/>
                    <a:gd name="T28" fmla="*/ 42 w 102"/>
                    <a:gd name="T29" fmla="*/ 174 h 174"/>
                    <a:gd name="T30" fmla="*/ 36 w 102"/>
                    <a:gd name="T31" fmla="*/ 168 h 174"/>
                    <a:gd name="T32" fmla="*/ 24 w 102"/>
                    <a:gd name="T33" fmla="*/ 156 h 174"/>
                    <a:gd name="T34" fmla="*/ 12 w 102"/>
                    <a:gd name="T35" fmla="*/ 138 h 174"/>
                    <a:gd name="T36" fmla="*/ 6 w 102"/>
                    <a:gd name="T37" fmla="*/ 120 h 174"/>
                    <a:gd name="T38" fmla="*/ 0 w 102"/>
                    <a:gd name="T39" fmla="*/ 108 h 174"/>
                    <a:gd name="T40" fmla="*/ 0 w 102"/>
                    <a:gd name="T41" fmla="*/ 102 h 174"/>
                    <a:gd name="T42" fmla="*/ 6 w 102"/>
                    <a:gd name="T43" fmla="*/ 96 h 174"/>
                    <a:gd name="T44" fmla="*/ 12 w 102"/>
                    <a:gd name="T45" fmla="*/ 84 h 174"/>
                    <a:gd name="T46" fmla="*/ 24 w 102"/>
                    <a:gd name="T47" fmla="*/ 78 h 174"/>
                    <a:gd name="T48" fmla="*/ 36 w 102"/>
                    <a:gd name="T49" fmla="*/ 66 h 174"/>
                    <a:gd name="T50" fmla="*/ 42 w 102"/>
                    <a:gd name="T51" fmla="*/ 54 h 174"/>
                    <a:gd name="T52" fmla="*/ 54 w 102"/>
                    <a:gd name="T53" fmla="*/ 36 h 174"/>
                    <a:gd name="T54" fmla="*/ 60 w 102"/>
                    <a:gd name="T55" fmla="*/ 18 h 174"/>
                    <a:gd name="T56" fmla="*/ 66 w 102"/>
                    <a:gd name="T57" fmla="*/ 6 h 174"/>
                    <a:gd name="T58" fmla="*/ 72 w 102"/>
                    <a:gd name="T59" fmla="*/ 0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02" h="174">
                      <a:moveTo>
                        <a:pt x="72" y="0"/>
                      </a:moveTo>
                      <a:lnTo>
                        <a:pt x="84" y="6"/>
                      </a:lnTo>
                      <a:lnTo>
                        <a:pt x="90" y="18"/>
                      </a:lnTo>
                      <a:lnTo>
                        <a:pt x="96" y="30"/>
                      </a:lnTo>
                      <a:lnTo>
                        <a:pt x="96" y="42"/>
                      </a:lnTo>
                      <a:lnTo>
                        <a:pt x="96" y="60"/>
                      </a:lnTo>
                      <a:lnTo>
                        <a:pt x="90" y="72"/>
                      </a:lnTo>
                      <a:lnTo>
                        <a:pt x="96" y="84"/>
                      </a:lnTo>
                      <a:lnTo>
                        <a:pt x="102" y="102"/>
                      </a:lnTo>
                      <a:lnTo>
                        <a:pt x="102" y="120"/>
                      </a:lnTo>
                      <a:lnTo>
                        <a:pt x="90" y="144"/>
                      </a:lnTo>
                      <a:lnTo>
                        <a:pt x="78" y="162"/>
                      </a:lnTo>
                      <a:lnTo>
                        <a:pt x="60" y="174"/>
                      </a:lnTo>
                      <a:lnTo>
                        <a:pt x="54" y="174"/>
                      </a:lnTo>
                      <a:lnTo>
                        <a:pt x="42" y="174"/>
                      </a:lnTo>
                      <a:lnTo>
                        <a:pt x="36" y="168"/>
                      </a:lnTo>
                      <a:lnTo>
                        <a:pt x="24" y="156"/>
                      </a:lnTo>
                      <a:lnTo>
                        <a:pt x="12" y="138"/>
                      </a:lnTo>
                      <a:lnTo>
                        <a:pt x="6" y="120"/>
                      </a:lnTo>
                      <a:lnTo>
                        <a:pt x="0" y="108"/>
                      </a:lnTo>
                      <a:lnTo>
                        <a:pt x="0" y="102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24" y="78"/>
                      </a:lnTo>
                      <a:lnTo>
                        <a:pt x="36" y="66"/>
                      </a:lnTo>
                      <a:lnTo>
                        <a:pt x="42" y="54"/>
                      </a:lnTo>
                      <a:lnTo>
                        <a:pt x="54" y="36"/>
                      </a:lnTo>
                      <a:lnTo>
                        <a:pt x="60" y="18"/>
                      </a:lnTo>
                      <a:lnTo>
                        <a:pt x="66" y="6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8" name="Freeform 79">
                  <a:extLst>
                    <a:ext uri="{FF2B5EF4-FFF2-40B4-BE49-F238E27FC236}">
                      <a16:creationId xmlns:a16="http://schemas.microsoft.com/office/drawing/2014/main" id="{98CCB669-2CFA-46A5-BB0A-20BD56CDD8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1" y="-1032"/>
                  <a:ext cx="306" cy="216"/>
                </a:xfrm>
                <a:custGeom>
                  <a:avLst/>
                  <a:gdLst>
                    <a:gd name="T0" fmla="*/ 264 w 306"/>
                    <a:gd name="T1" fmla="*/ 0 h 216"/>
                    <a:gd name="T2" fmla="*/ 270 w 306"/>
                    <a:gd name="T3" fmla="*/ 0 h 216"/>
                    <a:gd name="T4" fmla="*/ 282 w 306"/>
                    <a:gd name="T5" fmla="*/ 6 h 216"/>
                    <a:gd name="T6" fmla="*/ 288 w 306"/>
                    <a:gd name="T7" fmla="*/ 12 h 216"/>
                    <a:gd name="T8" fmla="*/ 300 w 306"/>
                    <a:gd name="T9" fmla="*/ 18 h 216"/>
                    <a:gd name="T10" fmla="*/ 306 w 306"/>
                    <a:gd name="T11" fmla="*/ 24 h 216"/>
                    <a:gd name="T12" fmla="*/ 306 w 306"/>
                    <a:gd name="T13" fmla="*/ 36 h 216"/>
                    <a:gd name="T14" fmla="*/ 300 w 306"/>
                    <a:gd name="T15" fmla="*/ 48 h 216"/>
                    <a:gd name="T16" fmla="*/ 294 w 306"/>
                    <a:gd name="T17" fmla="*/ 66 h 216"/>
                    <a:gd name="T18" fmla="*/ 288 w 306"/>
                    <a:gd name="T19" fmla="*/ 84 h 216"/>
                    <a:gd name="T20" fmla="*/ 282 w 306"/>
                    <a:gd name="T21" fmla="*/ 96 h 216"/>
                    <a:gd name="T22" fmla="*/ 282 w 306"/>
                    <a:gd name="T23" fmla="*/ 108 h 216"/>
                    <a:gd name="T24" fmla="*/ 282 w 306"/>
                    <a:gd name="T25" fmla="*/ 126 h 216"/>
                    <a:gd name="T26" fmla="*/ 288 w 306"/>
                    <a:gd name="T27" fmla="*/ 138 h 216"/>
                    <a:gd name="T28" fmla="*/ 294 w 306"/>
                    <a:gd name="T29" fmla="*/ 156 h 216"/>
                    <a:gd name="T30" fmla="*/ 300 w 306"/>
                    <a:gd name="T31" fmla="*/ 180 h 216"/>
                    <a:gd name="T32" fmla="*/ 294 w 306"/>
                    <a:gd name="T33" fmla="*/ 192 h 216"/>
                    <a:gd name="T34" fmla="*/ 294 w 306"/>
                    <a:gd name="T35" fmla="*/ 204 h 216"/>
                    <a:gd name="T36" fmla="*/ 288 w 306"/>
                    <a:gd name="T37" fmla="*/ 210 h 216"/>
                    <a:gd name="T38" fmla="*/ 282 w 306"/>
                    <a:gd name="T39" fmla="*/ 216 h 216"/>
                    <a:gd name="T40" fmla="*/ 276 w 306"/>
                    <a:gd name="T41" fmla="*/ 216 h 216"/>
                    <a:gd name="T42" fmla="*/ 264 w 306"/>
                    <a:gd name="T43" fmla="*/ 210 h 216"/>
                    <a:gd name="T44" fmla="*/ 252 w 306"/>
                    <a:gd name="T45" fmla="*/ 198 h 216"/>
                    <a:gd name="T46" fmla="*/ 240 w 306"/>
                    <a:gd name="T47" fmla="*/ 186 h 216"/>
                    <a:gd name="T48" fmla="*/ 228 w 306"/>
                    <a:gd name="T49" fmla="*/ 180 h 216"/>
                    <a:gd name="T50" fmla="*/ 210 w 306"/>
                    <a:gd name="T51" fmla="*/ 180 h 216"/>
                    <a:gd name="T52" fmla="*/ 180 w 306"/>
                    <a:gd name="T53" fmla="*/ 174 h 216"/>
                    <a:gd name="T54" fmla="*/ 144 w 306"/>
                    <a:gd name="T55" fmla="*/ 150 h 216"/>
                    <a:gd name="T56" fmla="*/ 114 w 306"/>
                    <a:gd name="T57" fmla="*/ 126 h 216"/>
                    <a:gd name="T58" fmla="*/ 102 w 306"/>
                    <a:gd name="T59" fmla="*/ 120 h 216"/>
                    <a:gd name="T60" fmla="*/ 90 w 306"/>
                    <a:gd name="T61" fmla="*/ 114 h 216"/>
                    <a:gd name="T62" fmla="*/ 78 w 306"/>
                    <a:gd name="T63" fmla="*/ 114 h 216"/>
                    <a:gd name="T64" fmla="*/ 60 w 306"/>
                    <a:gd name="T65" fmla="*/ 114 h 216"/>
                    <a:gd name="T66" fmla="*/ 48 w 306"/>
                    <a:gd name="T67" fmla="*/ 114 h 216"/>
                    <a:gd name="T68" fmla="*/ 30 w 306"/>
                    <a:gd name="T69" fmla="*/ 114 h 216"/>
                    <a:gd name="T70" fmla="*/ 18 w 306"/>
                    <a:gd name="T71" fmla="*/ 108 h 216"/>
                    <a:gd name="T72" fmla="*/ 6 w 306"/>
                    <a:gd name="T73" fmla="*/ 102 h 216"/>
                    <a:gd name="T74" fmla="*/ 0 w 306"/>
                    <a:gd name="T75" fmla="*/ 96 h 216"/>
                    <a:gd name="T76" fmla="*/ 0 w 306"/>
                    <a:gd name="T77" fmla="*/ 84 h 216"/>
                    <a:gd name="T78" fmla="*/ 12 w 306"/>
                    <a:gd name="T79" fmla="*/ 72 h 216"/>
                    <a:gd name="T80" fmla="*/ 18 w 306"/>
                    <a:gd name="T81" fmla="*/ 66 h 216"/>
                    <a:gd name="T82" fmla="*/ 30 w 306"/>
                    <a:gd name="T83" fmla="*/ 60 h 216"/>
                    <a:gd name="T84" fmla="*/ 42 w 306"/>
                    <a:gd name="T85" fmla="*/ 54 h 216"/>
                    <a:gd name="T86" fmla="*/ 60 w 306"/>
                    <a:gd name="T87" fmla="*/ 48 h 216"/>
                    <a:gd name="T88" fmla="*/ 78 w 306"/>
                    <a:gd name="T89" fmla="*/ 42 h 216"/>
                    <a:gd name="T90" fmla="*/ 102 w 306"/>
                    <a:gd name="T91" fmla="*/ 42 h 216"/>
                    <a:gd name="T92" fmla="*/ 114 w 306"/>
                    <a:gd name="T93" fmla="*/ 42 h 216"/>
                    <a:gd name="T94" fmla="*/ 126 w 306"/>
                    <a:gd name="T95" fmla="*/ 42 h 216"/>
                    <a:gd name="T96" fmla="*/ 150 w 306"/>
                    <a:gd name="T97" fmla="*/ 48 h 216"/>
                    <a:gd name="T98" fmla="*/ 168 w 306"/>
                    <a:gd name="T99" fmla="*/ 42 h 216"/>
                    <a:gd name="T100" fmla="*/ 186 w 306"/>
                    <a:gd name="T101" fmla="*/ 42 h 216"/>
                    <a:gd name="T102" fmla="*/ 198 w 306"/>
                    <a:gd name="T103" fmla="*/ 42 h 216"/>
                    <a:gd name="T104" fmla="*/ 210 w 306"/>
                    <a:gd name="T105" fmla="*/ 36 h 216"/>
                    <a:gd name="T106" fmla="*/ 228 w 306"/>
                    <a:gd name="T107" fmla="*/ 30 h 216"/>
                    <a:gd name="T108" fmla="*/ 240 w 306"/>
                    <a:gd name="T109" fmla="*/ 18 h 216"/>
                    <a:gd name="T110" fmla="*/ 252 w 306"/>
                    <a:gd name="T111" fmla="*/ 6 h 216"/>
                    <a:gd name="T112" fmla="*/ 264 w 306"/>
                    <a:gd name="T113" fmla="*/ 0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06" h="216">
                      <a:moveTo>
                        <a:pt x="264" y="0"/>
                      </a:moveTo>
                      <a:lnTo>
                        <a:pt x="270" y="0"/>
                      </a:lnTo>
                      <a:lnTo>
                        <a:pt x="282" y="6"/>
                      </a:lnTo>
                      <a:lnTo>
                        <a:pt x="288" y="12"/>
                      </a:lnTo>
                      <a:lnTo>
                        <a:pt x="300" y="18"/>
                      </a:lnTo>
                      <a:lnTo>
                        <a:pt x="306" y="24"/>
                      </a:lnTo>
                      <a:lnTo>
                        <a:pt x="306" y="36"/>
                      </a:lnTo>
                      <a:lnTo>
                        <a:pt x="300" y="48"/>
                      </a:lnTo>
                      <a:lnTo>
                        <a:pt x="294" y="66"/>
                      </a:lnTo>
                      <a:lnTo>
                        <a:pt x="288" y="84"/>
                      </a:lnTo>
                      <a:lnTo>
                        <a:pt x="282" y="96"/>
                      </a:lnTo>
                      <a:lnTo>
                        <a:pt x="282" y="108"/>
                      </a:lnTo>
                      <a:lnTo>
                        <a:pt x="282" y="126"/>
                      </a:lnTo>
                      <a:lnTo>
                        <a:pt x="288" y="138"/>
                      </a:lnTo>
                      <a:lnTo>
                        <a:pt x="294" y="156"/>
                      </a:lnTo>
                      <a:lnTo>
                        <a:pt x="300" y="180"/>
                      </a:lnTo>
                      <a:lnTo>
                        <a:pt x="294" y="192"/>
                      </a:lnTo>
                      <a:lnTo>
                        <a:pt x="294" y="204"/>
                      </a:lnTo>
                      <a:lnTo>
                        <a:pt x="288" y="210"/>
                      </a:lnTo>
                      <a:lnTo>
                        <a:pt x="282" y="216"/>
                      </a:lnTo>
                      <a:lnTo>
                        <a:pt x="276" y="216"/>
                      </a:lnTo>
                      <a:lnTo>
                        <a:pt x="264" y="210"/>
                      </a:lnTo>
                      <a:lnTo>
                        <a:pt x="252" y="198"/>
                      </a:lnTo>
                      <a:lnTo>
                        <a:pt x="240" y="186"/>
                      </a:lnTo>
                      <a:lnTo>
                        <a:pt x="228" y="180"/>
                      </a:lnTo>
                      <a:lnTo>
                        <a:pt x="210" y="180"/>
                      </a:lnTo>
                      <a:lnTo>
                        <a:pt x="180" y="174"/>
                      </a:lnTo>
                      <a:lnTo>
                        <a:pt x="144" y="150"/>
                      </a:lnTo>
                      <a:lnTo>
                        <a:pt x="114" y="126"/>
                      </a:lnTo>
                      <a:lnTo>
                        <a:pt x="102" y="120"/>
                      </a:lnTo>
                      <a:lnTo>
                        <a:pt x="90" y="114"/>
                      </a:lnTo>
                      <a:lnTo>
                        <a:pt x="78" y="114"/>
                      </a:lnTo>
                      <a:lnTo>
                        <a:pt x="60" y="114"/>
                      </a:lnTo>
                      <a:lnTo>
                        <a:pt x="48" y="114"/>
                      </a:lnTo>
                      <a:lnTo>
                        <a:pt x="30" y="114"/>
                      </a:lnTo>
                      <a:lnTo>
                        <a:pt x="18" y="108"/>
                      </a:lnTo>
                      <a:lnTo>
                        <a:pt x="6" y="102"/>
                      </a:lnTo>
                      <a:lnTo>
                        <a:pt x="0" y="96"/>
                      </a:lnTo>
                      <a:lnTo>
                        <a:pt x="0" y="84"/>
                      </a:lnTo>
                      <a:lnTo>
                        <a:pt x="12" y="72"/>
                      </a:lnTo>
                      <a:lnTo>
                        <a:pt x="18" y="66"/>
                      </a:lnTo>
                      <a:lnTo>
                        <a:pt x="30" y="60"/>
                      </a:lnTo>
                      <a:lnTo>
                        <a:pt x="42" y="54"/>
                      </a:lnTo>
                      <a:lnTo>
                        <a:pt x="60" y="48"/>
                      </a:lnTo>
                      <a:lnTo>
                        <a:pt x="78" y="42"/>
                      </a:lnTo>
                      <a:lnTo>
                        <a:pt x="102" y="42"/>
                      </a:lnTo>
                      <a:lnTo>
                        <a:pt x="114" y="42"/>
                      </a:lnTo>
                      <a:lnTo>
                        <a:pt x="126" y="42"/>
                      </a:lnTo>
                      <a:lnTo>
                        <a:pt x="150" y="48"/>
                      </a:lnTo>
                      <a:lnTo>
                        <a:pt x="168" y="42"/>
                      </a:lnTo>
                      <a:lnTo>
                        <a:pt x="186" y="42"/>
                      </a:lnTo>
                      <a:lnTo>
                        <a:pt x="198" y="42"/>
                      </a:lnTo>
                      <a:lnTo>
                        <a:pt x="210" y="36"/>
                      </a:lnTo>
                      <a:lnTo>
                        <a:pt x="228" y="30"/>
                      </a:lnTo>
                      <a:lnTo>
                        <a:pt x="240" y="18"/>
                      </a:lnTo>
                      <a:lnTo>
                        <a:pt x="252" y="6"/>
                      </a:lnTo>
                      <a:lnTo>
                        <a:pt x="264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19" name="Freeform 80">
                  <a:extLst>
                    <a:ext uri="{FF2B5EF4-FFF2-40B4-BE49-F238E27FC236}">
                      <a16:creationId xmlns:a16="http://schemas.microsoft.com/office/drawing/2014/main" id="{6E7F5AEF-3B84-4BAB-B001-7FFAB61EB8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7" y="-1842"/>
                  <a:ext cx="42" cy="48"/>
                </a:xfrm>
                <a:custGeom>
                  <a:avLst/>
                  <a:gdLst>
                    <a:gd name="T0" fmla="*/ 12 w 42"/>
                    <a:gd name="T1" fmla="*/ 0 h 48"/>
                    <a:gd name="T2" fmla="*/ 24 w 42"/>
                    <a:gd name="T3" fmla="*/ 0 h 48"/>
                    <a:gd name="T4" fmla="*/ 36 w 42"/>
                    <a:gd name="T5" fmla="*/ 12 h 48"/>
                    <a:gd name="T6" fmla="*/ 36 w 42"/>
                    <a:gd name="T7" fmla="*/ 12 h 48"/>
                    <a:gd name="T8" fmla="*/ 42 w 42"/>
                    <a:gd name="T9" fmla="*/ 24 h 48"/>
                    <a:gd name="T10" fmla="*/ 42 w 42"/>
                    <a:gd name="T11" fmla="*/ 30 h 48"/>
                    <a:gd name="T12" fmla="*/ 42 w 42"/>
                    <a:gd name="T13" fmla="*/ 36 h 48"/>
                    <a:gd name="T14" fmla="*/ 42 w 42"/>
                    <a:gd name="T15" fmla="*/ 42 h 48"/>
                    <a:gd name="T16" fmla="*/ 42 w 42"/>
                    <a:gd name="T17" fmla="*/ 48 h 48"/>
                    <a:gd name="T18" fmla="*/ 30 w 42"/>
                    <a:gd name="T19" fmla="*/ 48 h 48"/>
                    <a:gd name="T20" fmla="*/ 24 w 42"/>
                    <a:gd name="T21" fmla="*/ 42 h 48"/>
                    <a:gd name="T22" fmla="*/ 6 w 42"/>
                    <a:gd name="T23" fmla="*/ 36 h 48"/>
                    <a:gd name="T24" fmla="*/ 0 w 42"/>
                    <a:gd name="T25" fmla="*/ 24 h 48"/>
                    <a:gd name="T26" fmla="*/ 0 w 42"/>
                    <a:gd name="T27" fmla="*/ 18 h 48"/>
                    <a:gd name="T28" fmla="*/ 6 w 42"/>
                    <a:gd name="T29" fmla="*/ 6 h 48"/>
                    <a:gd name="T30" fmla="*/ 12 w 42"/>
                    <a:gd name="T3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2" h="48">
                      <a:moveTo>
                        <a:pt x="12" y="0"/>
                      </a:moveTo>
                      <a:lnTo>
                        <a:pt x="24" y="0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42" y="24"/>
                      </a:lnTo>
                      <a:lnTo>
                        <a:pt x="42" y="30"/>
                      </a:lnTo>
                      <a:lnTo>
                        <a:pt x="42" y="36"/>
                      </a:lnTo>
                      <a:lnTo>
                        <a:pt x="42" y="42"/>
                      </a:lnTo>
                      <a:lnTo>
                        <a:pt x="42" y="48"/>
                      </a:lnTo>
                      <a:lnTo>
                        <a:pt x="30" y="48"/>
                      </a:lnTo>
                      <a:lnTo>
                        <a:pt x="24" y="42"/>
                      </a:lnTo>
                      <a:lnTo>
                        <a:pt x="6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0" name="Freeform 81">
                  <a:extLst>
                    <a:ext uri="{FF2B5EF4-FFF2-40B4-BE49-F238E27FC236}">
                      <a16:creationId xmlns:a16="http://schemas.microsoft.com/office/drawing/2014/main" id="{8CFF3A60-86D5-4F9F-A605-6E8C256F1E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7" y="-1614"/>
                  <a:ext cx="54" cy="42"/>
                </a:xfrm>
                <a:custGeom>
                  <a:avLst/>
                  <a:gdLst>
                    <a:gd name="T0" fmla="*/ 12 w 54"/>
                    <a:gd name="T1" fmla="*/ 0 h 42"/>
                    <a:gd name="T2" fmla="*/ 30 w 54"/>
                    <a:gd name="T3" fmla="*/ 0 h 42"/>
                    <a:gd name="T4" fmla="*/ 42 w 54"/>
                    <a:gd name="T5" fmla="*/ 6 h 42"/>
                    <a:gd name="T6" fmla="*/ 48 w 54"/>
                    <a:gd name="T7" fmla="*/ 12 h 42"/>
                    <a:gd name="T8" fmla="*/ 54 w 54"/>
                    <a:gd name="T9" fmla="*/ 18 h 42"/>
                    <a:gd name="T10" fmla="*/ 54 w 54"/>
                    <a:gd name="T11" fmla="*/ 30 h 42"/>
                    <a:gd name="T12" fmla="*/ 48 w 54"/>
                    <a:gd name="T13" fmla="*/ 36 h 42"/>
                    <a:gd name="T14" fmla="*/ 42 w 54"/>
                    <a:gd name="T15" fmla="*/ 42 h 42"/>
                    <a:gd name="T16" fmla="*/ 30 w 54"/>
                    <a:gd name="T17" fmla="*/ 36 h 42"/>
                    <a:gd name="T18" fmla="*/ 24 w 54"/>
                    <a:gd name="T19" fmla="*/ 36 h 42"/>
                    <a:gd name="T20" fmla="*/ 12 w 54"/>
                    <a:gd name="T21" fmla="*/ 30 h 42"/>
                    <a:gd name="T22" fmla="*/ 6 w 54"/>
                    <a:gd name="T23" fmla="*/ 24 h 42"/>
                    <a:gd name="T24" fmla="*/ 0 w 54"/>
                    <a:gd name="T25" fmla="*/ 18 h 42"/>
                    <a:gd name="T26" fmla="*/ 0 w 54"/>
                    <a:gd name="T27" fmla="*/ 12 h 42"/>
                    <a:gd name="T28" fmla="*/ 0 w 54"/>
                    <a:gd name="T29" fmla="*/ 6 h 42"/>
                    <a:gd name="T30" fmla="*/ 6 w 54"/>
                    <a:gd name="T31" fmla="*/ 0 h 42"/>
                    <a:gd name="T32" fmla="*/ 12 w 54"/>
                    <a:gd name="T33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4" h="42">
                      <a:moveTo>
                        <a:pt x="12" y="0"/>
                      </a:moveTo>
                      <a:lnTo>
                        <a:pt x="30" y="0"/>
                      </a:lnTo>
                      <a:lnTo>
                        <a:pt x="42" y="6"/>
                      </a:lnTo>
                      <a:lnTo>
                        <a:pt x="48" y="12"/>
                      </a:lnTo>
                      <a:lnTo>
                        <a:pt x="54" y="18"/>
                      </a:lnTo>
                      <a:lnTo>
                        <a:pt x="54" y="30"/>
                      </a:lnTo>
                      <a:lnTo>
                        <a:pt x="48" y="36"/>
                      </a:lnTo>
                      <a:lnTo>
                        <a:pt x="42" y="42"/>
                      </a:lnTo>
                      <a:lnTo>
                        <a:pt x="30" y="36"/>
                      </a:lnTo>
                      <a:lnTo>
                        <a:pt x="24" y="36"/>
                      </a:lnTo>
                      <a:lnTo>
                        <a:pt x="12" y="30"/>
                      </a:lnTo>
                      <a:lnTo>
                        <a:pt x="6" y="24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1" name="Freeform 82">
                  <a:extLst>
                    <a:ext uri="{FF2B5EF4-FFF2-40B4-BE49-F238E27FC236}">
                      <a16:creationId xmlns:a16="http://schemas.microsoft.com/office/drawing/2014/main" id="{14158004-9781-4629-A22D-A99A646307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99" y="-690"/>
                  <a:ext cx="300" cy="114"/>
                </a:xfrm>
                <a:custGeom>
                  <a:avLst/>
                  <a:gdLst>
                    <a:gd name="T0" fmla="*/ 270 w 300"/>
                    <a:gd name="T1" fmla="*/ 0 h 114"/>
                    <a:gd name="T2" fmla="*/ 282 w 300"/>
                    <a:gd name="T3" fmla="*/ 0 h 114"/>
                    <a:gd name="T4" fmla="*/ 288 w 300"/>
                    <a:gd name="T5" fmla="*/ 12 h 114"/>
                    <a:gd name="T6" fmla="*/ 294 w 300"/>
                    <a:gd name="T7" fmla="*/ 18 h 114"/>
                    <a:gd name="T8" fmla="*/ 300 w 300"/>
                    <a:gd name="T9" fmla="*/ 30 h 114"/>
                    <a:gd name="T10" fmla="*/ 300 w 300"/>
                    <a:gd name="T11" fmla="*/ 48 h 114"/>
                    <a:gd name="T12" fmla="*/ 300 w 300"/>
                    <a:gd name="T13" fmla="*/ 60 h 114"/>
                    <a:gd name="T14" fmla="*/ 294 w 300"/>
                    <a:gd name="T15" fmla="*/ 72 h 114"/>
                    <a:gd name="T16" fmla="*/ 282 w 300"/>
                    <a:gd name="T17" fmla="*/ 78 h 114"/>
                    <a:gd name="T18" fmla="*/ 270 w 300"/>
                    <a:gd name="T19" fmla="*/ 84 h 114"/>
                    <a:gd name="T20" fmla="*/ 258 w 300"/>
                    <a:gd name="T21" fmla="*/ 84 h 114"/>
                    <a:gd name="T22" fmla="*/ 240 w 300"/>
                    <a:gd name="T23" fmla="*/ 84 h 114"/>
                    <a:gd name="T24" fmla="*/ 216 w 300"/>
                    <a:gd name="T25" fmla="*/ 84 h 114"/>
                    <a:gd name="T26" fmla="*/ 204 w 300"/>
                    <a:gd name="T27" fmla="*/ 84 h 114"/>
                    <a:gd name="T28" fmla="*/ 192 w 300"/>
                    <a:gd name="T29" fmla="*/ 90 h 114"/>
                    <a:gd name="T30" fmla="*/ 186 w 300"/>
                    <a:gd name="T31" fmla="*/ 96 h 114"/>
                    <a:gd name="T32" fmla="*/ 174 w 300"/>
                    <a:gd name="T33" fmla="*/ 108 h 114"/>
                    <a:gd name="T34" fmla="*/ 168 w 300"/>
                    <a:gd name="T35" fmla="*/ 114 h 114"/>
                    <a:gd name="T36" fmla="*/ 156 w 300"/>
                    <a:gd name="T37" fmla="*/ 114 h 114"/>
                    <a:gd name="T38" fmla="*/ 144 w 300"/>
                    <a:gd name="T39" fmla="*/ 114 h 114"/>
                    <a:gd name="T40" fmla="*/ 126 w 300"/>
                    <a:gd name="T41" fmla="*/ 108 h 114"/>
                    <a:gd name="T42" fmla="*/ 114 w 300"/>
                    <a:gd name="T43" fmla="*/ 102 h 114"/>
                    <a:gd name="T44" fmla="*/ 108 w 300"/>
                    <a:gd name="T45" fmla="*/ 96 h 114"/>
                    <a:gd name="T46" fmla="*/ 102 w 300"/>
                    <a:gd name="T47" fmla="*/ 90 h 114"/>
                    <a:gd name="T48" fmla="*/ 96 w 300"/>
                    <a:gd name="T49" fmla="*/ 90 h 114"/>
                    <a:gd name="T50" fmla="*/ 84 w 300"/>
                    <a:gd name="T51" fmla="*/ 78 h 114"/>
                    <a:gd name="T52" fmla="*/ 72 w 300"/>
                    <a:gd name="T53" fmla="*/ 72 h 114"/>
                    <a:gd name="T54" fmla="*/ 54 w 300"/>
                    <a:gd name="T55" fmla="*/ 66 h 114"/>
                    <a:gd name="T56" fmla="*/ 30 w 300"/>
                    <a:gd name="T57" fmla="*/ 48 h 114"/>
                    <a:gd name="T58" fmla="*/ 12 w 300"/>
                    <a:gd name="T59" fmla="*/ 42 h 114"/>
                    <a:gd name="T60" fmla="*/ 6 w 300"/>
                    <a:gd name="T61" fmla="*/ 30 h 114"/>
                    <a:gd name="T62" fmla="*/ 0 w 300"/>
                    <a:gd name="T63" fmla="*/ 24 h 114"/>
                    <a:gd name="T64" fmla="*/ 6 w 300"/>
                    <a:gd name="T65" fmla="*/ 18 h 114"/>
                    <a:gd name="T66" fmla="*/ 12 w 300"/>
                    <a:gd name="T67" fmla="*/ 12 h 114"/>
                    <a:gd name="T68" fmla="*/ 24 w 300"/>
                    <a:gd name="T69" fmla="*/ 12 h 114"/>
                    <a:gd name="T70" fmla="*/ 36 w 300"/>
                    <a:gd name="T71" fmla="*/ 6 h 114"/>
                    <a:gd name="T72" fmla="*/ 48 w 300"/>
                    <a:gd name="T73" fmla="*/ 6 h 114"/>
                    <a:gd name="T74" fmla="*/ 60 w 300"/>
                    <a:gd name="T75" fmla="*/ 6 h 114"/>
                    <a:gd name="T76" fmla="*/ 78 w 300"/>
                    <a:gd name="T77" fmla="*/ 6 h 114"/>
                    <a:gd name="T78" fmla="*/ 108 w 300"/>
                    <a:gd name="T79" fmla="*/ 6 h 114"/>
                    <a:gd name="T80" fmla="*/ 144 w 300"/>
                    <a:gd name="T81" fmla="*/ 18 h 114"/>
                    <a:gd name="T82" fmla="*/ 186 w 300"/>
                    <a:gd name="T83" fmla="*/ 30 h 114"/>
                    <a:gd name="T84" fmla="*/ 198 w 300"/>
                    <a:gd name="T85" fmla="*/ 30 h 114"/>
                    <a:gd name="T86" fmla="*/ 210 w 300"/>
                    <a:gd name="T87" fmla="*/ 30 h 114"/>
                    <a:gd name="T88" fmla="*/ 222 w 300"/>
                    <a:gd name="T89" fmla="*/ 24 h 114"/>
                    <a:gd name="T90" fmla="*/ 234 w 300"/>
                    <a:gd name="T91" fmla="*/ 18 h 114"/>
                    <a:gd name="T92" fmla="*/ 240 w 300"/>
                    <a:gd name="T93" fmla="*/ 12 h 114"/>
                    <a:gd name="T94" fmla="*/ 258 w 300"/>
                    <a:gd name="T95" fmla="*/ 6 h 114"/>
                    <a:gd name="T96" fmla="*/ 270 w 300"/>
                    <a:gd name="T97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00" h="114">
                      <a:moveTo>
                        <a:pt x="270" y="0"/>
                      </a:moveTo>
                      <a:lnTo>
                        <a:pt x="282" y="0"/>
                      </a:lnTo>
                      <a:lnTo>
                        <a:pt x="288" y="12"/>
                      </a:lnTo>
                      <a:lnTo>
                        <a:pt x="294" y="18"/>
                      </a:lnTo>
                      <a:lnTo>
                        <a:pt x="300" y="30"/>
                      </a:lnTo>
                      <a:lnTo>
                        <a:pt x="300" y="48"/>
                      </a:lnTo>
                      <a:lnTo>
                        <a:pt x="300" y="60"/>
                      </a:lnTo>
                      <a:lnTo>
                        <a:pt x="294" y="72"/>
                      </a:lnTo>
                      <a:lnTo>
                        <a:pt x="282" y="78"/>
                      </a:lnTo>
                      <a:lnTo>
                        <a:pt x="270" y="84"/>
                      </a:lnTo>
                      <a:lnTo>
                        <a:pt x="258" y="84"/>
                      </a:lnTo>
                      <a:lnTo>
                        <a:pt x="240" y="84"/>
                      </a:lnTo>
                      <a:lnTo>
                        <a:pt x="216" y="84"/>
                      </a:lnTo>
                      <a:lnTo>
                        <a:pt x="204" y="84"/>
                      </a:lnTo>
                      <a:lnTo>
                        <a:pt x="192" y="90"/>
                      </a:lnTo>
                      <a:lnTo>
                        <a:pt x="186" y="96"/>
                      </a:lnTo>
                      <a:lnTo>
                        <a:pt x="174" y="108"/>
                      </a:lnTo>
                      <a:lnTo>
                        <a:pt x="168" y="114"/>
                      </a:lnTo>
                      <a:lnTo>
                        <a:pt x="156" y="114"/>
                      </a:lnTo>
                      <a:lnTo>
                        <a:pt x="144" y="114"/>
                      </a:lnTo>
                      <a:lnTo>
                        <a:pt x="126" y="108"/>
                      </a:lnTo>
                      <a:lnTo>
                        <a:pt x="114" y="102"/>
                      </a:lnTo>
                      <a:lnTo>
                        <a:pt x="108" y="96"/>
                      </a:lnTo>
                      <a:lnTo>
                        <a:pt x="102" y="90"/>
                      </a:lnTo>
                      <a:lnTo>
                        <a:pt x="96" y="90"/>
                      </a:lnTo>
                      <a:lnTo>
                        <a:pt x="84" y="78"/>
                      </a:lnTo>
                      <a:lnTo>
                        <a:pt x="72" y="72"/>
                      </a:lnTo>
                      <a:lnTo>
                        <a:pt x="54" y="66"/>
                      </a:lnTo>
                      <a:lnTo>
                        <a:pt x="30" y="48"/>
                      </a:lnTo>
                      <a:lnTo>
                        <a:pt x="12" y="42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6" y="18"/>
                      </a:lnTo>
                      <a:lnTo>
                        <a:pt x="12" y="12"/>
                      </a:lnTo>
                      <a:lnTo>
                        <a:pt x="24" y="12"/>
                      </a:lnTo>
                      <a:lnTo>
                        <a:pt x="36" y="6"/>
                      </a:lnTo>
                      <a:lnTo>
                        <a:pt x="48" y="6"/>
                      </a:lnTo>
                      <a:lnTo>
                        <a:pt x="60" y="6"/>
                      </a:lnTo>
                      <a:lnTo>
                        <a:pt x="78" y="6"/>
                      </a:lnTo>
                      <a:lnTo>
                        <a:pt x="108" y="6"/>
                      </a:lnTo>
                      <a:lnTo>
                        <a:pt x="144" y="18"/>
                      </a:lnTo>
                      <a:lnTo>
                        <a:pt x="186" y="30"/>
                      </a:lnTo>
                      <a:lnTo>
                        <a:pt x="198" y="30"/>
                      </a:lnTo>
                      <a:lnTo>
                        <a:pt x="210" y="30"/>
                      </a:lnTo>
                      <a:lnTo>
                        <a:pt x="222" y="24"/>
                      </a:lnTo>
                      <a:lnTo>
                        <a:pt x="234" y="18"/>
                      </a:lnTo>
                      <a:lnTo>
                        <a:pt x="240" y="12"/>
                      </a:lnTo>
                      <a:lnTo>
                        <a:pt x="258" y="6"/>
                      </a:lnTo>
                      <a:lnTo>
                        <a:pt x="270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2" name="Freeform 83">
                  <a:extLst>
                    <a:ext uri="{FF2B5EF4-FFF2-40B4-BE49-F238E27FC236}">
                      <a16:creationId xmlns:a16="http://schemas.microsoft.com/office/drawing/2014/main" id="{CCEE3280-096E-4A0B-8418-C81E3F9BA0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81" y="-1164"/>
                  <a:ext cx="126" cy="120"/>
                </a:xfrm>
                <a:custGeom>
                  <a:avLst/>
                  <a:gdLst>
                    <a:gd name="T0" fmla="*/ 18 w 126"/>
                    <a:gd name="T1" fmla="*/ 0 h 120"/>
                    <a:gd name="T2" fmla="*/ 30 w 126"/>
                    <a:gd name="T3" fmla="*/ 6 h 120"/>
                    <a:gd name="T4" fmla="*/ 42 w 126"/>
                    <a:gd name="T5" fmla="*/ 12 h 120"/>
                    <a:gd name="T6" fmla="*/ 60 w 126"/>
                    <a:gd name="T7" fmla="*/ 18 h 120"/>
                    <a:gd name="T8" fmla="*/ 72 w 126"/>
                    <a:gd name="T9" fmla="*/ 24 h 120"/>
                    <a:gd name="T10" fmla="*/ 84 w 126"/>
                    <a:gd name="T11" fmla="*/ 30 h 120"/>
                    <a:gd name="T12" fmla="*/ 102 w 126"/>
                    <a:gd name="T13" fmla="*/ 42 h 120"/>
                    <a:gd name="T14" fmla="*/ 114 w 126"/>
                    <a:gd name="T15" fmla="*/ 54 h 120"/>
                    <a:gd name="T16" fmla="*/ 126 w 126"/>
                    <a:gd name="T17" fmla="*/ 72 h 120"/>
                    <a:gd name="T18" fmla="*/ 126 w 126"/>
                    <a:gd name="T19" fmla="*/ 96 h 120"/>
                    <a:gd name="T20" fmla="*/ 126 w 126"/>
                    <a:gd name="T21" fmla="*/ 108 h 120"/>
                    <a:gd name="T22" fmla="*/ 120 w 126"/>
                    <a:gd name="T23" fmla="*/ 114 h 120"/>
                    <a:gd name="T24" fmla="*/ 114 w 126"/>
                    <a:gd name="T25" fmla="*/ 120 h 120"/>
                    <a:gd name="T26" fmla="*/ 102 w 126"/>
                    <a:gd name="T27" fmla="*/ 120 h 120"/>
                    <a:gd name="T28" fmla="*/ 90 w 126"/>
                    <a:gd name="T29" fmla="*/ 114 h 120"/>
                    <a:gd name="T30" fmla="*/ 78 w 126"/>
                    <a:gd name="T31" fmla="*/ 108 h 120"/>
                    <a:gd name="T32" fmla="*/ 60 w 126"/>
                    <a:gd name="T33" fmla="*/ 96 h 120"/>
                    <a:gd name="T34" fmla="*/ 54 w 126"/>
                    <a:gd name="T35" fmla="*/ 84 h 120"/>
                    <a:gd name="T36" fmla="*/ 48 w 126"/>
                    <a:gd name="T37" fmla="*/ 72 h 120"/>
                    <a:gd name="T38" fmla="*/ 36 w 126"/>
                    <a:gd name="T39" fmla="*/ 60 h 120"/>
                    <a:gd name="T40" fmla="*/ 18 w 126"/>
                    <a:gd name="T41" fmla="*/ 42 h 120"/>
                    <a:gd name="T42" fmla="*/ 6 w 126"/>
                    <a:gd name="T43" fmla="*/ 30 h 120"/>
                    <a:gd name="T44" fmla="*/ 0 w 126"/>
                    <a:gd name="T45" fmla="*/ 24 h 120"/>
                    <a:gd name="T46" fmla="*/ 0 w 126"/>
                    <a:gd name="T47" fmla="*/ 18 h 120"/>
                    <a:gd name="T48" fmla="*/ 0 w 126"/>
                    <a:gd name="T49" fmla="*/ 12 h 120"/>
                    <a:gd name="T50" fmla="*/ 0 w 126"/>
                    <a:gd name="T51" fmla="*/ 12 h 120"/>
                    <a:gd name="T52" fmla="*/ 6 w 126"/>
                    <a:gd name="T53" fmla="*/ 6 h 120"/>
                    <a:gd name="T54" fmla="*/ 12 w 126"/>
                    <a:gd name="T55" fmla="*/ 6 h 120"/>
                    <a:gd name="T56" fmla="*/ 18 w 126"/>
                    <a:gd name="T57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26" h="120">
                      <a:moveTo>
                        <a:pt x="18" y="0"/>
                      </a:moveTo>
                      <a:lnTo>
                        <a:pt x="30" y="6"/>
                      </a:lnTo>
                      <a:lnTo>
                        <a:pt x="42" y="12"/>
                      </a:lnTo>
                      <a:lnTo>
                        <a:pt x="60" y="18"/>
                      </a:lnTo>
                      <a:lnTo>
                        <a:pt x="72" y="24"/>
                      </a:lnTo>
                      <a:lnTo>
                        <a:pt x="84" y="30"/>
                      </a:lnTo>
                      <a:lnTo>
                        <a:pt x="102" y="42"/>
                      </a:lnTo>
                      <a:lnTo>
                        <a:pt x="114" y="54"/>
                      </a:lnTo>
                      <a:lnTo>
                        <a:pt x="126" y="72"/>
                      </a:lnTo>
                      <a:lnTo>
                        <a:pt x="126" y="96"/>
                      </a:lnTo>
                      <a:lnTo>
                        <a:pt x="126" y="108"/>
                      </a:lnTo>
                      <a:lnTo>
                        <a:pt x="120" y="114"/>
                      </a:lnTo>
                      <a:lnTo>
                        <a:pt x="114" y="120"/>
                      </a:lnTo>
                      <a:lnTo>
                        <a:pt x="102" y="120"/>
                      </a:lnTo>
                      <a:lnTo>
                        <a:pt x="90" y="114"/>
                      </a:lnTo>
                      <a:lnTo>
                        <a:pt x="78" y="108"/>
                      </a:lnTo>
                      <a:lnTo>
                        <a:pt x="60" y="96"/>
                      </a:lnTo>
                      <a:lnTo>
                        <a:pt x="54" y="84"/>
                      </a:lnTo>
                      <a:lnTo>
                        <a:pt x="48" y="72"/>
                      </a:lnTo>
                      <a:lnTo>
                        <a:pt x="36" y="60"/>
                      </a:lnTo>
                      <a:lnTo>
                        <a:pt x="18" y="42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3" name="Freeform 84">
                  <a:extLst>
                    <a:ext uri="{FF2B5EF4-FFF2-40B4-BE49-F238E27FC236}">
                      <a16:creationId xmlns:a16="http://schemas.microsoft.com/office/drawing/2014/main" id="{955D8490-1545-4596-ADA0-5107588DAD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3" y="-1260"/>
                  <a:ext cx="42" cy="36"/>
                </a:xfrm>
                <a:custGeom>
                  <a:avLst/>
                  <a:gdLst>
                    <a:gd name="T0" fmla="*/ 12 w 42"/>
                    <a:gd name="T1" fmla="*/ 0 h 36"/>
                    <a:gd name="T2" fmla="*/ 24 w 42"/>
                    <a:gd name="T3" fmla="*/ 6 h 36"/>
                    <a:gd name="T4" fmla="*/ 36 w 42"/>
                    <a:gd name="T5" fmla="*/ 12 h 36"/>
                    <a:gd name="T6" fmla="*/ 42 w 42"/>
                    <a:gd name="T7" fmla="*/ 18 h 36"/>
                    <a:gd name="T8" fmla="*/ 36 w 42"/>
                    <a:gd name="T9" fmla="*/ 24 h 36"/>
                    <a:gd name="T10" fmla="*/ 30 w 42"/>
                    <a:gd name="T11" fmla="*/ 30 h 36"/>
                    <a:gd name="T12" fmla="*/ 24 w 42"/>
                    <a:gd name="T13" fmla="*/ 36 h 36"/>
                    <a:gd name="T14" fmla="*/ 12 w 42"/>
                    <a:gd name="T15" fmla="*/ 30 h 36"/>
                    <a:gd name="T16" fmla="*/ 6 w 42"/>
                    <a:gd name="T17" fmla="*/ 24 h 36"/>
                    <a:gd name="T18" fmla="*/ 0 w 42"/>
                    <a:gd name="T19" fmla="*/ 18 h 36"/>
                    <a:gd name="T20" fmla="*/ 0 w 42"/>
                    <a:gd name="T21" fmla="*/ 12 h 36"/>
                    <a:gd name="T22" fmla="*/ 0 w 42"/>
                    <a:gd name="T23" fmla="*/ 6 h 36"/>
                    <a:gd name="T24" fmla="*/ 6 w 42"/>
                    <a:gd name="T25" fmla="*/ 0 h 36"/>
                    <a:gd name="T26" fmla="*/ 12 w 42"/>
                    <a:gd name="T27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2" h="36">
                      <a:moveTo>
                        <a:pt x="12" y="0"/>
                      </a:moveTo>
                      <a:lnTo>
                        <a:pt x="24" y="6"/>
                      </a:lnTo>
                      <a:lnTo>
                        <a:pt x="36" y="12"/>
                      </a:lnTo>
                      <a:lnTo>
                        <a:pt x="42" y="18"/>
                      </a:lnTo>
                      <a:lnTo>
                        <a:pt x="36" y="24"/>
                      </a:lnTo>
                      <a:lnTo>
                        <a:pt x="30" y="30"/>
                      </a:lnTo>
                      <a:lnTo>
                        <a:pt x="24" y="36"/>
                      </a:lnTo>
                      <a:lnTo>
                        <a:pt x="12" y="30"/>
                      </a:lnTo>
                      <a:lnTo>
                        <a:pt x="6" y="24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4" name="Freeform 85">
                  <a:extLst>
                    <a:ext uri="{FF2B5EF4-FFF2-40B4-BE49-F238E27FC236}">
                      <a16:creationId xmlns:a16="http://schemas.microsoft.com/office/drawing/2014/main" id="{0E774350-0D2B-4663-B447-2202B12F98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9" y="-744"/>
                  <a:ext cx="42" cy="42"/>
                </a:xfrm>
                <a:custGeom>
                  <a:avLst/>
                  <a:gdLst>
                    <a:gd name="T0" fmla="*/ 18 w 42"/>
                    <a:gd name="T1" fmla="*/ 0 h 42"/>
                    <a:gd name="T2" fmla="*/ 24 w 42"/>
                    <a:gd name="T3" fmla="*/ 0 h 42"/>
                    <a:gd name="T4" fmla="*/ 30 w 42"/>
                    <a:gd name="T5" fmla="*/ 6 h 42"/>
                    <a:gd name="T6" fmla="*/ 42 w 42"/>
                    <a:gd name="T7" fmla="*/ 12 h 42"/>
                    <a:gd name="T8" fmla="*/ 42 w 42"/>
                    <a:gd name="T9" fmla="*/ 18 h 42"/>
                    <a:gd name="T10" fmla="*/ 42 w 42"/>
                    <a:gd name="T11" fmla="*/ 30 h 42"/>
                    <a:gd name="T12" fmla="*/ 36 w 42"/>
                    <a:gd name="T13" fmla="*/ 42 h 42"/>
                    <a:gd name="T14" fmla="*/ 30 w 42"/>
                    <a:gd name="T15" fmla="*/ 42 h 42"/>
                    <a:gd name="T16" fmla="*/ 24 w 42"/>
                    <a:gd name="T17" fmla="*/ 42 h 42"/>
                    <a:gd name="T18" fmla="*/ 18 w 42"/>
                    <a:gd name="T19" fmla="*/ 42 h 42"/>
                    <a:gd name="T20" fmla="*/ 6 w 42"/>
                    <a:gd name="T21" fmla="*/ 36 h 42"/>
                    <a:gd name="T22" fmla="*/ 0 w 42"/>
                    <a:gd name="T23" fmla="*/ 30 h 42"/>
                    <a:gd name="T24" fmla="*/ 0 w 42"/>
                    <a:gd name="T25" fmla="*/ 18 h 42"/>
                    <a:gd name="T26" fmla="*/ 0 w 42"/>
                    <a:gd name="T27" fmla="*/ 6 h 42"/>
                    <a:gd name="T28" fmla="*/ 6 w 42"/>
                    <a:gd name="T29" fmla="*/ 0 h 42"/>
                    <a:gd name="T30" fmla="*/ 18 w 42"/>
                    <a:gd name="T31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2" h="42">
                      <a:moveTo>
                        <a:pt x="18" y="0"/>
                      </a:moveTo>
                      <a:lnTo>
                        <a:pt x="24" y="0"/>
                      </a:lnTo>
                      <a:lnTo>
                        <a:pt x="30" y="6"/>
                      </a:lnTo>
                      <a:lnTo>
                        <a:pt x="42" y="12"/>
                      </a:lnTo>
                      <a:lnTo>
                        <a:pt x="42" y="18"/>
                      </a:lnTo>
                      <a:lnTo>
                        <a:pt x="42" y="30"/>
                      </a:lnTo>
                      <a:lnTo>
                        <a:pt x="36" y="42"/>
                      </a:lnTo>
                      <a:lnTo>
                        <a:pt x="30" y="42"/>
                      </a:lnTo>
                      <a:lnTo>
                        <a:pt x="24" y="42"/>
                      </a:lnTo>
                      <a:lnTo>
                        <a:pt x="18" y="42"/>
                      </a:lnTo>
                      <a:lnTo>
                        <a:pt x="6" y="36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5" name="Freeform 86">
                  <a:extLst>
                    <a:ext uri="{FF2B5EF4-FFF2-40B4-BE49-F238E27FC236}">
                      <a16:creationId xmlns:a16="http://schemas.microsoft.com/office/drawing/2014/main" id="{5FCE7FF8-A594-4595-AB9D-7A41E7C6C5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3" y="-750"/>
                  <a:ext cx="234" cy="156"/>
                </a:xfrm>
                <a:custGeom>
                  <a:avLst/>
                  <a:gdLst>
                    <a:gd name="T0" fmla="*/ 228 w 234"/>
                    <a:gd name="T1" fmla="*/ 0 h 156"/>
                    <a:gd name="T2" fmla="*/ 234 w 234"/>
                    <a:gd name="T3" fmla="*/ 6 h 156"/>
                    <a:gd name="T4" fmla="*/ 234 w 234"/>
                    <a:gd name="T5" fmla="*/ 6 h 156"/>
                    <a:gd name="T6" fmla="*/ 228 w 234"/>
                    <a:gd name="T7" fmla="*/ 18 h 156"/>
                    <a:gd name="T8" fmla="*/ 222 w 234"/>
                    <a:gd name="T9" fmla="*/ 24 h 156"/>
                    <a:gd name="T10" fmla="*/ 216 w 234"/>
                    <a:gd name="T11" fmla="*/ 30 h 156"/>
                    <a:gd name="T12" fmla="*/ 210 w 234"/>
                    <a:gd name="T13" fmla="*/ 36 h 156"/>
                    <a:gd name="T14" fmla="*/ 204 w 234"/>
                    <a:gd name="T15" fmla="*/ 42 h 156"/>
                    <a:gd name="T16" fmla="*/ 198 w 234"/>
                    <a:gd name="T17" fmla="*/ 48 h 156"/>
                    <a:gd name="T18" fmla="*/ 198 w 234"/>
                    <a:gd name="T19" fmla="*/ 54 h 156"/>
                    <a:gd name="T20" fmla="*/ 198 w 234"/>
                    <a:gd name="T21" fmla="*/ 66 h 156"/>
                    <a:gd name="T22" fmla="*/ 192 w 234"/>
                    <a:gd name="T23" fmla="*/ 72 h 156"/>
                    <a:gd name="T24" fmla="*/ 192 w 234"/>
                    <a:gd name="T25" fmla="*/ 84 h 156"/>
                    <a:gd name="T26" fmla="*/ 192 w 234"/>
                    <a:gd name="T27" fmla="*/ 90 h 156"/>
                    <a:gd name="T28" fmla="*/ 186 w 234"/>
                    <a:gd name="T29" fmla="*/ 102 h 156"/>
                    <a:gd name="T30" fmla="*/ 174 w 234"/>
                    <a:gd name="T31" fmla="*/ 102 h 156"/>
                    <a:gd name="T32" fmla="*/ 156 w 234"/>
                    <a:gd name="T33" fmla="*/ 108 h 156"/>
                    <a:gd name="T34" fmla="*/ 138 w 234"/>
                    <a:gd name="T35" fmla="*/ 114 h 156"/>
                    <a:gd name="T36" fmla="*/ 126 w 234"/>
                    <a:gd name="T37" fmla="*/ 126 h 156"/>
                    <a:gd name="T38" fmla="*/ 108 w 234"/>
                    <a:gd name="T39" fmla="*/ 138 h 156"/>
                    <a:gd name="T40" fmla="*/ 84 w 234"/>
                    <a:gd name="T41" fmla="*/ 150 h 156"/>
                    <a:gd name="T42" fmla="*/ 66 w 234"/>
                    <a:gd name="T43" fmla="*/ 156 h 156"/>
                    <a:gd name="T44" fmla="*/ 48 w 234"/>
                    <a:gd name="T45" fmla="*/ 150 h 156"/>
                    <a:gd name="T46" fmla="*/ 30 w 234"/>
                    <a:gd name="T47" fmla="*/ 144 h 156"/>
                    <a:gd name="T48" fmla="*/ 18 w 234"/>
                    <a:gd name="T49" fmla="*/ 132 h 156"/>
                    <a:gd name="T50" fmla="*/ 6 w 234"/>
                    <a:gd name="T51" fmla="*/ 120 h 156"/>
                    <a:gd name="T52" fmla="*/ 0 w 234"/>
                    <a:gd name="T53" fmla="*/ 102 h 156"/>
                    <a:gd name="T54" fmla="*/ 6 w 234"/>
                    <a:gd name="T55" fmla="*/ 90 h 156"/>
                    <a:gd name="T56" fmla="*/ 12 w 234"/>
                    <a:gd name="T57" fmla="*/ 78 h 156"/>
                    <a:gd name="T58" fmla="*/ 18 w 234"/>
                    <a:gd name="T59" fmla="*/ 72 h 156"/>
                    <a:gd name="T60" fmla="*/ 30 w 234"/>
                    <a:gd name="T61" fmla="*/ 60 h 156"/>
                    <a:gd name="T62" fmla="*/ 36 w 234"/>
                    <a:gd name="T63" fmla="*/ 48 h 156"/>
                    <a:gd name="T64" fmla="*/ 60 w 234"/>
                    <a:gd name="T65" fmla="*/ 36 h 156"/>
                    <a:gd name="T66" fmla="*/ 102 w 234"/>
                    <a:gd name="T67" fmla="*/ 24 h 156"/>
                    <a:gd name="T68" fmla="*/ 150 w 234"/>
                    <a:gd name="T69" fmla="*/ 18 h 156"/>
                    <a:gd name="T70" fmla="*/ 198 w 234"/>
                    <a:gd name="T71" fmla="*/ 6 h 156"/>
                    <a:gd name="T72" fmla="*/ 216 w 234"/>
                    <a:gd name="T73" fmla="*/ 0 h 156"/>
                    <a:gd name="T74" fmla="*/ 228 w 234"/>
                    <a:gd name="T75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34" h="156">
                      <a:moveTo>
                        <a:pt x="228" y="0"/>
                      </a:moveTo>
                      <a:lnTo>
                        <a:pt x="234" y="6"/>
                      </a:lnTo>
                      <a:lnTo>
                        <a:pt x="234" y="6"/>
                      </a:lnTo>
                      <a:lnTo>
                        <a:pt x="228" y="18"/>
                      </a:lnTo>
                      <a:lnTo>
                        <a:pt x="222" y="24"/>
                      </a:lnTo>
                      <a:lnTo>
                        <a:pt x="216" y="30"/>
                      </a:lnTo>
                      <a:lnTo>
                        <a:pt x="210" y="36"/>
                      </a:lnTo>
                      <a:lnTo>
                        <a:pt x="204" y="42"/>
                      </a:lnTo>
                      <a:lnTo>
                        <a:pt x="198" y="48"/>
                      </a:lnTo>
                      <a:lnTo>
                        <a:pt x="198" y="54"/>
                      </a:lnTo>
                      <a:lnTo>
                        <a:pt x="198" y="66"/>
                      </a:lnTo>
                      <a:lnTo>
                        <a:pt x="192" y="72"/>
                      </a:lnTo>
                      <a:lnTo>
                        <a:pt x="192" y="84"/>
                      </a:lnTo>
                      <a:lnTo>
                        <a:pt x="192" y="90"/>
                      </a:lnTo>
                      <a:lnTo>
                        <a:pt x="186" y="102"/>
                      </a:lnTo>
                      <a:lnTo>
                        <a:pt x="174" y="102"/>
                      </a:lnTo>
                      <a:lnTo>
                        <a:pt x="156" y="108"/>
                      </a:lnTo>
                      <a:lnTo>
                        <a:pt x="138" y="114"/>
                      </a:lnTo>
                      <a:lnTo>
                        <a:pt x="126" y="126"/>
                      </a:lnTo>
                      <a:lnTo>
                        <a:pt x="108" y="138"/>
                      </a:lnTo>
                      <a:lnTo>
                        <a:pt x="84" y="150"/>
                      </a:lnTo>
                      <a:lnTo>
                        <a:pt x="66" y="156"/>
                      </a:lnTo>
                      <a:lnTo>
                        <a:pt x="48" y="150"/>
                      </a:lnTo>
                      <a:lnTo>
                        <a:pt x="30" y="144"/>
                      </a:lnTo>
                      <a:lnTo>
                        <a:pt x="18" y="132"/>
                      </a:lnTo>
                      <a:lnTo>
                        <a:pt x="6" y="120"/>
                      </a:lnTo>
                      <a:lnTo>
                        <a:pt x="0" y="102"/>
                      </a:lnTo>
                      <a:lnTo>
                        <a:pt x="6" y="90"/>
                      </a:lnTo>
                      <a:lnTo>
                        <a:pt x="12" y="78"/>
                      </a:lnTo>
                      <a:lnTo>
                        <a:pt x="18" y="72"/>
                      </a:lnTo>
                      <a:lnTo>
                        <a:pt x="30" y="60"/>
                      </a:lnTo>
                      <a:lnTo>
                        <a:pt x="36" y="48"/>
                      </a:lnTo>
                      <a:lnTo>
                        <a:pt x="60" y="36"/>
                      </a:lnTo>
                      <a:lnTo>
                        <a:pt x="102" y="24"/>
                      </a:lnTo>
                      <a:lnTo>
                        <a:pt x="150" y="18"/>
                      </a:lnTo>
                      <a:lnTo>
                        <a:pt x="198" y="6"/>
                      </a:lnTo>
                      <a:lnTo>
                        <a:pt x="216" y="0"/>
                      </a:lnTo>
                      <a:lnTo>
                        <a:pt x="228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6" name="Freeform 87">
                  <a:extLst>
                    <a:ext uri="{FF2B5EF4-FFF2-40B4-BE49-F238E27FC236}">
                      <a16:creationId xmlns:a16="http://schemas.microsoft.com/office/drawing/2014/main" id="{31B65CBC-35E4-4E97-8F29-3264C48D804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87" y="-9168"/>
                  <a:ext cx="14172" cy="7608"/>
                </a:xfrm>
                <a:custGeom>
                  <a:avLst/>
                  <a:gdLst>
                    <a:gd name="T0" fmla="*/ 13296 w 14172"/>
                    <a:gd name="T1" fmla="*/ 222 h 7608"/>
                    <a:gd name="T2" fmla="*/ 13698 w 14172"/>
                    <a:gd name="T3" fmla="*/ 396 h 7608"/>
                    <a:gd name="T4" fmla="*/ 14130 w 14172"/>
                    <a:gd name="T5" fmla="*/ 582 h 7608"/>
                    <a:gd name="T6" fmla="*/ 14076 w 14172"/>
                    <a:gd name="T7" fmla="*/ 900 h 7608"/>
                    <a:gd name="T8" fmla="*/ 13314 w 14172"/>
                    <a:gd name="T9" fmla="*/ 690 h 7608"/>
                    <a:gd name="T10" fmla="*/ 13296 w 14172"/>
                    <a:gd name="T11" fmla="*/ 1224 h 7608"/>
                    <a:gd name="T12" fmla="*/ 13326 w 14172"/>
                    <a:gd name="T13" fmla="*/ 2088 h 7608"/>
                    <a:gd name="T14" fmla="*/ 12858 w 14172"/>
                    <a:gd name="T15" fmla="*/ 2388 h 7608"/>
                    <a:gd name="T16" fmla="*/ 12810 w 14172"/>
                    <a:gd name="T17" fmla="*/ 3114 h 7608"/>
                    <a:gd name="T18" fmla="*/ 12996 w 14172"/>
                    <a:gd name="T19" fmla="*/ 3714 h 7608"/>
                    <a:gd name="T20" fmla="*/ 12450 w 14172"/>
                    <a:gd name="T21" fmla="*/ 3882 h 7608"/>
                    <a:gd name="T22" fmla="*/ 12384 w 14172"/>
                    <a:gd name="T23" fmla="*/ 2736 h 7608"/>
                    <a:gd name="T24" fmla="*/ 12366 w 14172"/>
                    <a:gd name="T25" fmla="*/ 2010 h 7608"/>
                    <a:gd name="T26" fmla="*/ 12054 w 14172"/>
                    <a:gd name="T27" fmla="*/ 2268 h 7608"/>
                    <a:gd name="T28" fmla="*/ 11934 w 14172"/>
                    <a:gd name="T29" fmla="*/ 2928 h 7608"/>
                    <a:gd name="T30" fmla="*/ 11382 w 14172"/>
                    <a:gd name="T31" fmla="*/ 3042 h 7608"/>
                    <a:gd name="T32" fmla="*/ 10944 w 14172"/>
                    <a:gd name="T33" fmla="*/ 3246 h 7608"/>
                    <a:gd name="T34" fmla="*/ 10614 w 14172"/>
                    <a:gd name="T35" fmla="*/ 4410 h 7608"/>
                    <a:gd name="T36" fmla="*/ 10848 w 14172"/>
                    <a:gd name="T37" fmla="*/ 4338 h 7608"/>
                    <a:gd name="T38" fmla="*/ 11316 w 14172"/>
                    <a:gd name="T39" fmla="*/ 5010 h 7608"/>
                    <a:gd name="T40" fmla="*/ 11280 w 14172"/>
                    <a:gd name="T41" fmla="*/ 6240 h 7608"/>
                    <a:gd name="T42" fmla="*/ 10890 w 14172"/>
                    <a:gd name="T43" fmla="*/ 6354 h 7608"/>
                    <a:gd name="T44" fmla="*/ 10278 w 14172"/>
                    <a:gd name="T45" fmla="*/ 5394 h 7608"/>
                    <a:gd name="T46" fmla="*/ 8490 w 14172"/>
                    <a:gd name="T47" fmla="*/ 5688 h 7608"/>
                    <a:gd name="T48" fmla="*/ 4614 w 14172"/>
                    <a:gd name="T49" fmla="*/ 5580 h 7608"/>
                    <a:gd name="T50" fmla="*/ 2490 w 14172"/>
                    <a:gd name="T51" fmla="*/ 7608 h 7608"/>
                    <a:gd name="T52" fmla="*/ 1338 w 14172"/>
                    <a:gd name="T53" fmla="*/ 6876 h 7608"/>
                    <a:gd name="T54" fmla="*/ 174 w 14172"/>
                    <a:gd name="T55" fmla="*/ 5520 h 7608"/>
                    <a:gd name="T56" fmla="*/ 198 w 14172"/>
                    <a:gd name="T57" fmla="*/ 3258 h 7608"/>
                    <a:gd name="T58" fmla="*/ 540 w 14172"/>
                    <a:gd name="T59" fmla="*/ 3810 h 7608"/>
                    <a:gd name="T60" fmla="*/ 582 w 14172"/>
                    <a:gd name="T61" fmla="*/ 4044 h 7608"/>
                    <a:gd name="T62" fmla="*/ 858 w 14172"/>
                    <a:gd name="T63" fmla="*/ 4038 h 7608"/>
                    <a:gd name="T64" fmla="*/ 1368 w 14172"/>
                    <a:gd name="T65" fmla="*/ 3684 h 7608"/>
                    <a:gd name="T66" fmla="*/ 1644 w 14172"/>
                    <a:gd name="T67" fmla="*/ 3660 h 7608"/>
                    <a:gd name="T68" fmla="*/ 2160 w 14172"/>
                    <a:gd name="T69" fmla="*/ 3366 h 7608"/>
                    <a:gd name="T70" fmla="*/ 2688 w 14172"/>
                    <a:gd name="T71" fmla="*/ 3000 h 7608"/>
                    <a:gd name="T72" fmla="*/ 3096 w 14172"/>
                    <a:gd name="T73" fmla="*/ 2838 h 7608"/>
                    <a:gd name="T74" fmla="*/ 3552 w 14172"/>
                    <a:gd name="T75" fmla="*/ 2550 h 7608"/>
                    <a:gd name="T76" fmla="*/ 3576 w 14172"/>
                    <a:gd name="T77" fmla="*/ 3360 h 7608"/>
                    <a:gd name="T78" fmla="*/ 4038 w 14172"/>
                    <a:gd name="T79" fmla="*/ 2940 h 7608"/>
                    <a:gd name="T80" fmla="*/ 3714 w 14172"/>
                    <a:gd name="T81" fmla="*/ 2700 h 7608"/>
                    <a:gd name="T82" fmla="*/ 3942 w 14172"/>
                    <a:gd name="T83" fmla="*/ 2508 h 7608"/>
                    <a:gd name="T84" fmla="*/ 3930 w 14172"/>
                    <a:gd name="T85" fmla="*/ 2232 h 7608"/>
                    <a:gd name="T86" fmla="*/ 4566 w 14172"/>
                    <a:gd name="T87" fmla="*/ 2568 h 7608"/>
                    <a:gd name="T88" fmla="*/ 4392 w 14172"/>
                    <a:gd name="T89" fmla="*/ 1824 h 7608"/>
                    <a:gd name="T90" fmla="*/ 4476 w 14172"/>
                    <a:gd name="T91" fmla="*/ 1470 h 7608"/>
                    <a:gd name="T92" fmla="*/ 5100 w 14172"/>
                    <a:gd name="T93" fmla="*/ 1086 h 7608"/>
                    <a:gd name="T94" fmla="*/ 5496 w 14172"/>
                    <a:gd name="T95" fmla="*/ 828 h 7608"/>
                    <a:gd name="T96" fmla="*/ 5724 w 14172"/>
                    <a:gd name="T97" fmla="*/ 678 h 7608"/>
                    <a:gd name="T98" fmla="*/ 6366 w 14172"/>
                    <a:gd name="T99" fmla="*/ 804 h 7608"/>
                    <a:gd name="T100" fmla="*/ 6060 w 14172"/>
                    <a:gd name="T101" fmla="*/ 1374 h 7608"/>
                    <a:gd name="T102" fmla="*/ 6498 w 14172"/>
                    <a:gd name="T103" fmla="*/ 1266 h 7608"/>
                    <a:gd name="T104" fmla="*/ 6732 w 14172"/>
                    <a:gd name="T105" fmla="*/ 1218 h 7608"/>
                    <a:gd name="T106" fmla="*/ 7488 w 14172"/>
                    <a:gd name="T107" fmla="*/ 936 h 7608"/>
                    <a:gd name="T108" fmla="*/ 7812 w 14172"/>
                    <a:gd name="T109" fmla="*/ 1152 h 7608"/>
                    <a:gd name="T110" fmla="*/ 8256 w 14172"/>
                    <a:gd name="T111" fmla="*/ 1224 h 7608"/>
                    <a:gd name="T112" fmla="*/ 8808 w 14172"/>
                    <a:gd name="T113" fmla="*/ 990 h 7608"/>
                    <a:gd name="T114" fmla="*/ 8970 w 14172"/>
                    <a:gd name="T115" fmla="*/ 630 h 7608"/>
                    <a:gd name="T116" fmla="*/ 9564 w 14172"/>
                    <a:gd name="T117" fmla="*/ 720 h 7608"/>
                    <a:gd name="T118" fmla="*/ 10218 w 14172"/>
                    <a:gd name="T119" fmla="*/ 624 h 7608"/>
                    <a:gd name="T120" fmla="*/ 10980 w 14172"/>
                    <a:gd name="T121" fmla="*/ 546 h 7608"/>
                    <a:gd name="T122" fmla="*/ 11748 w 14172"/>
                    <a:gd name="T123" fmla="*/ 390 h 7608"/>
                    <a:gd name="T124" fmla="*/ 12684 w 14172"/>
                    <a:gd name="T125" fmla="*/ 6 h 76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4172" h="7608">
                      <a:moveTo>
                        <a:pt x="2736" y="7542"/>
                      </a:moveTo>
                      <a:lnTo>
                        <a:pt x="2730" y="7542"/>
                      </a:lnTo>
                      <a:lnTo>
                        <a:pt x="2730" y="7542"/>
                      </a:lnTo>
                      <a:lnTo>
                        <a:pt x="2736" y="7542"/>
                      </a:lnTo>
                      <a:close/>
                      <a:moveTo>
                        <a:pt x="120" y="5016"/>
                      </a:moveTo>
                      <a:lnTo>
                        <a:pt x="120" y="5016"/>
                      </a:lnTo>
                      <a:lnTo>
                        <a:pt x="114" y="5022"/>
                      </a:lnTo>
                      <a:lnTo>
                        <a:pt x="120" y="5016"/>
                      </a:lnTo>
                      <a:close/>
                      <a:moveTo>
                        <a:pt x="108" y="3276"/>
                      </a:moveTo>
                      <a:lnTo>
                        <a:pt x="108" y="3276"/>
                      </a:lnTo>
                      <a:lnTo>
                        <a:pt x="108" y="3276"/>
                      </a:lnTo>
                      <a:lnTo>
                        <a:pt x="108" y="3276"/>
                      </a:lnTo>
                      <a:close/>
                      <a:moveTo>
                        <a:pt x="12738" y="0"/>
                      </a:moveTo>
                      <a:lnTo>
                        <a:pt x="12792" y="6"/>
                      </a:lnTo>
                      <a:lnTo>
                        <a:pt x="12810" y="12"/>
                      </a:lnTo>
                      <a:lnTo>
                        <a:pt x="12822" y="24"/>
                      </a:lnTo>
                      <a:lnTo>
                        <a:pt x="12840" y="36"/>
                      </a:lnTo>
                      <a:lnTo>
                        <a:pt x="12846" y="54"/>
                      </a:lnTo>
                      <a:lnTo>
                        <a:pt x="12858" y="72"/>
                      </a:lnTo>
                      <a:lnTo>
                        <a:pt x="12864" y="84"/>
                      </a:lnTo>
                      <a:lnTo>
                        <a:pt x="12876" y="102"/>
                      </a:lnTo>
                      <a:lnTo>
                        <a:pt x="12888" y="114"/>
                      </a:lnTo>
                      <a:lnTo>
                        <a:pt x="12900" y="120"/>
                      </a:lnTo>
                      <a:lnTo>
                        <a:pt x="12912" y="126"/>
                      </a:lnTo>
                      <a:lnTo>
                        <a:pt x="12924" y="126"/>
                      </a:lnTo>
                      <a:lnTo>
                        <a:pt x="12936" y="120"/>
                      </a:lnTo>
                      <a:lnTo>
                        <a:pt x="12936" y="108"/>
                      </a:lnTo>
                      <a:lnTo>
                        <a:pt x="12948" y="102"/>
                      </a:lnTo>
                      <a:lnTo>
                        <a:pt x="12966" y="102"/>
                      </a:lnTo>
                      <a:lnTo>
                        <a:pt x="12990" y="114"/>
                      </a:lnTo>
                      <a:lnTo>
                        <a:pt x="13020" y="126"/>
                      </a:lnTo>
                      <a:lnTo>
                        <a:pt x="13044" y="138"/>
                      </a:lnTo>
                      <a:lnTo>
                        <a:pt x="13062" y="144"/>
                      </a:lnTo>
                      <a:lnTo>
                        <a:pt x="13068" y="150"/>
                      </a:lnTo>
                      <a:lnTo>
                        <a:pt x="13068" y="156"/>
                      </a:lnTo>
                      <a:lnTo>
                        <a:pt x="13074" y="162"/>
                      </a:lnTo>
                      <a:lnTo>
                        <a:pt x="13074" y="162"/>
                      </a:lnTo>
                      <a:lnTo>
                        <a:pt x="13080" y="168"/>
                      </a:lnTo>
                      <a:lnTo>
                        <a:pt x="13086" y="174"/>
                      </a:lnTo>
                      <a:lnTo>
                        <a:pt x="13098" y="174"/>
                      </a:lnTo>
                      <a:lnTo>
                        <a:pt x="13110" y="180"/>
                      </a:lnTo>
                      <a:lnTo>
                        <a:pt x="13122" y="186"/>
                      </a:lnTo>
                      <a:lnTo>
                        <a:pt x="13134" y="186"/>
                      </a:lnTo>
                      <a:lnTo>
                        <a:pt x="13140" y="186"/>
                      </a:lnTo>
                      <a:lnTo>
                        <a:pt x="13146" y="180"/>
                      </a:lnTo>
                      <a:lnTo>
                        <a:pt x="13146" y="174"/>
                      </a:lnTo>
                      <a:lnTo>
                        <a:pt x="13152" y="168"/>
                      </a:lnTo>
                      <a:lnTo>
                        <a:pt x="13158" y="168"/>
                      </a:lnTo>
                      <a:lnTo>
                        <a:pt x="13170" y="168"/>
                      </a:lnTo>
                      <a:lnTo>
                        <a:pt x="13188" y="174"/>
                      </a:lnTo>
                      <a:lnTo>
                        <a:pt x="13200" y="180"/>
                      </a:lnTo>
                      <a:lnTo>
                        <a:pt x="13212" y="180"/>
                      </a:lnTo>
                      <a:lnTo>
                        <a:pt x="13212" y="186"/>
                      </a:lnTo>
                      <a:lnTo>
                        <a:pt x="13218" y="198"/>
                      </a:lnTo>
                      <a:lnTo>
                        <a:pt x="13218" y="204"/>
                      </a:lnTo>
                      <a:lnTo>
                        <a:pt x="13230" y="210"/>
                      </a:lnTo>
                      <a:lnTo>
                        <a:pt x="13242" y="216"/>
                      </a:lnTo>
                      <a:lnTo>
                        <a:pt x="13260" y="222"/>
                      </a:lnTo>
                      <a:lnTo>
                        <a:pt x="13272" y="228"/>
                      </a:lnTo>
                      <a:lnTo>
                        <a:pt x="13290" y="228"/>
                      </a:lnTo>
                      <a:lnTo>
                        <a:pt x="13296" y="222"/>
                      </a:lnTo>
                      <a:lnTo>
                        <a:pt x="13302" y="222"/>
                      </a:lnTo>
                      <a:lnTo>
                        <a:pt x="13302" y="210"/>
                      </a:lnTo>
                      <a:lnTo>
                        <a:pt x="13308" y="210"/>
                      </a:lnTo>
                      <a:lnTo>
                        <a:pt x="13314" y="210"/>
                      </a:lnTo>
                      <a:lnTo>
                        <a:pt x="13326" y="210"/>
                      </a:lnTo>
                      <a:lnTo>
                        <a:pt x="13338" y="210"/>
                      </a:lnTo>
                      <a:lnTo>
                        <a:pt x="13356" y="216"/>
                      </a:lnTo>
                      <a:lnTo>
                        <a:pt x="13368" y="216"/>
                      </a:lnTo>
                      <a:lnTo>
                        <a:pt x="13386" y="222"/>
                      </a:lnTo>
                      <a:lnTo>
                        <a:pt x="13392" y="228"/>
                      </a:lnTo>
                      <a:lnTo>
                        <a:pt x="13398" y="234"/>
                      </a:lnTo>
                      <a:lnTo>
                        <a:pt x="13404" y="240"/>
                      </a:lnTo>
                      <a:lnTo>
                        <a:pt x="13410" y="246"/>
                      </a:lnTo>
                      <a:lnTo>
                        <a:pt x="13416" y="246"/>
                      </a:lnTo>
                      <a:lnTo>
                        <a:pt x="13428" y="246"/>
                      </a:lnTo>
                      <a:lnTo>
                        <a:pt x="13434" y="240"/>
                      </a:lnTo>
                      <a:lnTo>
                        <a:pt x="13446" y="234"/>
                      </a:lnTo>
                      <a:lnTo>
                        <a:pt x="13452" y="228"/>
                      </a:lnTo>
                      <a:lnTo>
                        <a:pt x="13464" y="222"/>
                      </a:lnTo>
                      <a:lnTo>
                        <a:pt x="13470" y="222"/>
                      </a:lnTo>
                      <a:lnTo>
                        <a:pt x="13476" y="228"/>
                      </a:lnTo>
                      <a:lnTo>
                        <a:pt x="13488" y="240"/>
                      </a:lnTo>
                      <a:lnTo>
                        <a:pt x="13494" y="252"/>
                      </a:lnTo>
                      <a:lnTo>
                        <a:pt x="13506" y="258"/>
                      </a:lnTo>
                      <a:lnTo>
                        <a:pt x="13518" y="264"/>
                      </a:lnTo>
                      <a:lnTo>
                        <a:pt x="13524" y="276"/>
                      </a:lnTo>
                      <a:lnTo>
                        <a:pt x="13536" y="288"/>
                      </a:lnTo>
                      <a:lnTo>
                        <a:pt x="13536" y="306"/>
                      </a:lnTo>
                      <a:lnTo>
                        <a:pt x="13542" y="324"/>
                      </a:lnTo>
                      <a:lnTo>
                        <a:pt x="13548" y="336"/>
                      </a:lnTo>
                      <a:lnTo>
                        <a:pt x="13554" y="348"/>
                      </a:lnTo>
                      <a:lnTo>
                        <a:pt x="13566" y="354"/>
                      </a:lnTo>
                      <a:lnTo>
                        <a:pt x="13578" y="366"/>
                      </a:lnTo>
                      <a:lnTo>
                        <a:pt x="13596" y="378"/>
                      </a:lnTo>
                      <a:lnTo>
                        <a:pt x="13608" y="384"/>
                      </a:lnTo>
                      <a:lnTo>
                        <a:pt x="13614" y="390"/>
                      </a:lnTo>
                      <a:lnTo>
                        <a:pt x="13614" y="402"/>
                      </a:lnTo>
                      <a:lnTo>
                        <a:pt x="13614" y="420"/>
                      </a:lnTo>
                      <a:lnTo>
                        <a:pt x="13614" y="438"/>
                      </a:lnTo>
                      <a:lnTo>
                        <a:pt x="13620" y="450"/>
                      </a:lnTo>
                      <a:lnTo>
                        <a:pt x="13626" y="456"/>
                      </a:lnTo>
                      <a:lnTo>
                        <a:pt x="13638" y="462"/>
                      </a:lnTo>
                      <a:lnTo>
                        <a:pt x="13656" y="462"/>
                      </a:lnTo>
                      <a:lnTo>
                        <a:pt x="13680" y="468"/>
                      </a:lnTo>
                      <a:lnTo>
                        <a:pt x="13698" y="474"/>
                      </a:lnTo>
                      <a:lnTo>
                        <a:pt x="13716" y="486"/>
                      </a:lnTo>
                      <a:lnTo>
                        <a:pt x="13728" y="492"/>
                      </a:lnTo>
                      <a:lnTo>
                        <a:pt x="13740" y="486"/>
                      </a:lnTo>
                      <a:lnTo>
                        <a:pt x="13752" y="480"/>
                      </a:lnTo>
                      <a:lnTo>
                        <a:pt x="13758" y="462"/>
                      </a:lnTo>
                      <a:lnTo>
                        <a:pt x="13758" y="450"/>
                      </a:lnTo>
                      <a:lnTo>
                        <a:pt x="13752" y="438"/>
                      </a:lnTo>
                      <a:lnTo>
                        <a:pt x="13746" y="432"/>
                      </a:lnTo>
                      <a:lnTo>
                        <a:pt x="13734" y="426"/>
                      </a:lnTo>
                      <a:lnTo>
                        <a:pt x="13722" y="426"/>
                      </a:lnTo>
                      <a:lnTo>
                        <a:pt x="13710" y="426"/>
                      </a:lnTo>
                      <a:lnTo>
                        <a:pt x="13698" y="426"/>
                      </a:lnTo>
                      <a:lnTo>
                        <a:pt x="13692" y="420"/>
                      </a:lnTo>
                      <a:lnTo>
                        <a:pt x="13692" y="414"/>
                      </a:lnTo>
                      <a:lnTo>
                        <a:pt x="13692" y="402"/>
                      </a:lnTo>
                      <a:lnTo>
                        <a:pt x="13698" y="396"/>
                      </a:lnTo>
                      <a:lnTo>
                        <a:pt x="13698" y="384"/>
                      </a:lnTo>
                      <a:lnTo>
                        <a:pt x="13692" y="372"/>
                      </a:lnTo>
                      <a:lnTo>
                        <a:pt x="13680" y="360"/>
                      </a:lnTo>
                      <a:lnTo>
                        <a:pt x="13674" y="354"/>
                      </a:lnTo>
                      <a:lnTo>
                        <a:pt x="13656" y="348"/>
                      </a:lnTo>
                      <a:lnTo>
                        <a:pt x="13644" y="342"/>
                      </a:lnTo>
                      <a:lnTo>
                        <a:pt x="13626" y="330"/>
                      </a:lnTo>
                      <a:lnTo>
                        <a:pt x="13614" y="324"/>
                      </a:lnTo>
                      <a:lnTo>
                        <a:pt x="13602" y="318"/>
                      </a:lnTo>
                      <a:lnTo>
                        <a:pt x="13596" y="306"/>
                      </a:lnTo>
                      <a:lnTo>
                        <a:pt x="13596" y="300"/>
                      </a:lnTo>
                      <a:lnTo>
                        <a:pt x="13608" y="294"/>
                      </a:lnTo>
                      <a:lnTo>
                        <a:pt x="13620" y="294"/>
                      </a:lnTo>
                      <a:lnTo>
                        <a:pt x="13638" y="288"/>
                      </a:lnTo>
                      <a:lnTo>
                        <a:pt x="13656" y="294"/>
                      </a:lnTo>
                      <a:lnTo>
                        <a:pt x="13686" y="294"/>
                      </a:lnTo>
                      <a:lnTo>
                        <a:pt x="13698" y="300"/>
                      </a:lnTo>
                      <a:lnTo>
                        <a:pt x="13710" y="294"/>
                      </a:lnTo>
                      <a:lnTo>
                        <a:pt x="13710" y="294"/>
                      </a:lnTo>
                      <a:lnTo>
                        <a:pt x="13716" y="288"/>
                      </a:lnTo>
                      <a:lnTo>
                        <a:pt x="13716" y="282"/>
                      </a:lnTo>
                      <a:lnTo>
                        <a:pt x="13716" y="276"/>
                      </a:lnTo>
                      <a:lnTo>
                        <a:pt x="13722" y="264"/>
                      </a:lnTo>
                      <a:lnTo>
                        <a:pt x="13728" y="258"/>
                      </a:lnTo>
                      <a:lnTo>
                        <a:pt x="13734" y="258"/>
                      </a:lnTo>
                      <a:lnTo>
                        <a:pt x="13746" y="258"/>
                      </a:lnTo>
                      <a:lnTo>
                        <a:pt x="13752" y="258"/>
                      </a:lnTo>
                      <a:lnTo>
                        <a:pt x="13758" y="264"/>
                      </a:lnTo>
                      <a:lnTo>
                        <a:pt x="13770" y="264"/>
                      </a:lnTo>
                      <a:lnTo>
                        <a:pt x="13788" y="258"/>
                      </a:lnTo>
                      <a:lnTo>
                        <a:pt x="13800" y="252"/>
                      </a:lnTo>
                      <a:lnTo>
                        <a:pt x="13812" y="252"/>
                      </a:lnTo>
                      <a:lnTo>
                        <a:pt x="13818" y="246"/>
                      </a:lnTo>
                      <a:lnTo>
                        <a:pt x="13830" y="252"/>
                      </a:lnTo>
                      <a:lnTo>
                        <a:pt x="13842" y="252"/>
                      </a:lnTo>
                      <a:lnTo>
                        <a:pt x="13878" y="264"/>
                      </a:lnTo>
                      <a:lnTo>
                        <a:pt x="13920" y="282"/>
                      </a:lnTo>
                      <a:lnTo>
                        <a:pt x="13974" y="300"/>
                      </a:lnTo>
                      <a:lnTo>
                        <a:pt x="14016" y="312"/>
                      </a:lnTo>
                      <a:lnTo>
                        <a:pt x="14052" y="330"/>
                      </a:lnTo>
                      <a:lnTo>
                        <a:pt x="14088" y="342"/>
                      </a:lnTo>
                      <a:lnTo>
                        <a:pt x="14112" y="342"/>
                      </a:lnTo>
                      <a:lnTo>
                        <a:pt x="14118" y="336"/>
                      </a:lnTo>
                      <a:lnTo>
                        <a:pt x="14130" y="330"/>
                      </a:lnTo>
                      <a:lnTo>
                        <a:pt x="14136" y="330"/>
                      </a:lnTo>
                      <a:lnTo>
                        <a:pt x="14142" y="330"/>
                      </a:lnTo>
                      <a:lnTo>
                        <a:pt x="14148" y="336"/>
                      </a:lnTo>
                      <a:lnTo>
                        <a:pt x="14160" y="348"/>
                      </a:lnTo>
                      <a:lnTo>
                        <a:pt x="14166" y="360"/>
                      </a:lnTo>
                      <a:lnTo>
                        <a:pt x="14166" y="366"/>
                      </a:lnTo>
                      <a:lnTo>
                        <a:pt x="14166" y="378"/>
                      </a:lnTo>
                      <a:lnTo>
                        <a:pt x="14160" y="384"/>
                      </a:lnTo>
                      <a:lnTo>
                        <a:pt x="14148" y="396"/>
                      </a:lnTo>
                      <a:lnTo>
                        <a:pt x="14142" y="414"/>
                      </a:lnTo>
                      <a:lnTo>
                        <a:pt x="14130" y="450"/>
                      </a:lnTo>
                      <a:lnTo>
                        <a:pt x="14130" y="480"/>
                      </a:lnTo>
                      <a:lnTo>
                        <a:pt x="14130" y="528"/>
                      </a:lnTo>
                      <a:lnTo>
                        <a:pt x="14130" y="546"/>
                      </a:lnTo>
                      <a:lnTo>
                        <a:pt x="14136" y="564"/>
                      </a:lnTo>
                      <a:lnTo>
                        <a:pt x="14130" y="576"/>
                      </a:lnTo>
                      <a:lnTo>
                        <a:pt x="14130" y="582"/>
                      </a:lnTo>
                      <a:lnTo>
                        <a:pt x="14124" y="582"/>
                      </a:lnTo>
                      <a:lnTo>
                        <a:pt x="14112" y="582"/>
                      </a:lnTo>
                      <a:lnTo>
                        <a:pt x="14094" y="576"/>
                      </a:lnTo>
                      <a:lnTo>
                        <a:pt x="14076" y="570"/>
                      </a:lnTo>
                      <a:lnTo>
                        <a:pt x="14064" y="570"/>
                      </a:lnTo>
                      <a:lnTo>
                        <a:pt x="14052" y="576"/>
                      </a:lnTo>
                      <a:lnTo>
                        <a:pt x="14040" y="582"/>
                      </a:lnTo>
                      <a:lnTo>
                        <a:pt x="14034" y="582"/>
                      </a:lnTo>
                      <a:lnTo>
                        <a:pt x="14016" y="588"/>
                      </a:lnTo>
                      <a:lnTo>
                        <a:pt x="14004" y="588"/>
                      </a:lnTo>
                      <a:lnTo>
                        <a:pt x="13986" y="594"/>
                      </a:lnTo>
                      <a:lnTo>
                        <a:pt x="13974" y="600"/>
                      </a:lnTo>
                      <a:lnTo>
                        <a:pt x="13968" y="606"/>
                      </a:lnTo>
                      <a:lnTo>
                        <a:pt x="13974" y="612"/>
                      </a:lnTo>
                      <a:lnTo>
                        <a:pt x="13986" y="624"/>
                      </a:lnTo>
                      <a:lnTo>
                        <a:pt x="13998" y="630"/>
                      </a:lnTo>
                      <a:lnTo>
                        <a:pt x="14016" y="642"/>
                      </a:lnTo>
                      <a:lnTo>
                        <a:pt x="14034" y="660"/>
                      </a:lnTo>
                      <a:lnTo>
                        <a:pt x="14052" y="672"/>
                      </a:lnTo>
                      <a:lnTo>
                        <a:pt x="14064" y="684"/>
                      </a:lnTo>
                      <a:lnTo>
                        <a:pt x="14076" y="696"/>
                      </a:lnTo>
                      <a:lnTo>
                        <a:pt x="14088" y="702"/>
                      </a:lnTo>
                      <a:lnTo>
                        <a:pt x="14094" y="714"/>
                      </a:lnTo>
                      <a:lnTo>
                        <a:pt x="14100" y="726"/>
                      </a:lnTo>
                      <a:lnTo>
                        <a:pt x="14106" y="738"/>
                      </a:lnTo>
                      <a:lnTo>
                        <a:pt x="14100" y="750"/>
                      </a:lnTo>
                      <a:lnTo>
                        <a:pt x="14100" y="756"/>
                      </a:lnTo>
                      <a:lnTo>
                        <a:pt x="14100" y="768"/>
                      </a:lnTo>
                      <a:lnTo>
                        <a:pt x="14106" y="768"/>
                      </a:lnTo>
                      <a:lnTo>
                        <a:pt x="14118" y="774"/>
                      </a:lnTo>
                      <a:lnTo>
                        <a:pt x="14136" y="780"/>
                      </a:lnTo>
                      <a:lnTo>
                        <a:pt x="14148" y="780"/>
                      </a:lnTo>
                      <a:lnTo>
                        <a:pt x="14154" y="786"/>
                      </a:lnTo>
                      <a:lnTo>
                        <a:pt x="14166" y="792"/>
                      </a:lnTo>
                      <a:lnTo>
                        <a:pt x="14166" y="798"/>
                      </a:lnTo>
                      <a:lnTo>
                        <a:pt x="14166" y="804"/>
                      </a:lnTo>
                      <a:lnTo>
                        <a:pt x="14160" y="810"/>
                      </a:lnTo>
                      <a:lnTo>
                        <a:pt x="14148" y="810"/>
                      </a:lnTo>
                      <a:lnTo>
                        <a:pt x="14136" y="816"/>
                      </a:lnTo>
                      <a:lnTo>
                        <a:pt x="14136" y="822"/>
                      </a:lnTo>
                      <a:lnTo>
                        <a:pt x="14136" y="828"/>
                      </a:lnTo>
                      <a:lnTo>
                        <a:pt x="14142" y="834"/>
                      </a:lnTo>
                      <a:lnTo>
                        <a:pt x="14154" y="846"/>
                      </a:lnTo>
                      <a:lnTo>
                        <a:pt x="14160" y="852"/>
                      </a:lnTo>
                      <a:lnTo>
                        <a:pt x="14166" y="864"/>
                      </a:lnTo>
                      <a:lnTo>
                        <a:pt x="14172" y="870"/>
                      </a:lnTo>
                      <a:lnTo>
                        <a:pt x="14172" y="876"/>
                      </a:lnTo>
                      <a:lnTo>
                        <a:pt x="14160" y="882"/>
                      </a:lnTo>
                      <a:lnTo>
                        <a:pt x="14142" y="882"/>
                      </a:lnTo>
                      <a:lnTo>
                        <a:pt x="14124" y="870"/>
                      </a:lnTo>
                      <a:lnTo>
                        <a:pt x="14106" y="858"/>
                      </a:lnTo>
                      <a:lnTo>
                        <a:pt x="14100" y="846"/>
                      </a:lnTo>
                      <a:lnTo>
                        <a:pt x="14088" y="846"/>
                      </a:lnTo>
                      <a:lnTo>
                        <a:pt x="14082" y="852"/>
                      </a:lnTo>
                      <a:lnTo>
                        <a:pt x="14076" y="858"/>
                      </a:lnTo>
                      <a:lnTo>
                        <a:pt x="14076" y="864"/>
                      </a:lnTo>
                      <a:lnTo>
                        <a:pt x="14082" y="876"/>
                      </a:lnTo>
                      <a:lnTo>
                        <a:pt x="14088" y="888"/>
                      </a:lnTo>
                      <a:lnTo>
                        <a:pt x="14088" y="894"/>
                      </a:lnTo>
                      <a:lnTo>
                        <a:pt x="14088" y="894"/>
                      </a:lnTo>
                      <a:lnTo>
                        <a:pt x="14076" y="900"/>
                      </a:lnTo>
                      <a:lnTo>
                        <a:pt x="14064" y="900"/>
                      </a:lnTo>
                      <a:lnTo>
                        <a:pt x="14052" y="900"/>
                      </a:lnTo>
                      <a:lnTo>
                        <a:pt x="14040" y="900"/>
                      </a:lnTo>
                      <a:lnTo>
                        <a:pt x="14016" y="900"/>
                      </a:lnTo>
                      <a:lnTo>
                        <a:pt x="13980" y="888"/>
                      </a:lnTo>
                      <a:lnTo>
                        <a:pt x="13950" y="870"/>
                      </a:lnTo>
                      <a:lnTo>
                        <a:pt x="13926" y="834"/>
                      </a:lnTo>
                      <a:lnTo>
                        <a:pt x="13920" y="816"/>
                      </a:lnTo>
                      <a:lnTo>
                        <a:pt x="13908" y="804"/>
                      </a:lnTo>
                      <a:lnTo>
                        <a:pt x="13902" y="804"/>
                      </a:lnTo>
                      <a:lnTo>
                        <a:pt x="13896" y="810"/>
                      </a:lnTo>
                      <a:lnTo>
                        <a:pt x="13896" y="816"/>
                      </a:lnTo>
                      <a:lnTo>
                        <a:pt x="13890" y="834"/>
                      </a:lnTo>
                      <a:lnTo>
                        <a:pt x="13884" y="846"/>
                      </a:lnTo>
                      <a:lnTo>
                        <a:pt x="13884" y="864"/>
                      </a:lnTo>
                      <a:lnTo>
                        <a:pt x="13872" y="882"/>
                      </a:lnTo>
                      <a:lnTo>
                        <a:pt x="13848" y="882"/>
                      </a:lnTo>
                      <a:lnTo>
                        <a:pt x="13818" y="864"/>
                      </a:lnTo>
                      <a:lnTo>
                        <a:pt x="13788" y="846"/>
                      </a:lnTo>
                      <a:lnTo>
                        <a:pt x="13758" y="834"/>
                      </a:lnTo>
                      <a:lnTo>
                        <a:pt x="13740" y="816"/>
                      </a:lnTo>
                      <a:lnTo>
                        <a:pt x="13722" y="804"/>
                      </a:lnTo>
                      <a:lnTo>
                        <a:pt x="13704" y="786"/>
                      </a:lnTo>
                      <a:lnTo>
                        <a:pt x="13686" y="768"/>
                      </a:lnTo>
                      <a:lnTo>
                        <a:pt x="13668" y="744"/>
                      </a:lnTo>
                      <a:lnTo>
                        <a:pt x="13644" y="720"/>
                      </a:lnTo>
                      <a:lnTo>
                        <a:pt x="13614" y="732"/>
                      </a:lnTo>
                      <a:lnTo>
                        <a:pt x="13590" y="756"/>
                      </a:lnTo>
                      <a:lnTo>
                        <a:pt x="13566" y="798"/>
                      </a:lnTo>
                      <a:lnTo>
                        <a:pt x="13548" y="816"/>
                      </a:lnTo>
                      <a:lnTo>
                        <a:pt x="13518" y="816"/>
                      </a:lnTo>
                      <a:lnTo>
                        <a:pt x="13482" y="804"/>
                      </a:lnTo>
                      <a:lnTo>
                        <a:pt x="13452" y="786"/>
                      </a:lnTo>
                      <a:lnTo>
                        <a:pt x="13422" y="768"/>
                      </a:lnTo>
                      <a:lnTo>
                        <a:pt x="13404" y="750"/>
                      </a:lnTo>
                      <a:lnTo>
                        <a:pt x="13398" y="720"/>
                      </a:lnTo>
                      <a:lnTo>
                        <a:pt x="13392" y="684"/>
                      </a:lnTo>
                      <a:lnTo>
                        <a:pt x="13392" y="642"/>
                      </a:lnTo>
                      <a:lnTo>
                        <a:pt x="13398" y="606"/>
                      </a:lnTo>
                      <a:lnTo>
                        <a:pt x="13392" y="594"/>
                      </a:lnTo>
                      <a:lnTo>
                        <a:pt x="13392" y="582"/>
                      </a:lnTo>
                      <a:lnTo>
                        <a:pt x="13380" y="576"/>
                      </a:lnTo>
                      <a:lnTo>
                        <a:pt x="13374" y="570"/>
                      </a:lnTo>
                      <a:lnTo>
                        <a:pt x="13368" y="570"/>
                      </a:lnTo>
                      <a:lnTo>
                        <a:pt x="13362" y="576"/>
                      </a:lnTo>
                      <a:lnTo>
                        <a:pt x="13356" y="588"/>
                      </a:lnTo>
                      <a:lnTo>
                        <a:pt x="13356" y="600"/>
                      </a:lnTo>
                      <a:lnTo>
                        <a:pt x="13350" y="612"/>
                      </a:lnTo>
                      <a:lnTo>
                        <a:pt x="13344" y="618"/>
                      </a:lnTo>
                      <a:lnTo>
                        <a:pt x="13332" y="624"/>
                      </a:lnTo>
                      <a:lnTo>
                        <a:pt x="13320" y="618"/>
                      </a:lnTo>
                      <a:lnTo>
                        <a:pt x="13308" y="618"/>
                      </a:lnTo>
                      <a:lnTo>
                        <a:pt x="13302" y="618"/>
                      </a:lnTo>
                      <a:lnTo>
                        <a:pt x="13302" y="630"/>
                      </a:lnTo>
                      <a:lnTo>
                        <a:pt x="13302" y="642"/>
                      </a:lnTo>
                      <a:lnTo>
                        <a:pt x="13314" y="660"/>
                      </a:lnTo>
                      <a:lnTo>
                        <a:pt x="13320" y="672"/>
                      </a:lnTo>
                      <a:lnTo>
                        <a:pt x="13326" y="678"/>
                      </a:lnTo>
                      <a:lnTo>
                        <a:pt x="13320" y="684"/>
                      </a:lnTo>
                      <a:lnTo>
                        <a:pt x="13320" y="684"/>
                      </a:lnTo>
                      <a:lnTo>
                        <a:pt x="13314" y="690"/>
                      </a:lnTo>
                      <a:lnTo>
                        <a:pt x="13308" y="696"/>
                      </a:lnTo>
                      <a:lnTo>
                        <a:pt x="13308" y="702"/>
                      </a:lnTo>
                      <a:lnTo>
                        <a:pt x="13302" y="708"/>
                      </a:lnTo>
                      <a:lnTo>
                        <a:pt x="13302" y="726"/>
                      </a:lnTo>
                      <a:lnTo>
                        <a:pt x="13308" y="744"/>
                      </a:lnTo>
                      <a:lnTo>
                        <a:pt x="13320" y="762"/>
                      </a:lnTo>
                      <a:lnTo>
                        <a:pt x="13332" y="780"/>
                      </a:lnTo>
                      <a:lnTo>
                        <a:pt x="13350" y="798"/>
                      </a:lnTo>
                      <a:lnTo>
                        <a:pt x="13374" y="834"/>
                      </a:lnTo>
                      <a:lnTo>
                        <a:pt x="13398" y="864"/>
                      </a:lnTo>
                      <a:lnTo>
                        <a:pt x="13410" y="912"/>
                      </a:lnTo>
                      <a:lnTo>
                        <a:pt x="13416" y="972"/>
                      </a:lnTo>
                      <a:lnTo>
                        <a:pt x="13410" y="1032"/>
                      </a:lnTo>
                      <a:lnTo>
                        <a:pt x="13404" y="1092"/>
                      </a:lnTo>
                      <a:lnTo>
                        <a:pt x="13398" y="1104"/>
                      </a:lnTo>
                      <a:lnTo>
                        <a:pt x="13392" y="1116"/>
                      </a:lnTo>
                      <a:lnTo>
                        <a:pt x="13386" y="1116"/>
                      </a:lnTo>
                      <a:lnTo>
                        <a:pt x="13386" y="1110"/>
                      </a:lnTo>
                      <a:lnTo>
                        <a:pt x="13380" y="1110"/>
                      </a:lnTo>
                      <a:lnTo>
                        <a:pt x="13374" y="1098"/>
                      </a:lnTo>
                      <a:lnTo>
                        <a:pt x="13368" y="1092"/>
                      </a:lnTo>
                      <a:lnTo>
                        <a:pt x="13362" y="1092"/>
                      </a:lnTo>
                      <a:lnTo>
                        <a:pt x="13356" y="1092"/>
                      </a:lnTo>
                      <a:lnTo>
                        <a:pt x="13344" y="1098"/>
                      </a:lnTo>
                      <a:lnTo>
                        <a:pt x="13332" y="1110"/>
                      </a:lnTo>
                      <a:lnTo>
                        <a:pt x="13320" y="1122"/>
                      </a:lnTo>
                      <a:lnTo>
                        <a:pt x="13302" y="1128"/>
                      </a:lnTo>
                      <a:lnTo>
                        <a:pt x="13290" y="1140"/>
                      </a:lnTo>
                      <a:lnTo>
                        <a:pt x="13266" y="1140"/>
                      </a:lnTo>
                      <a:lnTo>
                        <a:pt x="13248" y="1146"/>
                      </a:lnTo>
                      <a:lnTo>
                        <a:pt x="13230" y="1140"/>
                      </a:lnTo>
                      <a:lnTo>
                        <a:pt x="13206" y="1128"/>
                      </a:lnTo>
                      <a:lnTo>
                        <a:pt x="13194" y="1122"/>
                      </a:lnTo>
                      <a:lnTo>
                        <a:pt x="13182" y="1122"/>
                      </a:lnTo>
                      <a:lnTo>
                        <a:pt x="13176" y="1128"/>
                      </a:lnTo>
                      <a:lnTo>
                        <a:pt x="13170" y="1134"/>
                      </a:lnTo>
                      <a:lnTo>
                        <a:pt x="13176" y="1146"/>
                      </a:lnTo>
                      <a:lnTo>
                        <a:pt x="13176" y="1158"/>
                      </a:lnTo>
                      <a:lnTo>
                        <a:pt x="13170" y="1170"/>
                      </a:lnTo>
                      <a:lnTo>
                        <a:pt x="13158" y="1176"/>
                      </a:lnTo>
                      <a:lnTo>
                        <a:pt x="13140" y="1188"/>
                      </a:lnTo>
                      <a:lnTo>
                        <a:pt x="13128" y="1194"/>
                      </a:lnTo>
                      <a:lnTo>
                        <a:pt x="13116" y="1200"/>
                      </a:lnTo>
                      <a:lnTo>
                        <a:pt x="13104" y="1212"/>
                      </a:lnTo>
                      <a:lnTo>
                        <a:pt x="13104" y="1218"/>
                      </a:lnTo>
                      <a:lnTo>
                        <a:pt x="13104" y="1230"/>
                      </a:lnTo>
                      <a:lnTo>
                        <a:pt x="13104" y="1242"/>
                      </a:lnTo>
                      <a:lnTo>
                        <a:pt x="13116" y="1248"/>
                      </a:lnTo>
                      <a:lnTo>
                        <a:pt x="13134" y="1248"/>
                      </a:lnTo>
                      <a:lnTo>
                        <a:pt x="13152" y="1248"/>
                      </a:lnTo>
                      <a:lnTo>
                        <a:pt x="13170" y="1242"/>
                      </a:lnTo>
                      <a:lnTo>
                        <a:pt x="13182" y="1230"/>
                      </a:lnTo>
                      <a:lnTo>
                        <a:pt x="13194" y="1224"/>
                      </a:lnTo>
                      <a:lnTo>
                        <a:pt x="13212" y="1212"/>
                      </a:lnTo>
                      <a:lnTo>
                        <a:pt x="13224" y="1206"/>
                      </a:lnTo>
                      <a:lnTo>
                        <a:pt x="13242" y="1200"/>
                      </a:lnTo>
                      <a:lnTo>
                        <a:pt x="13254" y="1194"/>
                      </a:lnTo>
                      <a:lnTo>
                        <a:pt x="13266" y="1194"/>
                      </a:lnTo>
                      <a:lnTo>
                        <a:pt x="13278" y="1200"/>
                      </a:lnTo>
                      <a:lnTo>
                        <a:pt x="13290" y="1212"/>
                      </a:lnTo>
                      <a:lnTo>
                        <a:pt x="13296" y="1224"/>
                      </a:lnTo>
                      <a:lnTo>
                        <a:pt x="13308" y="1224"/>
                      </a:lnTo>
                      <a:lnTo>
                        <a:pt x="13314" y="1218"/>
                      </a:lnTo>
                      <a:lnTo>
                        <a:pt x="13320" y="1206"/>
                      </a:lnTo>
                      <a:lnTo>
                        <a:pt x="13326" y="1194"/>
                      </a:lnTo>
                      <a:lnTo>
                        <a:pt x="13332" y="1182"/>
                      </a:lnTo>
                      <a:lnTo>
                        <a:pt x="13344" y="1176"/>
                      </a:lnTo>
                      <a:lnTo>
                        <a:pt x="13362" y="1188"/>
                      </a:lnTo>
                      <a:lnTo>
                        <a:pt x="13386" y="1200"/>
                      </a:lnTo>
                      <a:lnTo>
                        <a:pt x="13410" y="1224"/>
                      </a:lnTo>
                      <a:lnTo>
                        <a:pt x="13434" y="1236"/>
                      </a:lnTo>
                      <a:lnTo>
                        <a:pt x="13458" y="1260"/>
                      </a:lnTo>
                      <a:lnTo>
                        <a:pt x="13482" y="1290"/>
                      </a:lnTo>
                      <a:lnTo>
                        <a:pt x="13500" y="1326"/>
                      </a:lnTo>
                      <a:lnTo>
                        <a:pt x="13500" y="1350"/>
                      </a:lnTo>
                      <a:lnTo>
                        <a:pt x="13494" y="1362"/>
                      </a:lnTo>
                      <a:lnTo>
                        <a:pt x="13494" y="1374"/>
                      </a:lnTo>
                      <a:lnTo>
                        <a:pt x="13494" y="1380"/>
                      </a:lnTo>
                      <a:lnTo>
                        <a:pt x="13506" y="1380"/>
                      </a:lnTo>
                      <a:lnTo>
                        <a:pt x="13512" y="1380"/>
                      </a:lnTo>
                      <a:lnTo>
                        <a:pt x="13524" y="1380"/>
                      </a:lnTo>
                      <a:lnTo>
                        <a:pt x="13542" y="1374"/>
                      </a:lnTo>
                      <a:lnTo>
                        <a:pt x="13554" y="1380"/>
                      </a:lnTo>
                      <a:lnTo>
                        <a:pt x="13572" y="1392"/>
                      </a:lnTo>
                      <a:lnTo>
                        <a:pt x="13584" y="1404"/>
                      </a:lnTo>
                      <a:lnTo>
                        <a:pt x="13602" y="1422"/>
                      </a:lnTo>
                      <a:lnTo>
                        <a:pt x="13644" y="1434"/>
                      </a:lnTo>
                      <a:lnTo>
                        <a:pt x="13686" y="1440"/>
                      </a:lnTo>
                      <a:lnTo>
                        <a:pt x="13728" y="1458"/>
                      </a:lnTo>
                      <a:lnTo>
                        <a:pt x="13740" y="1476"/>
                      </a:lnTo>
                      <a:lnTo>
                        <a:pt x="13740" y="1494"/>
                      </a:lnTo>
                      <a:lnTo>
                        <a:pt x="13734" y="1524"/>
                      </a:lnTo>
                      <a:lnTo>
                        <a:pt x="13740" y="1566"/>
                      </a:lnTo>
                      <a:lnTo>
                        <a:pt x="13740" y="1590"/>
                      </a:lnTo>
                      <a:lnTo>
                        <a:pt x="13728" y="1596"/>
                      </a:lnTo>
                      <a:lnTo>
                        <a:pt x="13704" y="1596"/>
                      </a:lnTo>
                      <a:lnTo>
                        <a:pt x="13674" y="1590"/>
                      </a:lnTo>
                      <a:lnTo>
                        <a:pt x="13644" y="1578"/>
                      </a:lnTo>
                      <a:lnTo>
                        <a:pt x="13620" y="1560"/>
                      </a:lnTo>
                      <a:lnTo>
                        <a:pt x="13590" y="1560"/>
                      </a:lnTo>
                      <a:lnTo>
                        <a:pt x="13572" y="1572"/>
                      </a:lnTo>
                      <a:lnTo>
                        <a:pt x="13554" y="1590"/>
                      </a:lnTo>
                      <a:lnTo>
                        <a:pt x="13536" y="1614"/>
                      </a:lnTo>
                      <a:lnTo>
                        <a:pt x="13518" y="1632"/>
                      </a:lnTo>
                      <a:lnTo>
                        <a:pt x="13500" y="1644"/>
                      </a:lnTo>
                      <a:lnTo>
                        <a:pt x="13482" y="1656"/>
                      </a:lnTo>
                      <a:lnTo>
                        <a:pt x="13470" y="1668"/>
                      </a:lnTo>
                      <a:lnTo>
                        <a:pt x="13458" y="1680"/>
                      </a:lnTo>
                      <a:lnTo>
                        <a:pt x="13452" y="1704"/>
                      </a:lnTo>
                      <a:lnTo>
                        <a:pt x="13452" y="1728"/>
                      </a:lnTo>
                      <a:lnTo>
                        <a:pt x="13446" y="1764"/>
                      </a:lnTo>
                      <a:lnTo>
                        <a:pt x="13434" y="1800"/>
                      </a:lnTo>
                      <a:lnTo>
                        <a:pt x="13416" y="1842"/>
                      </a:lnTo>
                      <a:lnTo>
                        <a:pt x="13398" y="1878"/>
                      </a:lnTo>
                      <a:lnTo>
                        <a:pt x="13380" y="1902"/>
                      </a:lnTo>
                      <a:lnTo>
                        <a:pt x="13362" y="1932"/>
                      </a:lnTo>
                      <a:lnTo>
                        <a:pt x="13356" y="1962"/>
                      </a:lnTo>
                      <a:lnTo>
                        <a:pt x="13350" y="1998"/>
                      </a:lnTo>
                      <a:lnTo>
                        <a:pt x="13338" y="2016"/>
                      </a:lnTo>
                      <a:lnTo>
                        <a:pt x="13332" y="2034"/>
                      </a:lnTo>
                      <a:lnTo>
                        <a:pt x="13332" y="2064"/>
                      </a:lnTo>
                      <a:lnTo>
                        <a:pt x="13326" y="2088"/>
                      </a:lnTo>
                      <a:lnTo>
                        <a:pt x="13308" y="2106"/>
                      </a:lnTo>
                      <a:lnTo>
                        <a:pt x="13290" y="2124"/>
                      </a:lnTo>
                      <a:lnTo>
                        <a:pt x="13278" y="2148"/>
                      </a:lnTo>
                      <a:lnTo>
                        <a:pt x="13278" y="2184"/>
                      </a:lnTo>
                      <a:lnTo>
                        <a:pt x="13284" y="2208"/>
                      </a:lnTo>
                      <a:lnTo>
                        <a:pt x="13284" y="2226"/>
                      </a:lnTo>
                      <a:lnTo>
                        <a:pt x="13284" y="2238"/>
                      </a:lnTo>
                      <a:lnTo>
                        <a:pt x="13284" y="2244"/>
                      </a:lnTo>
                      <a:lnTo>
                        <a:pt x="13278" y="2250"/>
                      </a:lnTo>
                      <a:lnTo>
                        <a:pt x="13272" y="2250"/>
                      </a:lnTo>
                      <a:lnTo>
                        <a:pt x="13266" y="2256"/>
                      </a:lnTo>
                      <a:lnTo>
                        <a:pt x="13254" y="2262"/>
                      </a:lnTo>
                      <a:lnTo>
                        <a:pt x="13248" y="2268"/>
                      </a:lnTo>
                      <a:lnTo>
                        <a:pt x="13242" y="2286"/>
                      </a:lnTo>
                      <a:lnTo>
                        <a:pt x="13236" y="2298"/>
                      </a:lnTo>
                      <a:lnTo>
                        <a:pt x="13242" y="2316"/>
                      </a:lnTo>
                      <a:lnTo>
                        <a:pt x="13248" y="2328"/>
                      </a:lnTo>
                      <a:lnTo>
                        <a:pt x="13254" y="2352"/>
                      </a:lnTo>
                      <a:lnTo>
                        <a:pt x="13254" y="2364"/>
                      </a:lnTo>
                      <a:lnTo>
                        <a:pt x="13254" y="2376"/>
                      </a:lnTo>
                      <a:lnTo>
                        <a:pt x="13254" y="2382"/>
                      </a:lnTo>
                      <a:lnTo>
                        <a:pt x="13248" y="2388"/>
                      </a:lnTo>
                      <a:lnTo>
                        <a:pt x="13242" y="2388"/>
                      </a:lnTo>
                      <a:lnTo>
                        <a:pt x="13230" y="2382"/>
                      </a:lnTo>
                      <a:lnTo>
                        <a:pt x="13224" y="2376"/>
                      </a:lnTo>
                      <a:lnTo>
                        <a:pt x="13212" y="2376"/>
                      </a:lnTo>
                      <a:lnTo>
                        <a:pt x="13200" y="2376"/>
                      </a:lnTo>
                      <a:lnTo>
                        <a:pt x="13194" y="2376"/>
                      </a:lnTo>
                      <a:lnTo>
                        <a:pt x="13182" y="2370"/>
                      </a:lnTo>
                      <a:lnTo>
                        <a:pt x="13176" y="2364"/>
                      </a:lnTo>
                      <a:lnTo>
                        <a:pt x="13176" y="2358"/>
                      </a:lnTo>
                      <a:lnTo>
                        <a:pt x="13152" y="2328"/>
                      </a:lnTo>
                      <a:lnTo>
                        <a:pt x="13104" y="2316"/>
                      </a:lnTo>
                      <a:lnTo>
                        <a:pt x="13056" y="2310"/>
                      </a:lnTo>
                      <a:lnTo>
                        <a:pt x="13014" y="2322"/>
                      </a:lnTo>
                      <a:lnTo>
                        <a:pt x="12972" y="2346"/>
                      </a:lnTo>
                      <a:lnTo>
                        <a:pt x="12936" y="2382"/>
                      </a:lnTo>
                      <a:lnTo>
                        <a:pt x="12930" y="2424"/>
                      </a:lnTo>
                      <a:lnTo>
                        <a:pt x="12936" y="2442"/>
                      </a:lnTo>
                      <a:lnTo>
                        <a:pt x="12936" y="2454"/>
                      </a:lnTo>
                      <a:lnTo>
                        <a:pt x="12936" y="2460"/>
                      </a:lnTo>
                      <a:lnTo>
                        <a:pt x="12930" y="2466"/>
                      </a:lnTo>
                      <a:lnTo>
                        <a:pt x="12930" y="2472"/>
                      </a:lnTo>
                      <a:lnTo>
                        <a:pt x="12918" y="2484"/>
                      </a:lnTo>
                      <a:lnTo>
                        <a:pt x="12912" y="2496"/>
                      </a:lnTo>
                      <a:lnTo>
                        <a:pt x="12900" y="2514"/>
                      </a:lnTo>
                      <a:lnTo>
                        <a:pt x="12888" y="2526"/>
                      </a:lnTo>
                      <a:lnTo>
                        <a:pt x="12876" y="2532"/>
                      </a:lnTo>
                      <a:lnTo>
                        <a:pt x="12870" y="2532"/>
                      </a:lnTo>
                      <a:lnTo>
                        <a:pt x="12870" y="2532"/>
                      </a:lnTo>
                      <a:lnTo>
                        <a:pt x="12864" y="2520"/>
                      </a:lnTo>
                      <a:lnTo>
                        <a:pt x="12858" y="2514"/>
                      </a:lnTo>
                      <a:lnTo>
                        <a:pt x="12858" y="2502"/>
                      </a:lnTo>
                      <a:lnTo>
                        <a:pt x="12858" y="2490"/>
                      </a:lnTo>
                      <a:lnTo>
                        <a:pt x="12852" y="2478"/>
                      </a:lnTo>
                      <a:lnTo>
                        <a:pt x="12852" y="2466"/>
                      </a:lnTo>
                      <a:lnTo>
                        <a:pt x="12846" y="2454"/>
                      </a:lnTo>
                      <a:lnTo>
                        <a:pt x="12846" y="2436"/>
                      </a:lnTo>
                      <a:lnTo>
                        <a:pt x="12846" y="2424"/>
                      </a:lnTo>
                      <a:lnTo>
                        <a:pt x="12852" y="2406"/>
                      </a:lnTo>
                      <a:lnTo>
                        <a:pt x="12858" y="2388"/>
                      </a:lnTo>
                      <a:lnTo>
                        <a:pt x="12864" y="2370"/>
                      </a:lnTo>
                      <a:lnTo>
                        <a:pt x="12864" y="2358"/>
                      </a:lnTo>
                      <a:lnTo>
                        <a:pt x="12858" y="2346"/>
                      </a:lnTo>
                      <a:lnTo>
                        <a:pt x="12846" y="2346"/>
                      </a:lnTo>
                      <a:lnTo>
                        <a:pt x="12834" y="2346"/>
                      </a:lnTo>
                      <a:lnTo>
                        <a:pt x="12816" y="2352"/>
                      </a:lnTo>
                      <a:lnTo>
                        <a:pt x="12804" y="2364"/>
                      </a:lnTo>
                      <a:lnTo>
                        <a:pt x="12792" y="2376"/>
                      </a:lnTo>
                      <a:lnTo>
                        <a:pt x="12792" y="2388"/>
                      </a:lnTo>
                      <a:lnTo>
                        <a:pt x="12792" y="2400"/>
                      </a:lnTo>
                      <a:lnTo>
                        <a:pt x="12792" y="2412"/>
                      </a:lnTo>
                      <a:lnTo>
                        <a:pt x="12792" y="2436"/>
                      </a:lnTo>
                      <a:lnTo>
                        <a:pt x="12786" y="2472"/>
                      </a:lnTo>
                      <a:lnTo>
                        <a:pt x="12780" y="2526"/>
                      </a:lnTo>
                      <a:lnTo>
                        <a:pt x="12780" y="2550"/>
                      </a:lnTo>
                      <a:lnTo>
                        <a:pt x="12774" y="2568"/>
                      </a:lnTo>
                      <a:lnTo>
                        <a:pt x="12774" y="2580"/>
                      </a:lnTo>
                      <a:lnTo>
                        <a:pt x="12768" y="2592"/>
                      </a:lnTo>
                      <a:lnTo>
                        <a:pt x="12756" y="2598"/>
                      </a:lnTo>
                      <a:lnTo>
                        <a:pt x="12744" y="2598"/>
                      </a:lnTo>
                      <a:lnTo>
                        <a:pt x="12732" y="2592"/>
                      </a:lnTo>
                      <a:lnTo>
                        <a:pt x="12714" y="2580"/>
                      </a:lnTo>
                      <a:lnTo>
                        <a:pt x="12690" y="2562"/>
                      </a:lnTo>
                      <a:lnTo>
                        <a:pt x="12654" y="2538"/>
                      </a:lnTo>
                      <a:lnTo>
                        <a:pt x="12630" y="2544"/>
                      </a:lnTo>
                      <a:lnTo>
                        <a:pt x="12612" y="2562"/>
                      </a:lnTo>
                      <a:lnTo>
                        <a:pt x="12600" y="2592"/>
                      </a:lnTo>
                      <a:lnTo>
                        <a:pt x="12600" y="2628"/>
                      </a:lnTo>
                      <a:lnTo>
                        <a:pt x="12606" y="2664"/>
                      </a:lnTo>
                      <a:lnTo>
                        <a:pt x="12618" y="2706"/>
                      </a:lnTo>
                      <a:lnTo>
                        <a:pt x="12630" y="2742"/>
                      </a:lnTo>
                      <a:lnTo>
                        <a:pt x="12636" y="2784"/>
                      </a:lnTo>
                      <a:lnTo>
                        <a:pt x="12654" y="2832"/>
                      </a:lnTo>
                      <a:lnTo>
                        <a:pt x="12672" y="2892"/>
                      </a:lnTo>
                      <a:lnTo>
                        <a:pt x="12672" y="2940"/>
                      </a:lnTo>
                      <a:lnTo>
                        <a:pt x="12666" y="2976"/>
                      </a:lnTo>
                      <a:lnTo>
                        <a:pt x="12654" y="3006"/>
                      </a:lnTo>
                      <a:lnTo>
                        <a:pt x="12648" y="3024"/>
                      </a:lnTo>
                      <a:lnTo>
                        <a:pt x="12648" y="3036"/>
                      </a:lnTo>
                      <a:lnTo>
                        <a:pt x="12648" y="3048"/>
                      </a:lnTo>
                      <a:lnTo>
                        <a:pt x="12654" y="3054"/>
                      </a:lnTo>
                      <a:lnTo>
                        <a:pt x="12666" y="3066"/>
                      </a:lnTo>
                      <a:lnTo>
                        <a:pt x="12672" y="3072"/>
                      </a:lnTo>
                      <a:lnTo>
                        <a:pt x="12684" y="3084"/>
                      </a:lnTo>
                      <a:lnTo>
                        <a:pt x="12690" y="3096"/>
                      </a:lnTo>
                      <a:lnTo>
                        <a:pt x="12696" y="3096"/>
                      </a:lnTo>
                      <a:lnTo>
                        <a:pt x="12696" y="3090"/>
                      </a:lnTo>
                      <a:lnTo>
                        <a:pt x="12702" y="3084"/>
                      </a:lnTo>
                      <a:lnTo>
                        <a:pt x="12702" y="3072"/>
                      </a:lnTo>
                      <a:lnTo>
                        <a:pt x="12708" y="3060"/>
                      </a:lnTo>
                      <a:lnTo>
                        <a:pt x="12714" y="3048"/>
                      </a:lnTo>
                      <a:lnTo>
                        <a:pt x="12726" y="3042"/>
                      </a:lnTo>
                      <a:lnTo>
                        <a:pt x="12738" y="3036"/>
                      </a:lnTo>
                      <a:lnTo>
                        <a:pt x="12750" y="3036"/>
                      </a:lnTo>
                      <a:lnTo>
                        <a:pt x="12762" y="3036"/>
                      </a:lnTo>
                      <a:lnTo>
                        <a:pt x="12774" y="3048"/>
                      </a:lnTo>
                      <a:lnTo>
                        <a:pt x="12792" y="3060"/>
                      </a:lnTo>
                      <a:lnTo>
                        <a:pt x="12804" y="3072"/>
                      </a:lnTo>
                      <a:lnTo>
                        <a:pt x="12810" y="3084"/>
                      </a:lnTo>
                      <a:lnTo>
                        <a:pt x="12810" y="3102"/>
                      </a:lnTo>
                      <a:lnTo>
                        <a:pt x="12810" y="3114"/>
                      </a:lnTo>
                      <a:lnTo>
                        <a:pt x="12816" y="3126"/>
                      </a:lnTo>
                      <a:lnTo>
                        <a:pt x="12822" y="3144"/>
                      </a:lnTo>
                      <a:lnTo>
                        <a:pt x="12828" y="3162"/>
                      </a:lnTo>
                      <a:lnTo>
                        <a:pt x="12840" y="3180"/>
                      </a:lnTo>
                      <a:lnTo>
                        <a:pt x="12846" y="3186"/>
                      </a:lnTo>
                      <a:lnTo>
                        <a:pt x="12858" y="3198"/>
                      </a:lnTo>
                      <a:lnTo>
                        <a:pt x="12870" y="3216"/>
                      </a:lnTo>
                      <a:lnTo>
                        <a:pt x="12876" y="3228"/>
                      </a:lnTo>
                      <a:lnTo>
                        <a:pt x="12876" y="3240"/>
                      </a:lnTo>
                      <a:lnTo>
                        <a:pt x="12882" y="3246"/>
                      </a:lnTo>
                      <a:lnTo>
                        <a:pt x="12888" y="3252"/>
                      </a:lnTo>
                      <a:lnTo>
                        <a:pt x="12900" y="3258"/>
                      </a:lnTo>
                      <a:lnTo>
                        <a:pt x="12912" y="3264"/>
                      </a:lnTo>
                      <a:lnTo>
                        <a:pt x="12936" y="3264"/>
                      </a:lnTo>
                      <a:lnTo>
                        <a:pt x="12966" y="3270"/>
                      </a:lnTo>
                      <a:lnTo>
                        <a:pt x="12984" y="3288"/>
                      </a:lnTo>
                      <a:lnTo>
                        <a:pt x="12990" y="3318"/>
                      </a:lnTo>
                      <a:lnTo>
                        <a:pt x="12996" y="3342"/>
                      </a:lnTo>
                      <a:lnTo>
                        <a:pt x="13002" y="3366"/>
                      </a:lnTo>
                      <a:lnTo>
                        <a:pt x="13008" y="3378"/>
                      </a:lnTo>
                      <a:lnTo>
                        <a:pt x="13008" y="3396"/>
                      </a:lnTo>
                      <a:lnTo>
                        <a:pt x="13008" y="3408"/>
                      </a:lnTo>
                      <a:lnTo>
                        <a:pt x="13008" y="3414"/>
                      </a:lnTo>
                      <a:lnTo>
                        <a:pt x="12996" y="3420"/>
                      </a:lnTo>
                      <a:lnTo>
                        <a:pt x="12990" y="3414"/>
                      </a:lnTo>
                      <a:lnTo>
                        <a:pt x="12978" y="3408"/>
                      </a:lnTo>
                      <a:lnTo>
                        <a:pt x="12960" y="3402"/>
                      </a:lnTo>
                      <a:lnTo>
                        <a:pt x="12948" y="3390"/>
                      </a:lnTo>
                      <a:lnTo>
                        <a:pt x="12942" y="3372"/>
                      </a:lnTo>
                      <a:lnTo>
                        <a:pt x="12930" y="3354"/>
                      </a:lnTo>
                      <a:lnTo>
                        <a:pt x="12924" y="3342"/>
                      </a:lnTo>
                      <a:lnTo>
                        <a:pt x="12924" y="3336"/>
                      </a:lnTo>
                      <a:lnTo>
                        <a:pt x="12918" y="3336"/>
                      </a:lnTo>
                      <a:lnTo>
                        <a:pt x="12912" y="3336"/>
                      </a:lnTo>
                      <a:lnTo>
                        <a:pt x="12906" y="3342"/>
                      </a:lnTo>
                      <a:lnTo>
                        <a:pt x="12900" y="3348"/>
                      </a:lnTo>
                      <a:lnTo>
                        <a:pt x="12900" y="3354"/>
                      </a:lnTo>
                      <a:lnTo>
                        <a:pt x="12900" y="3366"/>
                      </a:lnTo>
                      <a:lnTo>
                        <a:pt x="12900" y="3378"/>
                      </a:lnTo>
                      <a:lnTo>
                        <a:pt x="12906" y="3390"/>
                      </a:lnTo>
                      <a:lnTo>
                        <a:pt x="12906" y="3396"/>
                      </a:lnTo>
                      <a:lnTo>
                        <a:pt x="12906" y="3408"/>
                      </a:lnTo>
                      <a:lnTo>
                        <a:pt x="12900" y="3408"/>
                      </a:lnTo>
                      <a:lnTo>
                        <a:pt x="12888" y="3414"/>
                      </a:lnTo>
                      <a:lnTo>
                        <a:pt x="12882" y="3420"/>
                      </a:lnTo>
                      <a:lnTo>
                        <a:pt x="12882" y="3426"/>
                      </a:lnTo>
                      <a:lnTo>
                        <a:pt x="12882" y="3438"/>
                      </a:lnTo>
                      <a:lnTo>
                        <a:pt x="12888" y="3444"/>
                      </a:lnTo>
                      <a:lnTo>
                        <a:pt x="12894" y="3450"/>
                      </a:lnTo>
                      <a:lnTo>
                        <a:pt x="12906" y="3456"/>
                      </a:lnTo>
                      <a:lnTo>
                        <a:pt x="12912" y="3462"/>
                      </a:lnTo>
                      <a:lnTo>
                        <a:pt x="12918" y="3474"/>
                      </a:lnTo>
                      <a:lnTo>
                        <a:pt x="12924" y="3492"/>
                      </a:lnTo>
                      <a:lnTo>
                        <a:pt x="12924" y="3516"/>
                      </a:lnTo>
                      <a:lnTo>
                        <a:pt x="12936" y="3594"/>
                      </a:lnTo>
                      <a:lnTo>
                        <a:pt x="12972" y="3654"/>
                      </a:lnTo>
                      <a:lnTo>
                        <a:pt x="12978" y="3666"/>
                      </a:lnTo>
                      <a:lnTo>
                        <a:pt x="12990" y="3678"/>
                      </a:lnTo>
                      <a:lnTo>
                        <a:pt x="12996" y="3690"/>
                      </a:lnTo>
                      <a:lnTo>
                        <a:pt x="12996" y="3702"/>
                      </a:lnTo>
                      <a:lnTo>
                        <a:pt x="12996" y="3714"/>
                      </a:lnTo>
                      <a:lnTo>
                        <a:pt x="12990" y="3732"/>
                      </a:lnTo>
                      <a:lnTo>
                        <a:pt x="12978" y="3756"/>
                      </a:lnTo>
                      <a:lnTo>
                        <a:pt x="12966" y="3762"/>
                      </a:lnTo>
                      <a:lnTo>
                        <a:pt x="12948" y="3768"/>
                      </a:lnTo>
                      <a:lnTo>
                        <a:pt x="12936" y="3774"/>
                      </a:lnTo>
                      <a:lnTo>
                        <a:pt x="12912" y="3774"/>
                      </a:lnTo>
                      <a:lnTo>
                        <a:pt x="12900" y="3780"/>
                      </a:lnTo>
                      <a:lnTo>
                        <a:pt x="12888" y="3792"/>
                      </a:lnTo>
                      <a:lnTo>
                        <a:pt x="12876" y="3810"/>
                      </a:lnTo>
                      <a:lnTo>
                        <a:pt x="12870" y="3822"/>
                      </a:lnTo>
                      <a:lnTo>
                        <a:pt x="12864" y="3840"/>
                      </a:lnTo>
                      <a:lnTo>
                        <a:pt x="12864" y="3858"/>
                      </a:lnTo>
                      <a:lnTo>
                        <a:pt x="12870" y="3870"/>
                      </a:lnTo>
                      <a:lnTo>
                        <a:pt x="12882" y="3876"/>
                      </a:lnTo>
                      <a:lnTo>
                        <a:pt x="12888" y="3888"/>
                      </a:lnTo>
                      <a:lnTo>
                        <a:pt x="12894" y="3888"/>
                      </a:lnTo>
                      <a:lnTo>
                        <a:pt x="12894" y="3894"/>
                      </a:lnTo>
                      <a:lnTo>
                        <a:pt x="12888" y="3900"/>
                      </a:lnTo>
                      <a:lnTo>
                        <a:pt x="12876" y="3906"/>
                      </a:lnTo>
                      <a:lnTo>
                        <a:pt x="12870" y="3912"/>
                      </a:lnTo>
                      <a:lnTo>
                        <a:pt x="12864" y="3918"/>
                      </a:lnTo>
                      <a:lnTo>
                        <a:pt x="12870" y="3930"/>
                      </a:lnTo>
                      <a:lnTo>
                        <a:pt x="12882" y="3936"/>
                      </a:lnTo>
                      <a:lnTo>
                        <a:pt x="12900" y="3942"/>
                      </a:lnTo>
                      <a:lnTo>
                        <a:pt x="12906" y="3948"/>
                      </a:lnTo>
                      <a:lnTo>
                        <a:pt x="12912" y="3960"/>
                      </a:lnTo>
                      <a:lnTo>
                        <a:pt x="12912" y="3966"/>
                      </a:lnTo>
                      <a:lnTo>
                        <a:pt x="12900" y="3972"/>
                      </a:lnTo>
                      <a:lnTo>
                        <a:pt x="12882" y="3984"/>
                      </a:lnTo>
                      <a:lnTo>
                        <a:pt x="12864" y="3990"/>
                      </a:lnTo>
                      <a:lnTo>
                        <a:pt x="12846" y="3996"/>
                      </a:lnTo>
                      <a:lnTo>
                        <a:pt x="12840" y="4008"/>
                      </a:lnTo>
                      <a:lnTo>
                        <a:pt x="12840" y="4026"/>
                      </a:lnTo>
                      <a:lnTo>
                        <a:pt x="12840" y="4044"/>
                      </a:lnTo>
                      <a:lnTo>
                        <a:pt x="12846" y="4080"/>
                      </a:lnTo>
                      <a:lnTo>
                        <a:pt x="12864" y="4122"/>
                      </a:lnTo>
                      <a:lnTo>
                        <a:pt x="12888" y="4170"/>
                      </a:lnTo>
                      <a:lnTo>
                        <a:pt x="12918" y="4212"/>
                      </a:lnTo>
                      <a:lnTo>
                        <a:pt x="12924" y="4248"/>
                      </a:lnTo>
                      <a:lnTo>
                        <a:pt x="12912" y="4296"/>
                      </a:lnTo>
                      <a:lnTo>
                        <a:pt x="12894" y="4350"/>
                      </a:lnTo>
                      <a:lnTo>
                        <a:pt x="12876" y="4404"/>
                      </a:lnTo>
                      <a:lnTo>
                        <a:pt x="12876" y="4458"/>
                      </a:lnTo>
                      <a:lnTo>
                        <a:pt x="12870" y="4482"/>
                      </a:lnTo>
                      <a:lnTo>
                        <a:pt x="12858" y="4488"/>
                      </a:lnTo>
                      <a:lnTo>
                        <a:pt x="12840" y="4470"/>
                      </a:lnTo>
                      <a:lnTo>
                        <a:pt x="12816" y="4440"/>
                      </a:lnTo>
                      <a:lnTo>
                        <a:pt x="12792" y="4404"/>
                      </a:lnTo>
                      <a:lnTo>
                        <a:pt x="12768" y="4374"/>
                      </a:lnTo>
                      <a:lnTo>
                        <a:pt x="12732" y="4314"/>
                      </a:lnTo>
                      <a:lnTo>
                        <a:pt x="12690" y="4254"/>
                      </a:lnTo>
                      <a:lnTo>
                        <a:pt x="12636" y="4170"/>
                      </a:lnTo>
                      <a:lnTo>
                        <a:pt x="12612" y="4122"/>
                      </a:lnTo>
                      <a:lnTo>
                        <a:pt x="12588" y="4086"/>
                      </a:lnTo>
                      <a:lnTo>
                        <a:pt x="12570" y="4068"/>
                      </a:lnTo>
                      <a:lnTo>
                        <a:pt x="12552" y="4044"/>
                      </a:lnTo>
                      <a:lnTo>
                        <a:pt x="12534" y="4026"/>
                      </a:lnTo>
                      <a:lnTo>
                        <a:pt x="12498" y="3990"/>
                      </a:lnTo>
                      <a:lnTo>
                        <a:pt x="12480" y="3966"/>
                      </a:lnTo>
                      <a:lnTo>
                        <a:pt x="12468" y="3924"/>
                      </a:lnTo>
                      <a:lnTo>
                        <a:pt x="12450" y="3882"/>
                      </a:lnTo>
                      <a:lnTo>
                        <a:pt x="12420" y="3840"/>
                      </a:lnTo>
                      <a:lnTo>
                        <a:pt x="12390" y="3786"/>
                      </a:lnTo>
                      <a:lnTo>
                        <a:pt x="12348" y="3726"/>
                      </a:lnTo>
                      <a:lnTo>
                        <a:pt x="12306" y="3672"/>
                      </a:lnTo>
                      <a:lnTo>
                        <a:pt x="12276" y="3630"/>
                      </a:lnTo>
                      <a:lnTo>
                        <a:pt x="12258" y="3588"/>
                      </a:lnTo>
                      <a:lnTo>
                        <a:pt x="12246" y="3540"/>
                      </a:lnTo>
                      <a:lnTo>
                        <a:pt x="12234" y="3486"/>
                      </a:lnTo>
                      <a:lnTo>
                        <a:pt x="12228" y="3450"/>
                      </a:lnTo>
                      <a:lnTo>
                        <a:pt x="12234" y="3426"/>
                      </a:lnTo>
                      <a:lnTo>
                        <a:pt x="12252" y="3402"/>
                      </a:lnTo>
                      <a:lnTo>
                        <a:pt x="12270" y="3372"/>
                      </a:lnTo>
                      <a:lnTo>
                        <a:pt x="12276" y="3360"/>
                      </a:lnTo>
                      <a:lnTo>
                        <a:pt x="12276" y="3354"/>
                      </a:lnTo>
                      <a:lnTo>
                        <a:pt x="12276" y="3348"/>
                      </a:lnTo>
                      <a:lnTo>
                        <a:pt x="12270" y="3342"/>
                      </a:lnTo>
                      <a:lnTo>
                        <a:pt x="12264" y="3336"/>
                      </a:lnTo>
                      <a:lnTo>
                        <a:pt x="12258" y="3336"/>
                      </a:lnTo>
                      <a:lnTo>
                        <a:pt x="12252" y="3330"/>
                      </a:lnTo>
                      <a:lnTo>
                        <a:pt x="12252" y="3324"/>
                      </a:lnTo>
                      <a:lnTo>
                        <a:pt x="12246" y="3306"/>
                      </a:lnTo>
                      <a:lnTo>
                        <a:pt x="12240" y="3288"/>
                      </a:lnTo>
                      <a:lnTo>
                        <a:pt x="12228" y="3276"/>
                      </a:lnTo>
                      <a:lnTo>
                        <a:pt x="12222" y="3264"/>
                      </a:lnTo>
                      <a:lnTo>
                        <a:pt x="12204" y="3252"/>
                      </a:lnTo>
                      <a:lnTo>
                        <a:pt x="12192" y="3246"/>
                      </a:lnTo>
                      <a:lnTo>
                        <a:pt x="12186" y="3234"/>
                      </a:lnTo>
                      <a:lnTo>
                        <a:pt x="12186" y="3228"/>
                      </a:lnTo>
                      <a:lnTo>
                        <a:pt x="12192" y="3216"/>
                      </a:lnTo>
                      <a:lnTo>
                        <a:pt x="12204" y="3210"/>
                      </a:lnTo>
                      <a:lnTo>
                        <a:pt x="12228" y="3210"/>
                      </a:lnTo>
                      <a:lnTo>
                        <a:pt x="12240" y="3204"/>
                      </a:lnTo>
                      <a:lnTo>
                        <a:pt x="12252" y="3204"/>
                      </a:lnTo>
                      <a:lnTo>
                        <a:pt x="12252" y="3192"/>
                      </a:lnTo>
                      <a:lnTo>
                        <a:pt x="12252" y="3186"/>
                      </a:lnTo>
                      <a:lnTo>
                        <a:pt x="12252" y="3174"/>
                      </a:lnTo>
                      <a:lnTo>
                        <a:pt x="12246" y="3162"/>
                      </a:lnTo>
                      <a:lnTo>
                        <a:pt x="12246" y="3144"/>
                      </a:lnTo>
                      <a:lnTo>
                        <a:pt x="12252" y="3132"/>
                      </a:lnTo>
                      <a:lnTo>
                        <a:pt x="12258" y="3126"/>
                      </a:lnTo>
                      <a:lnTo>
                        <a:pt x="12264" y="3120"/>
                      </a:lnTo>
                      <a:lnTo>
                        <a:pt x="12276" y="3114"/>
                      </a:lnTo>
                      <a:lnTo>
                        <a:pt x="12282" y="3108"/>
                      </a:lnTo>
                      <a:lnTo>
                        <a:pt x="12294" y="3102"/>
                      </a:lnTo>
                      <a:lnTo>
                        <a:pt x="12300" y="3090"/>
                      </a:lnTo>
                      <a:lnTo>
                        <a:pt x="12312" y="3060"/>
                      </a:lnTo>
                      <a:lnTo>
                        <a:pt x="12312" y="3024"/>
                      </a:lnTo>
                      <a:lnTo>
                        <a:pt x="12324" y="2988"/>
                      </a:lnTo>
                      <a:lnTo>
                        <a:pt x="12342" y="2958"/>
                      </a:lnTo>
                      <a:lnTo>
                        <a:pt x="12360" y="2934"/>
                      </a:lnTo>
                      <a:lnTo>
                        <a:pt x="12372" y="2904"/>
                      </a:lnTo>
                      <a:lnTo>
                        <a:pt x="12366" y="2868"/>
                      </a:lnTo>
                      <a:lnTo>
                        <a:pt x="12360" y="2850"/>
                      </a:lnTo>
                      <a:lnTo>
                        <a:pt x="12354" y="2838"/>
                      </a:lnTo>
                      <a:lnTo>
                        <a:pt x="12360" y="2826"/>
                      </a:lnTo>
                      <a:lnTo>
                        <a:pt x="12360" y="2814"/>
                      </a:lnTo>
                      <a:lnTo>
                        <a:pt x="12366" y="2808"/>
                      </a:lnTo>
                      <a:lnTo>
                        <a:pt x="12372" y="2796"/>
                      </a:lnTo>
                      <a:lnTo>
                        <a:pt x="12384" y="2778"/>
                      </a:lnTo>
                      <a:lnTo>
                        <a:pt x="12384" y="2754"/>
                      </a:lnTo>
                      <a:lnTo>
                        <a:pt x="12384" y="2736"/>
                      </a:lnTo>
                      <a:lnTo>
                        <a:pt x="12378" y="2712"/>
                      </a:lnTo>
                      <a:lnTo>
                        <a:pt x="12378" y="2688"/>
                      </a:lnTo>
                      <a:lnTo>
                        <a:pt x="12396" y="2658"/>
                      </a:lnTo>
                      <a:lnTo>
                        <a:pt x="12408" y="2628"/>
                      </a:lnTo>
                      <a:lnTo>
                        <a:pt x="12408" y="2604"/>
                      </a:lnTo>
                      <a:lnTo>
                        <a:pt x="12402" y="2586"/>
                      </a:lnTo>
                      <a:lnTo>
                        <a:pt x="12390" y="2568"/>
                      </a:lnTo>
                      <a:lnTo>
                        <a:pt x="12396" y="2538"/>
                      </a:lnTo>
                      <a:lnTo>
                        <a:pt x="12408" y="2496"/>
                      </a:lnTo>
                      <a:lnTo>
                        <a:pt x="12432" y="2466"/>
                      </a:lnTo>
                      <a:lnTo>
                        <a:pt x="12456" y="2448"/>
                      </a:lnTo>
                      <a:lnTo>
                        <a:pt x="12474" y="2436"/>
                      </a:lnTo>
                      <a:lnTo>
                        <a:pt x="12480" y="2430"/>
                      </a:lnTo>
                      <a:lnTo>
                        <a:pt x="12486" y="2424"/>
                      </a:lnTo>
                      <a:lnTo>
                        <a:pt x="12498" y="2424"/>
                      </a:lnTo>
                      <a:lnTo>
                        <a:pt x="12504" y="2418"/>
                      </a:lnTo>
                      <a:lnTo>
                        <a:pt x="12516" y="2418"/>
                      </a:lnTo>
                      <a:lnTo>
                        <a:pt x="12516" y="2406"/>
                      </a:lnTo>
                      <a:lnTo>
                        <a:pt x="12522" y="2400"/>
                      </a:lnTo>
                      <a:lnTo>
                        <a:pt x="12510" y="2364"/>
                      </a:lnTo>
                      <a:lnTo>
                        <a:pt x="12492" y="2322"/>
                      </a:lnTo>
                      <a:lnTo>
                        <a:pt x="12474" y="2292"/>
                      </a:lnTo>
                      <a:lnTo>
                        <a:pt x="12468" y="2280"/>
                      </a:lnTo>
                      <a:lnTo>
                        <a:pt x="12468" y="2274"/>
                      </a:lnTo>
                      <a:lnTo>
                        <a:pt x="12468" y="2268"/>
                      </a:lnTo>
                      <a:lnTo>
                        <a:pt x="12474" y="2262"/>
                      </a:lnTo>
                      <a:lnTo>
                        <a:pt x="12480" y="2256"/>
                      </a:lnTo>
                      <a:lnTo>
                        <a:pt x="12486" y="2250"/>
                      </a:lnTo>
                      <a:lnTo>
                        <a:pt x="12486" y="2244"/>
                      </a:lnTo>
                      <a:lnTo>
                        <a:pt x="12486" y="2238"/>
                      </a:lnTo>
                      <a:lnTo>
                        <a:pt x="12480" y="2226"/>
                      </a:lnTo>
                      <a:lnTo>
                        <a:pt x="12462" y="2208"/>
                      </a:lnTo>
                      <a:lnTo>
                        <a:pt x="12450" y="2190"/>
                      </a:lnTo>
                      <a:lnTo>
                        <a:pt x="12444" y="2178"/>
                      </a:lnTo>
                      <a:lnTo>
                        <a:pt x="12438" y="2160"/>
                      </a:lnTo>
                      <a:lnTo>
                        <a:pt x="12432" y="2148"/>
                      </a:lnTo>
                      <a:lnTo>
                        <a:pt x="12426" y="2130"/>
                      </a:lnTo>
                      <a:lnTo>
                        <a:pt x="12414" y="2112"/>
                      </a:lnTo>
                      <a:lnTo>
                        <a:pt x="12414" y="2100"/>
                      </a:lnTo>
                      <a:lnTo>
                        <a:pt x="12420" y="2094"/>
                      </a:lnTo>
                      <a:lnTo>
                        <a:pt x="12432" y="2088"/>
                      </a:lnTo>
                      <a:lnTo>
                        <a:pt x="12444" y="2082"/>
                      </a:lnTo>
                      <a:lnTo>
                        <a:pt x="12462" y="2082"/>
                      </a:lnTo>
                      <a:lnTo>
                        <a:pt x="12474" y="2082"/>
                      </a:lnTo>
                      <a:lnTo>
                        <a:pt x="12492" y="2076"/>
                      </a:lnTo>
                      <a:lnTo>
                        <a:pt x="12504" y="2064"/>
                      </a:lnTo>
                      <a:lnTo>
                        <a:pt x="12510" y="2052"/>
                      </a:lnTo>
                      <a:lnTo>
                        <a:pt x="12510" y="2040"/>
                      </a:lnTo>
                      <a:lnTo>
                        <a:pt x="12510" y="2028"/>
                      </a:lnTo>
                      <a:lnTo>
                        <a:pt x="12510" y="2022"/>
                      </a:lnTo>
                      <a:lnTo>
                        <a:pt x="12504" y="2016"/>
                      </a:lnTo>
                      <a:lnTo>
                        <a:pt x="12498" y="2016"/>
                      </a:lnTo>
                      <a:lnTo>
                        <a:pt x="12492" y="2016"/>
                      </a:lnTo>
                      <a:lnTo>
                        <a:pt x="12480" y="2022"/>
                      </a:lnTo>
                      <a:lnTo>
                        <a:pt x="12462" y="2028"/>
                      </a:lnTo>
                      <a:lnTo>
                        <a:pt x="12444" y="2028"/>
                      </a:lnTo>
                      <a:lnTo>
                        <a:pt x="12426" y="2028"/>
                      </a:lnTo>
                      <a:lnTo>
                        <a:pt x="12408" y="2016"/>
                      </a:lnTo>
                      <a:lnTo>
                        <a:pt x="12390" y="2010"/>
                      </a:lnTo>
                      <a:lnTo>
                        <a:pt x="12378" y="2004"/>
                      </a:lnTo>
                      <a:lnTo>
                        <a:pt x="12366" y="2010"/>
                      </a:lnTo>
                      <a:lnTo>
                        <a:pt x="12354" y="2016"/>
                      </a:lnTo>
                      <a:lnTo>
                        <a:pt x="12348" y="2028"/>
                      </a:lnTo>
                      <a:lnTo>
                        <a:pt x="12342" y="2046"/>
                      </a:lnTo>
                      <a:lnTo>
                        <a:pt x="12336" y="2058"/>
                      </a:lnTo>
                      <a:lnTo>
                        <a:pt x="12336" y="2070"/>
                      </a:lnTo>
                      <a:lnTo>
                        <a:pt x="12336" y="2082"/>
                      </a:lnTo>
                      <a:lnTo>
                        <a:pt x="12336" y="2088"/>
                      </a:lnTo>
                      <a:lnTo>
                        <a:pt x="12330" y="2100"/>
                      </a:lnTo>
                      <a:lnTo>
                        <a:pt x="12324" y="2106"/>
                      </a:lnTo>
                      <a:lnTo>
                        <a:pt x="12312" y="2118"/>
                      </a:lnTo>
                      <a:lnTo>
                        <a:pt x="12312" y="2136"/>
                      </a:lnTo>
                      <a:lnTo>
                        <a:pt x="12312" y="2148"/>
                      </a:lnTo>
                      <a:lnTo>
                        <a:pt x="12324" y="2160"/>
                      </a:lnTo>
                      <a:lnTo>
                        <a:pt x="12342" y="2178"/>
                      </a:lnTo>
                      <a:lnTo>
                        <a:pt x="12360" y="2196"/>
                      </a:lnTo>
                      <a:lnTo>
                        <a:pt x="12372" y="2208"/>
                      </a:lnTo>
                      <a:lnTo>
                        <a:pt x="12378" y="2226"/>
                      </a:lnTo>
                      <a:lnTo>
                        <a:pt x="12390" y="2244"/>
                      </a:lnTo>
                      <a:lnTo>
                        <a:pt x="12396" y="2268"/>
                      </a:lnTo>
                      <a:lnTo>
                        <a:pt x="12396" y="2286"/>
                      </a:lnTo>
                      <a:lnTo>
                        <a:pt x="12396" y="2298"/>
                      </a:lnTo>
                      <a:lnTo>
                        <a:pt x="12396" y="2298"/>
                      </a:lnTo>
                      <a:lnTo>
                        <a:pt x="12396" y="2298"/>
                      </a:lnTo>
                      <a:lnTo>
                        <a:pt x="12384" y="2298"/>
                      </a:lnTo>
                      <a:lnTo>
                        <a:pt x="12378" y="2292"/>
                      </a:lnTo>
                      <a:lnTo>
                        <a:pt x="12366" y="2286"/>
                      </a:lnTo>
                      <a:lnTo>
                        <a:pt x="12348" y="2280"/>
                      </a:lnTo>
                      <a:lnTo>
                        <a:pt x="12336" y="2274"/>
                      </a:lnTo>
                      <a:lnTo>
                        <a:pt x="12330" y="2280"/>
                      </a:lnTo>
                      <a:lnTo>
                        <a:pt x="12324" y="2286"/>
                      </a:lnTo>
                      <a:lnTo>
                        <a:pt x="12318" y="2298"/>
                      </a:lnTo>
                      <a:lnTo>
                        <a:pt x="12312" y="2310"/>
                      </a:lnTo>
                      <a:lnTo>
                        <a:pt x="12294" y="2346"/>
                      </a:lnTo>
                      <a:lnTo>
                        <a:pt x="12288" y="2388"/>
                      </a:lnTo>
                      <a:lnTo>
                        <a:pt x="12288" y="2436"/>
                      </a:lnTo>
                      <a:lnTo>
                        <a:pt x="12282" y="2478"/>
                      </a:lnTo>
                      <a:lnTo>
                        <a:pt x="12270" y="2520"/>
                      </a:lnTo>
                      <a:lnTo>
                        <a:pt x="12252" y="2544"/>
                      </a:lnTo>
                      <a:lnTo>
                        <a:pt x="12240" y="2550"/>
                      </a:lnTo>
                      <a:lnTo>
                        <a:pt x="12216" y="2526"/>
                      </a:lnTo>
                      <a:lnTo>
                        <a:pt x="12180" y="2508"/>
                      </a:lnTo>
                      <a:lnTo>
                        <a:pt x="12138" y="2484"/>
                      </a:lnTo>
                      <a:lnTo>
                        <a:pt x="12120" y="2472"/>
                      </a:lnTo>
                      <a:lnTo>
                        <a:pt x="12114" y="2460"/>
                      </a:lnTo>
                      <a:lnTo>
                        <a:pt x="12108" y="2448"/>
                      </a:lnTo>
                      <a:lnTo>
                        <a:pt x="12108" y="2436"/>
                      </a:lnTo>
                      <a:lnTo>
                        <a:pt x="12108" y="2418"/>
                      </a:lnTo>
                      <a:lnTo>
                        <a:pt x="12108" y="2394"/>
                      </a:lnTo>
                      <a:lnTo>
                        <a:pt x="12108" y="2376"/>
                      </a:lnTo>
                      <a:lnTo>
                        <a:pt x="12102" y="2364"/>
                      </a:lnTo>
                      <a:lnTo>
                        <a:pt x="12096" y="2358"/>
                      </a:lnTo>
                      <a:lnTo>
                        <a:pt x="12090" y="2352"/>
                      </a:lnTo>
                      <a:lnTo>
                        <a:pt x="12084" y="2346"/>
                      </a:lnTo>
                      <a:lnTo>
                        <a:pt x="12078" y="2334"/>
                      </a:lnTo>
                      <a:lnTo>
                        <a:pt x="12072" y="2322"/>
                      </a:lnTo>
                      <a:lnTo>
                        <a:pt x="12072" y="2298"/>
                      </a:lnTo>
                      <a:lnTo>
                        <a:pt x="12066" y="2280"/>
                      </a:lnTo>
                      <a:lnTo>
                        <a:pt x="12066" y="2268"/>
                      </a:lnTo>
                      <a:lnTo>
                        <a:pt x="12060" y="2262"/>
                      </a:lnTo>
                      <a:lnTo>
                        <a:pt x="12054" y="2262"/>
                      </a:lnTo>
                      <a:lnTo>
                        <a:pt x="12054" y="2268"/>
                      </a:lnTo>
                      <a:lnTo>
                        <a:pt x="12048" y="2280"/>
                      </a:lnTo>
                      <a:lnTo>
                        <a:pt x="12042" y="2292"/>
                      </a:lnTo>
                      <a:lnTo>
                        <a:pt x="12030" y="2310"/>
                      </a:lnTo>
                      <a:lnTo>
                        <a:pt x="12024" y="2328"/>
                      </a:lnTo>
                      <a:lnTo>
                        <a:pt x="12018" y="2334"/>
                      </a:lnTo>
                      <a:lnTo>
                        <a:pt x="12012" y="2334"/>
                      </a:lnTo>
                      <a:lnTo>
                        <a:pt x="12006" y="2334"/>
                      </a:lnTo>
                      <a:lnTo>
                        <a:pt x="12000" y="2322"/>
                      </a:lnTo>
                      <a:lnTo>
                        <a:pt x="12000" y="2316"/>
                      </a:lnTo>
                      <a:lnTo>
                        <a:pt x="12000" y="2304"/>
                      </a:lnTo>
                      <a:lnTo>
                        <a:pt x="11994" y="2292"/>
                      </a:lnTo>
                      <a:lnTo>
                        <a:pt x="11988" y="2292"/>
                      </a:lnTo>
                      <a:lnTo>
                        <a:pt x="11976" y="2286"/>
                      </a:lnTo>
                      <a:lnTo>
                        <a:pt x="11964" y="2286"/>
                      </a:lnTo>
                      <a:lnTo>
                        <a:pt x="11952" y="2292"/>
                      </a:lnTo>
                      <a:lnTo>
                        <a:pt x="11946" y="2298"/>
                      </a:lnTo>
                      <a:lnTo>
                        <a:pt x="11940" y="2310"/>
                      </a:lnTo>
                      <a:lnTo>
                        <a:pt x="11934" y="2322"/>
                      </a:lnTo>
                      <a:lnTo>
                        <a:pt x="11934" y="2346"/>
                      </a:lnTo>
                      <a:lnTo>
                        <a:pt x="11922" y="2358"/>
                      </a:lnTo>
                      <a:lnTo>
                        <a:pt x="11910" y="2370"/>
                      </a:lnTo>
                      <a:lnTo>
                        <a:pt x="11892" y="2382"/>
                      </a:lnTo>
                      <a:lnTo>
                        <a:pt x="11874" y="2382"/>
                      </a:lnTo>
                      <a:lnTo>
                        <a:pt x="11862" y="2382"/>
                      </a:lnTo>
                      <a:lnTo>
                        <a:pt x="11856" y="2388"/>
                      </a:lnTo>
                      <a:lnTo>
                        <a:pt x="11856" y="2394"/>
                      </a:lnTo>
                      <a:lnTo>
                        <a:pt x="11856" y="2400"/>
                      </a:lnTo>
                      <a:lnTo>
                        <a:pt x="11856" y="2412"/>
                      </a:lnTo>
                      <a:lnTo>
                        <a:pt x="11862" y="2424"/>
                      </a:lnTo>
                      <a:lnTo>
                        <a:pt x="11862" y="2436"/>
                      </a:lnTo>
                      <a:lnTo>
                        <a:pt x="11862" y="2448"/>
                      </a:lnTo>
                      <a:lnTo>
                        <a:pt x="11850" y="2460"/>
                      </a:lnTo>
                      <a:lnTo>
                        <a:pt x="11838" y="2472"/>
                      </a:lnTo>
                      <a:lnTo>
                        <a:pt x="11826" y="2496"/>
                      </a:lnTo>
                      <a:lnTo>
                        <a:pt x="11820" y="2532"/>
                      </a:lnTo>
                      <a:lnTo>
                        <a:pt x="11820" y="2568"/>
                      </a:lnTo>
                      <a:lnTo>
                        <a:pt x="11814" y="2604"/>
                      </a:lnTo>
                      <a:lnTo>
                        <a:pt x="11808" y="2616"/>
                      </a:lnTo>
                      <a:lnTo>
                        <a:pt x="11814" y="2628"/>
                      </a:lnTo>
                      <a:lnTo>
                        <a:pt x="11820" y="2634"/>
                      </a:lnTo>
                      <a:lnTo>
                        <a:pt x="11826" y="2646"/>
                      </a:lnTo>
                      <a:lnTo>
                        <a:pt x="11832" y="2652"/>
                      </a:lnTo>
                      <a:lnTo>
                        <a:pt x="11838" y="2658"/>
                      </a:lnTo>
                      <a:lnTo>
                        <a:pt x="11844" y="2670"/>
                      </a:lnTo>
                      <a:lnTo>
                        <a:pt x="11832" y="2700"/>
                      </a:lnTo>
                      <a:lnTo>
                        <a:pt x="11808" y="2742"/>
                      </a:lnTo>
                      <a:lnTo>
                        <a:pt x="11784" y="2796"/>
                      </a:lnTo>
                      <a:lnTo>
                        <a:pt x="11784" y="2814"/>
                      </a:lnTo>
                      <a:lnTo>
                        <a:pt x="11778" y="2832"/>
                      </a:lnTo>
                      <a:lnTo>
                        <a:pt x="11778" y="2844"/>
                      </a:lnTo>
                      <a:lnTo>
                        <a:pt x="11784" y="2850"/>
                      </a:lnTo>
                      <a:lnTo>
                        <a:pt x="11784" y="2856"/>
                      </a:lnTo>
                      <a:lnTo>
                        <a:pt x="11790" y="2868"/>
                      </a:lnTo>
                      <a:lnTo>
                        <a:pt x="11790" y="2874"/>
                      </a:lnTo>
                      <a:lnTo>
                        <a:pt x="11796" y="2892"/>
                      </a:lnTo>
                      <a:lnTo>
                        <a:pt x="11802" y="2910"/>
                      </a:lnTo>
                      <a:lnTo>
                        <a:pt x="11820" y="2922"/>
                      </a:lnTo>
                      <a:lnTo>
                        <a:pt x="11850" y="2922"/>
                      </a:lnTo>
                      <a:lnTo>
                        <a:pt x="11904" y="2922"/>
                      </a:lnTo>
                      <a:lnTo>
                        <a:pt x="11922" y="2922"/>
                      </a:lnTo>
                      <a:lnTo>
                        <a:pt x="11934" y="2928"/>
                      </a:lnTo>
                      <a:lnTo>
                        <a:pt x="11946" y="2934"/>
                      </a:lnTo>
                      <a:lnTo>
                        <a:pt x="11946" y="2940"/>
                      </a:lnTo>
                      <a:lnTo>
                        <a:pt x="11940" y="2952"/>
                      </a:lnTo>
                      <a:lnTo>
                        <a:pt x="11934" y="2958"/>
                      </a:lnTo>
                      <a:lnTo>
                        <a:pt x="11922" y="2970"/>
                      </a:lnTo>
                      <a:lnTo>
                        <a:pt x="11910" y="2982"/>
                      </a:lnTo>
                      <a:lnTo>
                        <a:pt x="11898" y="2994"/>
                      </a:lnTo>
                      <a:lnTo>
                        <a:pt x="11880" y="3006"/>
                      </a:lnTo>
                      <a:lnTo>
                        <a:pt x="11862" y="3012"/>
                      </a:lnTo>
                      <a:lnTo>
                        <a:pt x="11820" y="3036"/>
                      </a:lnTo>
                      <a:lnTo>
                        <a:pt x="11784" y="3048"/>
                      </a:lnTo>
                      <a:lnTo>
                        <a:pt x="11760" y="3060"/>
                      </a:lnTo>
                      <a:lnTo>
                        <a:pt x="11754" y="3078"/>
                      </a:lnTo>
                      <a:lnTo>
                        <a:pt x="11748" y="3090"/>
                      </a:lnTo>
                      <a:lnTo>
                        <a:pt x="11742" y="3102"/>
                      </a:lnTo>
                      <a:lnTo>
                        <a:pt x="11736" y="3114"/>
                      </a:lnTo>
                      <a:lnTo>
                        <a:pt x="11724" y="3120"/>
                      </a:lnTo>
                      <a:lnTo>
                        <a:pt x="11712" y="3126"/>
                      </a:lnTo>
                      <a:lnTo>
                        <a:pt x="11694" y="3126"/>
                      </a:lnTo>
                      <a:lnTo>
                        <a:pt x="11676" y="3126"/>
                      </a:lnTo>
                      <a:lnTo>
                        <a:pt x="11664" y="3132"/>
                      </a:lnTo>
                      <a:lnTo>
                        <a:pt x="11658" y="3132"/>
                      </a:lnTo>
                      <a:lnTo>
                        <a:pt x="11652" y="3138"/>
                      </a:lnTo>
                      <a:lnTo>
                        <a:pt x="11652" y="3150"/>
                      </a:lnTo>
                      <a:lnTo>
                        <a:pt x="11646" y="3156"/>
                      </a:lnTo>
                      <a:lnTo>
                        <a:pt x="11640" y="3168"/>
                      </a:lnTo>
                      <a:lnTo>
                        <a:pt x="11634" y="3180"/>
                      </a:lnTo>
                      <a:lnTo>
                        <a:pt x="11622" y="3186"/>
                      </a:lnTo>
                      <a:lnTo>
                        <a:pt x="11604" y="3192"/>
                      </a:lnTo>
                      <a:lnTo>
                        <a:pt x="11592" y="3198"/>
                      </a:lnTo>
                      <a:lnTo>
                        <a:pt x="11574" y="3198"/>
                      </a:lnTo>
                      <a:lnTo>
                        <a:pt x="11562" y="3192"/>
                      </a:lnTo>
                      <a:lnTo>
                        <a:pt x="11556" y="3180"/>
                      </a:lnTo>
                      <a:lnTo>
                        <a:pt x="11550" y="3168"/>
                      </a:lnTo>
                      <a:lnTo>
                        <a:pt x="11556" y="3156"/>
                      </a:lnTo>
                      <a:lnTo>
                        <a:pt x="11562" y="3144"/>
                      </a:lnTo>
                      <a:lnTo>
                        <a:pt x="11574" y="3138"/>
                      </a:lnTo>
                      <a:lnTo>
                        <a:pt x="11586" y="3126"/>
                      </a:lnTo>
                      <a:lnTo>
                        <a:pt x="11598" y="3114"/>
                      </a:lnTo>
                      <a:lnTo>
                        <a:pt x="11616" y="3108"/>
                      </a:lnTo>
                      <a:lnTo>
                        <a:pt x="11628" y="3096"/>
                      </a:lnTo>
                      <a:lnTo>
                        <a:pt x="11634" y="3084"/>
                      </a:lnTo>
                      <a:lnTo>
                        <a:pt x="11628" y="3078"/>
                      </a:lnTo>
                      <a:lnTo>
                        <a:pt x="11622" y="3066"/>
                      </a:lnTo>
                      <a:lnTo>
                        <a:pt x="11616" y="3066"/>
                      </a:lnTo>
                      <a:lnTo>
                        <a:pt x="11604" y="3072"/>
                      </a:lnTo>
                      <a:lnTo>
                        <a:pt x="11592" y="3078"/>
                      </a:lnTo>
                      <a:lnTo>
                        <a:pt x="11580" y="3084"/>
                      </a:lnTo>
                      <a:lnTo>
                        <a:pt x="11574" y="3090"/>
                      </a:lnTo>
                      <a:lnTo>
                        <a:pt x="11568" y="3090"/>
                      </a:lnTo>
                      <a:lnTo>
                        <a:pt x="11556" y="3084"/>
                      </a:lnTo>
                      <a:lnTo>
                        <a:pt x="11556" y="3078"/>
                      </a:lnTo>
                      <a:lnTo>
                        <a:pt x="11544" y="3066"/>
                      </a:lnTo>
                      <a:lnTo>
                        <a:pt x="11514" y="3066"/>
                      </a:lnTo>
                      <a:lnTo>
                        <a:pt x="11484" y="3066"/>
                      </a:lnTo>
                      <a:lnTo>
                        <a:pt x="11454" y="3066"/>
                      </a:lnTo>
                      <a:lnTo>
                        <a:pt x="11436" y="3060"/>
                      </a:lnTo>
                      <a:lnTo>
                        <a:pt x="11418" y="3048"/>
                      </a:lnTo>
                      <a:lnTo>
                        <a:pt x="11406" y="3042"/>
                      </a:lnTo>
                      <a:lnTo>
                        <a:pt x="11394" y="3042"/>
                      </a:lnTo>
                      <a:lnTo>
                        <a:pt x="11382" y="3042"/>
                      </a:lnTo>
                      <a:lnTo>
                        <a:pt x="11358" y="3042"/>
                      </a:lnTo>
                      <a:lnTo>
                        <a:pt x="11340" y="3048"/>
                      </a:lnTo>
                      <a:lnTo>
                        <a:pt x="11322" y="3054"/>
                      </a:lnTo>
                      <a:lnTo>
                        <a:pt x="11316" y="3066"/>
                      </a:lnTo>
                      <a:lnTo>
                        <a:pt x="11316" y="3084"/>
                      </a:lnTo>
                      <a:lnTo>
                        <a:pt x="11322" y="3102"/>
                      </a:lnTo>
                      <a:lnTo>
                        <a:pt x="11322" y="3114"/>
                      </a:lnTo>
                      <a:lnTo>
                        <a:pt x="11322" y="3126"/>
                      </a:lnTo>
                      <a:lnTo>
                        <a:pt x="11322" y="3132"/>
                      </a:lnTo>
                      <a:lnTo>
                        <a:pt x="11316" y="3138"/>
                      </a:lnTo>
                      <a:lnTo>
                        <a:pt x="11310" y="3144"/>
                      </a:lnTo>
                      <a:lnTo>
                        <a:pt x="11304" y="3150"/>
                      </a:lnTo>
                      <a:lnTo>
                        <a:pt x="11298" y="3156"/>
                      </a:lnTo>
                      <a:lnTo>
                        <a:pt x="11298" y="3168"/>
                      </a:lnTo>
                      <a:lnTo>
                        <a:pt x="11292" y="3180"/>
                      </a:lnTo>
                      <a:lnTo>
                        <a:pt x="11292" y="3186"/>
                      </a:lnTo>
                      <a:lnTo>
                        <a:pt x="11286" y="3192"/>
                      </a:lnTo>
                      <a:lnTo>
                        <a:pt x="11280" y="3198"/>
                      </a:lnTo>
                      <a:lnTo>
                        <a:pt x="11274" y="3192"/>
                      </a:lnTo>
                      <a:lnTo>
                        <a:pt x="11262" y="3186"/>
                      </a:lnTo>
                      <a:lnTo>
                        <a:pt x="11256" y="3186"/>
                      </a:lnTo>
                      <a:lnTo>
                        <a:pt x="11250" y="3186"/>
                      </a:lnTo>
                      <a:lnTo>
                        <a:pt x="11238" y="3192"/>
                      </a:lnTo>
                      <a:lnTo>
                        <a:pt x="11220" y="3198"/>
                      </a:lnTo>
                      <a:lnTo>
                        <a:pt x="11202" y="3210"/>
                      </a:lnTo>
                      <a:lnTo>
                        <a:pt x="11184" y="3222"/>
                      </a:lnTo>
                      <a:lnTo>
                        <a:pt x="11172" y="3222"/>
                      </a:lnTo>
                      <a:lnTo>
                        <a:pt x="11166" y="3222"/>
                      </a:lnTo>
                      <a:lnTo>
                        <a:pt x="11154" y="3222"/>
                      </a:lnTo>
                      <a:lnTo>
                        <a:pt x="11148" y="3216"/>
                      </a:lnTo>
                      <a:lnTo>
                        <a:pt x="11136" y="3210"/>
                      </a:lnTo>
                      <a:lnTo>
                        <a:pt x="11124" y="3204"/>
                      </a:lnTo>
                      <a:lnTo>
                        <a:pt x="11106" y="3198"/>
                      </a:lnTo>
                      <a:lnTo>
                        <a:pt x="11094" y="3192"/>
                      </a:lnTo>
                      <a:lnTo>
                        <a:pt x="11082" y="3192"/>
                      </a:lnTo>
                      <a:lnTo>
                        <a:pt x="11076" y="3198"/>
                      </a:lnTo>
                      <a:lnTo>
                        <a:pt x="11070" y="3204"/>
                      </a:lnTo>
                      <a:lnTo>
                        <a:pt x="11058" y="3216"/>
                      </a:lnTo>
                      <a:lnTo>
                        <a:pt x="11058" y="3222"/>
                      </a:lnTo>
                      <a:lnTo>
                        <a:pt x="11058" y="3234"/>
                      </a:lnTo>
                      <a:lnTo>
                        <a:pt x="11070" y="3240"/>
                      </a:lnTo>
                      <a:lnTo>
                        <a:pt x="11082" y="3246"/>
                      </a:lnTo>
                      <a:lnTo>
                        <a:pt x="11094" y="3252"/>
                      </a:lnTo>
                      <a:lnTo>
                        <a:pt x="11106" y="3258"/>
                      </a:lnTo>
                      <a:lnTo>
                        <a:pt x="11106" y="3270"/>
                      </a:lnTo>
                      <a:lnTo>
                        <a:pt x="11100" y="3276"/>
                      </a:lnTo>
                      <a:lnTo>
                        <a:pt x="11094" y="3288"/>
                      </a:lnTo>
                      <a:lnTo>
                        <a:pt x="11088" y="3294"/>
                      </a:lnTo>
                      <a:lnTo>
                        <a:pt x="11076" y="3294"/>
                      </a:lnTo>
                      <a:lnTo>
                        <a:pt x="11064" y="3294"/>
                      </a:lnTo>
                      <a:lnTo>
                        <a:pt x="11046" y="3288"/>
                      </a:lnTo>
                      <a:lnTo>
                        <a:pt x="11034" y="3282"/>
                      </a:lnTo>
                      <a:lnTo>
                        <a:pt x="11016" y="3270"/>
                      </a:lnTo>
                      <a:lnTo>
                        <a:pt x="10998" y="3252"/>
                      </a:lnTo>
                      <a:lnTo>
                        <a:pt x="10992" y="3240"/>
                      </a:lnTo>
                      <a:lnTo>
                        <a:pt x="10980" y="3234"/>
                      </a:lnTo>
                      <a:lnTo>
                        <a:pt x="10974" y="3234"/>
                      </a:lnTo>
                      <a:lnTo>
                        <a:pt x="10968" y="3234"/>
                      </a:lnTo>
                      <a:lnTo>
                        <a:pt x="10962" y="3240"/>
                      </a:lnTo>
                      <a:lnTo>
                        <a:pt x="10956" y="3246"/>
                      </a:lnTo>
                      <a:lnTo>
                        <a:pt x="10944" y="3246"/>
                      </a:lnTo>
                      <a:lnTo>
                        <a:pt x="10932" y="3252"/>
                      </a:lnTo>
                      <a:lnTo>
                        <a:pt x="10896" y="3252"/>
                      </a:lnTo>
                      <a:lnTo>
                        <a:pt x="10854" y="3258"/>
                      </a:lnTo>
                      <a:lnTo>
                        <a:pt x="10800" y="3270"/>
                      </a:lnTo>
                      <a:lnTo>
                        <a:pt x="10752" y="3294"/>
                      </a:lnTo>
                      <a:lnTo>
                        <a:pt x="10722" y="3330"/>
                      </a:lnTo>
                      <a:lnTo>
                        <a:pt x="10710" y="3378"/>
                      </a:lnTo>
                      <a:lnTo>
                        <a:pt x="10698" y="3432"/>
                      </a:lnTo>
                      <a:lnTo>
                        <a:pt x="10692" y="3486"/>
                      </a:lnTo>
                      <a:lnTo>
                        <a:pt x="10686" y="3522"/>
                      </a:lnTo>
                      <a:lnTo>
                        <a:pt x="10680" y="3540"/>
                      </a:lnTo>
                      <a:lnTo>
                        <a:pt x="10680" y="3564"/>
                      </a:lnTo>
                      <a:lnTo>
                        <a:pt x="10680" y="3588"/>
                      </a:lnTo>
                      <a:lnTo>
                        <a:pt x="10674" y="3606"/>
                      </a:lnTo>
                      <a:lnTo>
                        <a:pt x="10668" y="3624"/>
                      </a:lnTo>
                      <a:lnTo>
                        <a:pt x="10662" y="3654"/>
                      </a:lnTo>
                      <a:lnTo>
                        <a:pt x="10656" y="3678"/>
                      </a:lnTo>
                      <a:lnTo>
                        <a:pt x="10644" y="3738"/>
                      </a:lnTo>
                      <a:lnTo>
                        <a:pt x="10632" y="3804"/>
                      </a:lnTo>
                      <a:lnTo>
                        <a:pt x="10614" y="3870"/>
                      </a:lnTo>
                      <a:lnTo>
                        <a:pt x="10590" y="3912"/>
                      </a:lnTo>
                      <a:lnTo>
                        <a:pt x="10584" y="3924"/>
                      </a:lnTo>
                      <a:lnTo>
                        <a:pt x="10578" y="3942"/>
                      </a:lnTo>
                      <a:lnTo>
                        <a:pt x="10578" y="3954"/>
                      </a:lnTo>
                      <a:lnTo>
                        <a:pt x="10572" y="3972"/>
                      </a:lnTo>
                      <a:lnTo>
                        <a:pt x="10566" y="3984"/>
                      </a:lnTo>
                      <a:lnTo>
                        <a:pt x="10560" y="4014"/>
                      </a:lnTo>
                      <a:lnTo>
                        <a:pt x="10554" y="4062"/>
                      </a:lnTo>
                      <a:lnTo>
                        <a:pt x="10554" y="4116"/>
                      </a:lnTo>
                      <a:lnTo>
                        <a:pt x="10554" y="4152"/>
                      </a:lnTo>
                      <a:lnTo>
                        <a:pt x="10536" y="4194"/>
                      </a:lnTo>
                      <a:lnTo>
                        <a:pt x="10512" y="4224"/>
                      </a:lnTo>
                      <a:lnTo>
                        <a:pt x="10488" y="4242"/>
                      </a:lnTo>
                      <a:lnTo>
                        <a:pt x="10476" y="4242"/>
                      </a:lnTo>
                      <a:lnTo>
                        <a:pt x="10470" y="4254"/>
                      </a:lnTo>
                      <a:lnTo>
                        <a:pt x="10464" y="4266"/>
                      </a:lnTo>
                      <a:lnTo>
                        <a:pt x="10458" y="4278"/>
                      </a:lnTo>
                      <a:lnTo>
                        <a:pt x="10458" y="4290"/>
                      </a:lnTo>
                      <a:lnTo>
                        <a:pt x="10452" y="4302"/>
                      </a:lnTo>
                      <a:lnTo>
                        <a:pt x="10446" y="4308"/>
                      </a:lnTo>
                      <a:lnTo>
                        <a:pt x="10440" y="4320"/>
                      </a:lnTo>
                      <a:lnTo>
                        <a:pt x="10434" y="4326"/>
                      </a:lnTo>
                      <a:lnTo>
                        <a:pt x="10434" y="4332"/>
                      </a:lnTo>
                      <a:lnTo>
                        <a:pt x="10440" y="4344"/>
                      </a:lnTo>
                      <a:lnTo>
                        <a:pt x="10452" y="4344"/>
                      </a:lnTo>
                      <a:lnTo>
                        <a:pt x="10470" y="4350"/>
                      </a:lnTo>
                      <a:lnTo>
                        <a:pt x="10482" y="4350"/>
                      </a:lnTo>
                      <a:lnTo>
                        <a:pt x="10500" y="4350"/>
                      </a:lnTo>
                      <a:lnTo>
                        <a:pt x="10518" y="4344"/>
                      </a:lnTo>
                      <a:lnTo>
                        <a:pt x="10536" y="4332"/>
                      </a:lnTo>
                      <a:lnTo>
                        <a:pt x="10542" y="4326"/>
                      </a:lnTo>
                      <a:lnTo>
                        <a:pt x="10554" y="4326"/>
                      </a:lnTo>
                      <a:lnTo>
                        <a:pt x="10560" y="4326"/>
                      </a:lnTo>
                      <a:lnTo>
                        <a:pt x="10566" y="4332"/>
                      </a:lnTo>
                      <a:lnTo>
                        <a:pt x="10572" y="4344"/>
                      </a:lnTo>
                      <a:lnTo>
                        <a:pt x="10584" y="4356"/>
                      </a:lnTo>
                      <a:lnTo>
                        <a:pt x="10596" y="4368"/>
                      </a:lnTo>
                      <a:lnTo>
                        <a:pt x="10608" y="4380"/>
                      </a:lnTo>
                      <a:lnTo>
                        <a:pt x="10614" y="4386"/>
                      </a:lnTo>
                      <a:lnTo>
                        <a:pt x="10614" y="4398"/>
                      </a:lnTo>
                      <a:lnTo>
                        <a:pt x="10614" y="4410"/>
                      </a:lnTo>
                      <a:lnTo>
                        <a:pt x="10614" y="4422"/>
                      </a:lnTo>
                      <a:lnTo>
                        <a:pt x="10614" y="4434"/>
                      </a:lnTo>
                      <a:lnTo>
                        <a:pt x="10620" y="4446"/>
                      </a:lnTo>
                      <a:lnTo>
                        <a:pt x="10632" y="4458"/>
                      </a:lnTo>
                      <a:lnTo>
                        <a:pt x="10638" y="4464"/>
                      </a:lnTo>
                      <a:lnTo>
                        <a:pt x="10650" y="4458"/>
                      </a:lnTo>
                      <a:lnTo>
                        <a:pt x="10656" y="4452"/>
                      </a:lnTo>
                      <a:lnTo>
                        <a:pt x="10662" y="4446"/>
                      </a:lnTo>
                      <a:lnTo>
                        <a:pt x="10668" y="4434"/>
                      </a:lnTo>
                      <a:lnTo>
                        <a:pt x="10674" y="4428"/>
                      </a:lnTo>
                      <a:lnTo>
                        <a:pt x="10668" y="4422"/>
                      </a:lnTo>
                      <a:lnTo>
                        <a:pt x="10668" y="4410"/>
                      </a:lnTo>
                      <a:lnTo>
                        <a:pt x="10662" y="4398"/>
                      </a:lnTo>
                      <a:lnTo>
                        <a:pt x="10656" y="4386"/>
                      </a:lnTo>
                      <a:lnTo>
                        <a:pt x="10650" y="4368"/>
                      </a:lnTo>
                      <a:lnTo>
                        <a:pt x="10650" y="4362"/>
                      </a:lnTo>
                      <a:lnTo>
                        <a:pt x="10656" y="4350"/>
                      </a:lnTo>
                      <a:lnTo>
                        <a:pt x="10662" y="4350"/>
                      </a:lnTo>
                      <a:lnTo>
                        <a:pt x="10674" y="4350"/>
                      </a:lnTo>
                      <a:lnTo>
                        <a:pt x="10686" y="4350"/>
                      </a:lnTo>
                      <a:lnTo>
                        <a:pt x="10692" y="4356"/>
                      </a:lnTo>
                      <a:lnTo>
                        <a:pt x="10692" y="4362"/>
                      </a:lnTo>
                      <a:lnTo>
                        <a:pt x="10692" y="4368"/>
                      </a:lnTo>
                      <a:lnTo>
                        <a:pt x="10698" y="4374"/>
                      </a:lnTo>
                      <a:lnTo>
                        <a:pt x="10698" y="4386"/>
                      </a:lnTo>
                      <a:lnTo>
                        <a:pt x="10710" y="4392"/>
                      </a:lnTo>
                      <a:lnTo>
                        <a:pt x="10716" y="4398"/>
                      </a:lnTo>
                      <a:lnTo>
                        <a:pt x="10722" y="4410"/>
                      </a:lnTo>
                      <a:lnTo>
                        <a:pt x="10722" y="4422"/>
                      </a:lnTo>
                      <a:lnTo>
                        <a:pt x="10716" y="4434"/>
                      </a:lnTo>
                      <a:lnTo>
                        <a:pt x="10710" y="4452"/>
                      </a:lnTo>
                      <a:lnTo>
                        <a:pt x="10704" y="4458"/>
                      </a:lnTo>
                      <a:lnTo>
                        <a:pt x="10710" y="4464"/>
                      </a:lnTo>
                      <a:lnTo>
                        <a:pt x="10716" y="4464"/>
                      </a:lnTo>
                      <a:lnTo>
                        <a:pt x="10728" y="4470"/>
                      </a:lnTo>
                      <a:lnTo>
                        <a:pt x="10740" y="4470"/>
                      </a:lnTo>
                      <a:lnTo>
                        <a:pt x="10752" y="4470"/>
                      </a:lnTo>
                      <a:lnTo>
                        <a:pt x="10764" y="4470"/>
                      </a:lnTo>
                      <a:lnTo>
                        <a:pt x="10776" y="4470"/>
                      </a:lnTo>
                      <a:lnTo>
                        <a:pt x="10788" y="4476"/>
                      </a:lnTo>
                      <a:lnTo>
                        <a:pt x="10794" y="4470"/>
                      </a:lnTo>
                      <a:lnTo>
                        <a:pt x="10794" y="4464"/>
                      </a:lnTo>
                      <a:lnTo>
                        <a:pt x="10794" y="4452"/>
                      </a:lnTo>
                      <a:lnTo>
                        <a:pt x="10800" y="4446"/>
                      </a:lnTo>
                      <a:lnTo>
                        <a:pt x="10800" y="4440"/>
                      </a:lnTo>
                      <a:lnTo>
                        <a:pt x="10806" y="4434"/>
                      </a:lnTo>
                      <a:lnTo>
                        <a:pt x="10818" y="4434"/>
                      </a:lnTo>
                      <a:lnTo>
                        <a:pt x="10830" y="4440"/>
                      </a:lnTo>
                      <a:lnTo>
                        <a:pt x="10836" y="4434"/>
                      </a:lnTo>
                      <a:lnTo>
                        <a:pt x="10842" y="4428"/>
                      </a:lnTo>
                      <a:lnTo>
                        <a:pt x="10836" y="4422"/>
                      </a:lnTo>
                      <a:lnTo>
                        <a:pt x="10836" y="4410"/>
                      </a:lnTo>
                      <a:lnTo>
                        <a:pt x="10830" y="4398"/>
                      </a:lnTo>
                      <a:lnTo>
                        <a:pt x="10818" y="4386"/>
                      </a:lnTo>
                      <a:lnTo>
                        <a:pt x="10812" y="4374"/>
                      </a:lnTo>
                      <a:lnTo>
                        <a:pt x="10812" y="4362"/>
                      </a:lnTo>
                      <a:lnTo>
                        <a:pt x="10812" y="4350"/>
                      </a:lnTo>
                      <a:lnTo>
                        <a:pt x="10818" y="4344"/>
                      </a:lnTo>
                      <a:lnTo>
                        <a:pt x="10824" y="4338"/>
                      </a:lnTo>
                      <a:lnTo>
                        <a:pt x="10836" y="4338"/>
                      </a:lnTo>
                      <a:lnTo>
                        <a:pt x="10848" y="4338"/>
                      </a:lnTo>
                      <a:lnTo>
                        <a:pt x="10860" y="4338"/>
                      </a:lnTo>
                      <a:lnTo>
                        <a:pt x="10872" y="4332"/>
                      </a:lnTo>
                      <a:lnTo>
                        <a:pt x="10878" y="4326"/>
                      </a:lnTo>
                      <a:lnTo>
                        <a:pt x="10884" y="4314"/>
                      </a:lnTo>
                      <a:lnTo>
                        <a:pt x="10890" y="4302"/>
                      </a:lnTo>
                      <a:lnTo>
                        <a:pt x="10896" y="4302"/>
                      </a:lnTo>
                      <a:lnTo>
                        <a:pt x="10908" y="4302"/>
                      </a:lnTo>
                      <a:lnTo>
                        <a:pt x="10914" y="4308"/>
                      </a:lnTo>
                      <a:lnTo>
                        <a:pt x="10926" y="4320"/>
                      </a:lnTo>
                      <a:lnTo>
                        <a:pt x="10938" y="4326"/>
                      </a:lnTo>
                      <a:lnTo>
                        <a:pt x="10950" y="4332"/>
                      </a:lnTo>
                      <a:lnTo>
                        <a:pt x="10962" y="4338"/>
                      </a:lnTo>
                      <a:lnTo>
                        <a:pt x="10974" y="4344"/>
                      </a:lnTo>
                      <a:lnTo>
                        <a:pt x="10986" y="4344"/>
                      </a:lnTo>
                      <a:lnTo>
                        <a:pt x="10992" y="4350"/>
                      </a:lnTo>
                      <a:lnTo>
                        <a:pt x="10998" y="4362"/>
                      </a:lnTo>
                      <a:lnTo>
                        <a:pt x="11004" y="4374"/>
                      </a:lnTo>
                      <a:lnTo>
                        <a:pt x="11016" y="4398"/>
                      </a:lnTo>
                      <a:lnTo>
                        <a:pt x="11034" y="4428"/>
                      </a:lnTo>
                      <a:lnTo>
                        <a:pt x="11058" y="4440"/>
                      </a:lnTo>
                      <a:lnTo>
                        <a:pt x="11082" y="4452"/>
                      </a:lnTo>
                      <a:lnTo>
                        <a:pt x="11112" y="4464"/>
                      </a:lnTo>
                      <a:lnTo>
                        <a:pt x="11130" y="4470"/>
                      </a:lnTo>
                      <a:lnTo>
                        <a:pt x="11142" y="4476"/>
                      </a:lnTo>
                      <a:lnTo>
                        <a:pt x="11148" y="4482"/>
                      </a:lnTo>
                      <a:lnTo>
                        <a:pt x="11154" y="4488"/>
                      </a:lnTo>
                      <a:lnTo>
                        <a:pt x="11148" y="4494"/>
                      </a:lnTo>
                      <a:lnTo>
                        <a:pt x="11136" y="4506"/>
                      </a:lnTo>
                      <a:lnTo>
                        <a:pt x="11124" y="4512"/>
                      </a:lnTo>
                      <a:lnTo>
                        <a:pt x="11124" y="4518"/>
                      </a:lnTo>
                      <a:lnTo>
                        <a:pt x="11124" y="4530"/>
                      </a:lnTo>
                      <a:lnTo>
                        <a:pt x="11136" y="4536"/>
                      </a:lnTo>
                      <a:lnTo>
                        <a:pt x="11148" y="4542"/>
                      </a:lnTo>
                      <a:lnTo>
                        <a:pt x="11160" y="4548"/>
                      </a:lnTo>
                      <a:lnTo>
                        <a:pt x="11172" y="4554"/>
                      </a:lnTo>
                      <a:lnTo>
                        <a:pt x="11178" y="4566"/>
                      </a:lnTo>
                      <a:lnTo>
                        <a:pt x="11184" y="4578"/>
                      </a:lnTo>
                      <a:lnTo>
                        <a:pt x="11184" y="4590"/>
                      </a:lnTo>
                      <a:lnTo>
                        <a:pt x="11184" y="4602"/>
                      </a:lnTo>
                      <a:lnTo>
                        <a:pt x="11190" y="4620"/>
                      </a:lnTo>
                      <a:lnTo>
                        <a:pt x="11196" y="4638"/>
                      </a:lnTo>
                      <a:lnTo>
                        <a:pt x="11202" y="4644"/>
                      </a:lnTo>
                      <a:lnTo>
                        <a:pt x="11214" y="4650"/>
                      </a:lnTo>
                      <a:lnTo>
                        <a:pt x="11226" y="4656"/>
                      </a:lnTo>
                      <a:lnTo>
                        <a:pt x="11244" y="4656"/>
                      </a:lnTo>
                      <a:lnTo>
                        <a:pt x="11262" y="4656"/>
                      </a:lnTo>
                      <a:lnTo>
                        <a:pt x="11268" y="4662"/>
                      </a:lnTo>
                      <a:lnTo>
                        <a:pt x="11274" y="4668"/>
                      </a:lnTo>
                      <a:lnTo>
                        <a:pt x="11274" y="4674"/>
                      </a:lnTo>
                      <a:lnTo>
                        <a:pt x="11274" y="4686"/>
                      </a:lnTo>
                      <a:lnTo>
                        <a:pt x="11280" y="4698"/>
                      </a:lnTo>
                      <a:lnTo>
                        <a:pt x="11286" y="4716"/>
                      </a:lnTo>
                      <a:lnTo>
                        <a:pt x="11286" y="4728"/>
                      </a:lnTo>
                      <a:lnTo>
                        <a:pt x="11286" y="4740"/>
                      </a:lnTo>
                      <a:lnTo>
                        <a:pt x="11280" y="4746"/>
                      </a:lnTo>
                      <a:lnTo>
                        <a:pt x="11280" y="4758"/>
                      </a:lnTo>
                      <a:lnTo>
                        <a:pt x="11280" y="4776"/>
                      </a:lnTo>
                      <a:lnTo>
                        <a:pt x="11280" y="4836"/>
                      </a:lnTo>
                      <a:lnTo>
                        <a:pt x="11298" y="4908"/>
                      </a:lnTo>
                      <a:lnTo>
                        <a:pt x="11310" y="4962"/>
                      </a:lnTo>
                      <a:lnTo>
                        <a:pt x="11316" y="5010"/>
                      </a:lnTo>
                      <a:lnTo>
                        <a:pt x="11322" y="5046"/>
                      </a:lnTo>
                      <a:lnTo>
                        <a:pt x="11328" y="5058"/>
                      </a:lnTo>
                      <a:lnTo>
                        <a:pt x="11334" y="5070"/>
                      </a:lnTo>
                      <a:lnTo>
                        <a:pt x="11346" y="5082"/>
                      </a:lnTo>
                      <a:lnTo>
                        <a:pt x="11352" y="5094"/>
                      </a:lnTo>
                      <a:lnTo>
                        <a:pt x="11358" y="5106"/>
                      </a:lnTo>
                      <a:lnTo>
                        <a:pt x="11358" y="5118"/>
                      </a:lnTo>
                      <a:lnTo>
                        <a:pt x="11358" y="5136"/>
                      </a:lnTo>
                      <a:lnTo>
                        <a:pt x="11364" y="5148"/>
                      </a:lnTo>
                      <a:lnTo>
                        <a:pt x="11370" y="5160"/>
                      </a:lnTo>
                      <a:lnTo>
                        <a:pt x="11376" y="5178"/>
                      </a:lnTo>
                      <a:lnTo>
                        <a:pt x="11388" y="5196"/>
                      </a:lnTo>
                      <a:lnTo>
                        <a:pt x="11400" y="5214"/>
                      </a:lnTo>
                      <a:lnTo>
                        <a:pt x="11412" y="5232"/>
                      </a:lnTo>
                      <a:lnTo>
                        <a:pt x="11418" y="5244"/>
                      </a:lnTo>
                      <a:lnTo>
                        <a:pt x="11430" y="5262"/>
                      </a:lnTo>
                      <a:lnTo>
                        <a:pt x="11436" y="5286"/>
                      </a:lnTo>
                      <a:lnTo>
                        <a:pt x="11436" y="5304"/>
                      </a:lnTo>
                      <a:lnTo>
                        <a:pt x="11442" y="5310"/>
                      </a:lnTo>
                      <a:lnTo>
                        <a:pt x="11442" y="5322"/>
                      </a:lnTo>
                      <a:lnTo>
                        <a:pt x="11448" y="5322"/>
                      </a:lnTo>
                      <a:lnTo>
                        <a:pt x="11448" y="5328"/>
                      </a:lnTo>
                      <a:lnTo>
                        <a:pt x="11454" y="5340"/>
                      </a:lnTo>
                      <a:lnTo>
                        <a:pt x="11466" y="5352"/>
                      </a:lnTo>
                      <a:lnTo>
                        <a:pt x="11478" y="5394"/>
                      </a:lnTo>
                      <a:lnTo>
                        <a:pt x="11472" y="5430"/>
                      </a:lnTo>
                      <a:lnTo>
                        <a:pt x="11466" y="5466"/>
                      </a:lnTo>
                      <a:lnTo>
                        <a:pt x="11460" y="5484"/>
                      </a:lnTo>
                      <a:lnTo>
                        <a:pt x="11454" y="5496"/>
                      </a:lnTo>
                      <a:lnTo>
                        <a:pt x="11442" y="5514"/>
                      </a:lnTo>
                      <a:lnTo>
                        <a:pt x="11430" y="5526"/>
                      </a:lnTo>
                      <a:lnTo>
                        <a:pt x="11418" y="5538"/>
                      </a:lnTo>
                      <a:lnTo>
                        <a:pt x="11406" y="5568"/>
                      </a:lnTo>
                      <a:lnTo>
                        <a:pt x="11388" y="5610"/>
                      </a:lnTo>
                      <a:lnTo>
                        <a:pt x="11376" y="5658"/>
                      </a:lnTo>
                      <a:lnTo>
                        <a:pt x="11364" y="5706"/>
                      </a:lnTo>
                      <a:lnTo>
                        <a:pt x="11358" y="5760"/>
                      </a:lnTo>
                      <a:lnTo>
                        <a:pt x="11364" y="5796"/>
                      </a:lnTo>
                      <a:lnTo>
                        <a:pt x="11382" y="5826"/>
                      </a:lnTo>
                      <a:lnTo>
                        <a:pt x="11382" y="5838"/>
                      </a:lnTo>
                      <a:lnTo>
                        <a:pt x="11382" y="5850"/>
                      </a:lnTo>
                      <a:lnTo>
                        <a:pt x="11382" y="5862"/>
                      </a:lnTo>
                      <a:lnTo>
                        <a:pt x="11370" y="5874"/>
                      </a:lnTo>
                      <a:lnTo>
                        <a:pt x="11370" y="5886"/>
                      </a:lnTo>
                      <a:lnTo>
                        <a:pt x="11364" y="5904"/>
                      </a:lnTo>
                      <a:lnTo>
                        <a:pt x="11364" y="5922"/>
                      </a:lnTo>
                      <a:lnTo>
                        <a:pt x="11358" y="5934"/>
                      </a:lnTo>
                      <a:lnTo>
                        <a:pt x="11358" y="5946"/>
                      </a:lnTo>
                      <a:lnTo>
                        <a:pt x="11352" y="5952"/>
                      </a:lnTo>
                      <a:lnTo>
                        <a:pt x="11352" y="5970"/>
                      </a:lnTo>
                      <a:lnTo>
                        <a:pt x="11352" y="5988"/>
                      </a:lnTo>
                      <a:lnTo>
                        <a:pt x="11346" y="6018"/>
                      </a:lnTo>
                      <a:lnTo>
                        <a:pt x="11340" y="6036"/>
                      </a:lnTo>
                      <a:lnTo>
                        <a:pt x="11334" y="6054"/>
                      </a:lnTo>
                      <a:lnTo>
                        <a:pt x="11334" y="6084"/>
                      </a:lnTo>
                      <a:lnTo>
                        <a:pt x="11334" y="6126"/>
                      </a:lnTo>
                      <a:lnTo>
                        <a:pt x="11316" y="6156"/>
                      </a:lnTo>
                      <a:lnTo>
                        <a:pt x="11298" y="6192"/>
                      </a:lnTo>
                      <a:lnTo>
                        <a:pt x="11286" y="6210"/>
                      </a:lnTo>
                      <a:lnTo>
                        <a:pt x="11286" y="6228"/>
                      </a:lnTo>
                      <a:lnTo>
                        <a:pt x="11280" y="6240"/>
                      </a:lnTo>
                      <a:lnTo>
                        <a:pt x="11280" y="6258"/>
                      </a:lnTo>
                      <a:lnTo>
                        <a:pt x="11274" y="6270"/>
                      </a:lnTo>
                      <a:lnTo>
                        <a:pt x="11274" y="6288"/>
                      </a:lnTo>
                      <a:lnTo>
                        <a:pt x="11262" y="6306"/>
                      </a:lnTo>
                      <a:lnTo>
                        <a:pt x="11256" y="6324"/>
                      </a:lnTo>
                      <a:lnTo>
                        <a:pt x="11256" y="6336"/>
                      </a:lnTo>
                      <a:lnTo>
                        <a:pt x="11256" y="6348"/>
                      </a:lnTo>
                      <a:lnTo>
                        <a:pt x="11256" y="6366"/>
                      </a:lnTo>
                      <a:lnTo>
                        <a:pt x="11262" y="6378"/>
                      </a:lnTo>
                      <a:lnTo>
                        <a:pt x="11262" y="6396"/>
                      </a:lnTo>
                      <a:lnTo>
                        <a:pt x="11262" y="6408"/>
                      </a:lnTo>
                      <a:lnTo>
                        <a:pt x="11262" y="6420"/>
                      </a:lnTo>
                      <a:lnTo>
                        <a:pt x="11256" y="6426"/>
                      </a:lnTo>
                      <a:lnTo>
                        <a:pt x="11250" y="6426"/>
                      </a:lnTo>
                      <a:lnTo>
                        <a:pt x="11238" y="6426"/>
                      </a:lnTo>
                      <a:lnTo>
                        <a:pt x="11232" y="6426"/>
                      </a:lnTo>
                      <a:lnTo>
                        <a:pt x="11214" y="6432"/>
                      </a:lnTo>
                      <a:lnTo>
                        <a:pt x="11202" y="6438"/>
                      </a:lnTo>
                      <a:lnTo>
                        <a:pt x="11178" y="6444"/>
                      </a:lnTo>
                      <a:lnTo>
                        <a:pt x="11160" y="6444"/>
                      </a:lnTo>
                      <a:lnTo>
                        <a:pt x="11142" y="6444"/>
                      </a:lnTo>
                      <a:lnTo>
                        <a:pt x="11130" y="6444"/>
                      </a:lnTo>
                      <a:lnTo>
                        <a:pt x="11118" y="6438"/>
                      </a:lnTo>
                      <a:lnTo>
                        <a:pt x="11106" y="6438"/>
                      </a:lnTo>
                      <a:lnTo>
                        <a:pt x="11094" y="6438"/>
                      </a:lnTo>
                      <a:lnTo>
                        <a:pt x="11082" y="6438"/>
                      </a:lnTo>
                      <a:lnTo>
                        <a:pt x="11070" y="6444"/>
                      </a:lnTo>
                      <a:lnTo>
                        <a:pt x="11064" y="6444"/>
                      </a:lnTo>
                      <a:lnTo>
                        <a:pt x="11058" y="6444"/>
                      </a:lnTo>
                      <a:lnTo>
                        <a:pt x="11052" y="6438"/>
                      </a:lnTo>
                      <a:lnTo>
                        <a:pt x="11046" y="6426"/>
                      </a:lnTo>
                      <a:lnTo>
                        <a:pt x="11046" y="6414"/>
                      </a:lnTo>
                      <a:lnTo>
                        <a:pt x="11040" y="6408"/>
                      </a:lnTo>
                      <a:lnTo>
                        <a:pt x="11028" y="6402"/>
                      </a:lnTo>
                      <a:lnTo>
                        <a:pt x="11016" y="6396"/>
                      </a:lnTo>
                      <a:lnTo>
                        <a:pt x="11004" y="6396"/>
                      </a:lnTo>
                      <a:lnTo>
                        <a:pt x="10986" y="6384"/>
                      </a:lnTo>
                      <a:lnTo>
                        <a:pt x="10974" y="6378"/>
                      </a:lnTo>
                      <a:lnTo>
                        <a:pt x="10962" y="6378"/>
                      </a:lnTo>
                      <a:lnTo>
                        <a:pt x="10956" y="6378"/>
                      </a:lnTo>
                      <a:lnTo>
                        <a:pt x="10950" y="6384"/>
                      </a:lnTo>
                      <a:lnTo>
                        <a:pt x="10944" y="6390"/>
                      </a:lnTo>
                      <a:lnTo>
                        <a:pt x="10932" y="6408"/>
                      </a:lnTo>
                      <a:lnTo>
                        <a:pt x="10926" y="6420"/>
                      </a:lnTo>
                      <a:lnTo>
                        <a:pt x="10920" y="6432"/>
                      </a:lnTo>
                      <a:lnTo>
                        <a:pt x="10920" y="6438"/>
                      </a:lnTo>
                      <a:lnTo>
                        <a:pt x="10920" y="6450"/>
                      </a:lnTo>
                      <a:lnTo>
                        <a:pt x="10926" y="6456"/>
                      </a:lnTo>
                      <a:lnTo>
                        <a:pt x="10932" y="6468"/>
                      </a:lnTo>
                      <a:lnTo>
                        <a:pt x="10932" y="6480"/>
                      </a:lnTo>
                      <a:lnTo>
                        <a:pt x="10938" y="6492"/>
                      </a:lnTo>
                      <a:lnTo>
                        <a:pt x="10944" y="6498"/>
                      </a:lnTo>
                      <a:lnTo>
                        <a:pt x="10950" y="6504"/>
                      </a:lnTo>
                      <a:lnTo>
                        <a:pt x="10950" y="6510"/>
                      </a:lnTo>
                      <a:lnTo>
                        <a:pt x="10944" y="6510"/>
                      </a:lnTo>
                      <a:lnTo>
                        <a:pt x="10938" y="6522"/>
                      </a:lnTo>
                      <a:lnTo>
                        <a:pt x="10932" y="6534"/>
                      </a:lnTo>
                      <a:lnTo>
                        <a:pt x="10926" y="6552"/>
                      </a:lnTo>
                      <a:lnTo>
                        <a:pt x="10872" y="6492"/>
                      </a:lnTo>
                      <a:lnTo>
                        <a:pt x="10866" y="6438"/>
                      </a:lnTo>
                      <a:lnTo>
                        <a:pt x="10890" y="6354"/>
                      </a:lnTo>
                      <a:lnTo>
                        <a:pt x="10860" y="6282"/>
                      </a:lnTo>
                      <a:lnTo>
                        <a:pt x="10812" y="6228"/>
                      </a:lnTo>
                      <a:lnTo>
                        <a:pt x="10788" y="6090"/>
                      </a:lnTo>
                      <a:lnTo>
                        <a:pt x="10842" y="6048"/>
                      </a:lnTo>
                      <a:lnTo>
                        <a:pt x="10854" y="6048"/>
                      </a:lnTo>
                      <a:lnTo>
                        <a:pt x="10896" y="6042"/>
                      </a:lnTo>
                      <a:lnTo>
                        <a:pt x="10938" y="6036"/>
                      </a:lnTo>
                      <a:lnTo>
                        <a:pt x="10968" y="6024"/>
                      </a:lnTo>
                      <a:lnTo>
                        <a:pt x="10974" y="6000"/>
                      </a:lnTo>
                      <a:lnTo>
                        <a:pt x="10968" y="5964"/>
                      </a:lnTo>
                      <a:lnTo>
                        <a:pt x="10944" y="5910"/>
                      </a:lnTo>
                      <a:lnTo>
                        <a:pt x="10932" y="5868"/>
                      </a:lnTo>
                      <a:lnTo>
                        <a:pt x="10932" y="5820"/>
                      </a:lnTo>
                      <a:lnTo>
                        <a:pt x="10938" y="5754"/>
                      </a:lnTo>
                      <a:lnTo>
                        <a:pt x="10938" y="5688"/>
                      </a:lnTo>
                      <a:lnTo>
                        <a:pt x="10938" y="5634"/>
                      </a:lnTo>
                      <a:lnTo>
                        <a:pt x="10950" y="5586"/>
                      </a:lnTo>
                      <a:lnTo>
                        <a:pt x="10956" y="5550"/>
                      </a:lnTo>
                      <a:lnTo>
                        <a:pt x="10956" y="5508"/>
                      </a:lnTo>
                      <a:lnTo>
                        <a:pt x="10950" y="5460"/>
                      </a:lnTo>
                      <a:lnTo>
                        <a:pt x="10944" y="5418"/>
                      </a:lnTo>
                      <a:lnTo>
                        <a:pt x="10932" y="5406"/>
                      </a:lnTo>
                      <a:lnTo>
                        <a:pt x="10926" y="5400"/>
                      </a:lnTo>
                      <a:lnTo>
                        <a:pt x="10908" y="5400"/>
                      </a:lnTo>
                      <a:lnTo>
                        <a:pt x="10896" y="5400"/>
                      </a:lnTo>
                      <a:lnTo>
                        <a:pt x="10884" y="5412"/>
                      </a:lnTo>
                      <a:lnTo>
                        <a:pt x="10866" y="5418"/>
                      </a:lnTo>
                      <a:lnTo>
                        <a:pt x="10860" y="5430"/>
                      </a:lnTo>
                      <a:lnTo>
                        <a:pt x="10848" y="5448"/>
                      </a:lnTo>
                      <a:lnTo>
                        <a:pt x="10848" y="5460"/>
                      </a:lnTo>
                      <a:lnTo>
                        <a:pt x="10848" y="5484"/>
                      </a:lnTo>
                      <a:lnTo>
                        <a:pt x="10842" y="5496"/>
                      </a:lnTo>
                      <a:lnTo>
                        <a:pt x="10830" y="5502"/>
                      </a:lnTo>
                      <a:lnTo>
                        <a:pt x="10818" y="5508"/>
                      </a:lnTo>
                      <a:lnTo>
                        <a:pt x="10800" y="5508"/>
                      </a:lnTo>
                      <a:lnTo>
                        <a:pt x="10782" y="5508"/>
                      </a:lnTo>
                      <a:lnTo>
                        <a:pt x="10770" y="5508"/>
                      </a:lnTo>
                      <a:lnTo>
                        <a:pt x="10758" y="5514"/>
                      </a:lnTo>
                      <a:lnTo>
                        <a:pt x="10746" y="5526"/>
                      </a:lnTo>
                      <a:lnTo>
                        <a:pt x="10740" y="5538"/>
                      </a:lnTo>
                      <a:lnTo>
                        <a:pt x="10740" y="5550"/>
                      </a:lnTo>
                      <a:lnTo>
                        <a:pt x="10740" y="5568"/>
                      </a:lnTo>
                      <a:lnTo>
                        <a:pt x="10740" y="5592"/>
                      </a:lnTo>
                      <a:lnTo>
                        <a:pt x="10722" y="5610"/>
                      </a:lnTo>
                      <a:lnTo>
                        <a:pt x="10692" y="5622"/>
                      </a:lnTo>
                      <a:lnTo>
                        <a:pt x="10656" y="5622"/>
                      </a:lnTo>
                      <a:lnTo>
                        <a:pt x="10620" y="5610"/>
                      </a:lnTo>
                      <a:lnTo>
                        <a:pt x="10596" y="5592"/>
                      </a:lnTo>
                      <a:lnTo>
                        <a:pt x="10590" y="5574"/>
                      </a:lnTo>
                      <a:lnTo>
                        <a:pt x="10584" y="5562"/>
                      </a:lnTo>
                      <a:lnTo>
                        <a:pt x="10578" y="5556"/>
                      </a:lnTo>
                      <a:lnTo>
                        <a:pt x="10566" y="5550"/>
                      </a:lnTo>
                      <a:lnTo>
                        <a:pt x="10548" y="5550"/>
                      </a:lnTo>
                      <a:lnTo>
                        <a:pt x="10518" y="5550"/>
                      </a:lnTo>
                      <a:lnTo>
                        <a:pt x="10476" y="5538"/>
                      </a:lnTo>
                      <a:lnTo>
                        <a:pt x="10440" y="5508"/>
                      </a:lnTo>
                      <a:lnTo>
                        <a:pt x="10416" y="5466"/>
                      </a:lnTo>
                      <a:lnTo>
                        <a:pt x="10398" y="5436"/>
                      </a:lnTo>
                      <a:lnTo>
                        <a:pt x="10362" y="5406"/>
                      </a:lnTo>
                      <a:lnTo>
                        <a:pt x="10320" y="5400"/>
                      </a:lnTo>
                      <a:lnTo>
                        <a:pt x="10278" y="5394"/>
                      </a:lnTo>
                      <a:lnTo>
                        <a:pt x="10230" y="5394"/>
                      </a:lnTo>
                      <a:lnTo>
                        <a:pt x="10188" y="5394"/>
                      </a:lnTo>
                      <a:lnTo>
                        <a:pt x="10134" y="5376"/>
                      </a:lnTo>
                      <a:lnTo>
                        <a:pt x="10110" y="5358"/>
                      </a:lnTo>
                      <a:lnTo>
                        <a:pt x="10092" y="5346"/>
                      </a:lnTo>
                      <a:lnTo>
                        <a:pt x="10074" y="5334"/>
                      </a:lnTo>
                      <a:lnTo>
                        <a:pt x="10068" y="5322"/>
                      </a:lnTo>
                      <a:lnTo>
                        <a:pt x="10062" y="5304"/>
                      </a:lnTo>
                      <a:lnTo>
                        <a:pt x="10062" y="5280"/>
                      </a:lnTo>
                      <a:lnTo>
                        <a:pt x="10056" y="5250"/>
                      </a:lnTo>
                      <a:lnTo>
                        <a:pt x="10038" y="5232"/>
                      </a:lnTo>
                      <a:lnTo>
                        <a:pt x="10002" y="5208"/>
                      </a:lnTo>
                      <a:lnTo>
                        <a:pt x="9948" y="5166"/>
                      </a:lnTo>
                      <a:lnTo>
                        <a:pt x="9888" y="5106"/>
                      </a:lnTo>
                      <a:lnTo>
                        <a:pt x="9828" y="5040"/>
                      </a:lnTo>
                      <a:lnTo>
                        <a:pt x="9774" y="4980"/>
                      </a:lnTo>
                      <a:lnTo>
                        <a:pt x="9732" y="4920"/>
                      </a:lnTo>
                      <a:lnTo>
                        <a:pt x="9696" y="4890"/>
                      </a:lnTo>
                      <a:lnTo>
                        <a:pt x="9666" y="4878"/>
                      </a:lnTo>
                      <a:lnTo>
                        <a:pt x="9636" y="4872"/>
                      </a:lnTo>
                      <a:lnTo>
                        <a:pt x="9594" y="4872"/>
                      </a:lnTo>
                      <a:lnTo>
                        <a:pt x="9570" y="4866"/>
                      </a:lnTo>
                      <a:lnTo>
                        <a:pt x="9558" y="4860"/>
                      </a:lnTo>
                      <a:lnTo>
                        <a:pt x="9546" y="4848"/>
                      </a:lnTo>
                      <a:lnTo>
                        <a:pt x="9534" y="4842"/>
                      </a:lnTo>
                      <a:lnTo>
                        <a:pt x="9528" y="4836"/>
                      </a:lnTo>
                      <a:lnTo>
                        <a:pt x="9522" y="4830"/>
                      </a:lnTo>
                      <a:lnTo>
                        <a:pt x="9510" y="4830"/>
                      </a:lnTo>
                      <a:lnTo>
                        <a:pt x="9504" y="4830"/>
                      </a:lnTo>
                      <a:lnTo>
                        <a:pt x="9468" y="4836"/>
                      </a:lnTo>
                      <a:lnTo>
                        <a:pt x="9438" y="4842"/>
                      </a:lnTo>
                      <a:lnTo>
                        <a:pt x="9396" y="4842"/>
                      </a:lnTo>
                      <a:lnTo>
                        <a:pt x="9360" y="4848"/>
                      </a:lnTo>
                      <a:lnTo>
                        <a:pt x="9318" y="4860"/>
                      </a:lnTo>
                      <a:lnTo>
                        <a:pt x="9282" y="4878"/>
                      </a:lnTo>
                      <a:lnTo>
                        <a:pt x="9252" y="4890"/>
                      </a:lnTo>
                      <a:lnTo>
                        <a:pt x="9246" y="4896"/>
                      </a:lnTo>
                      <a:lnTo>
                        <a:pt x="9204" y="4950"/>
                      </a:lnTo>
                      <a:lnTo>
                        <a:pt x="9180" y="5010"/>
                      </a:lnTo>
                      <a:lnTo>
                        <a:pt x="9198" y="5046"/>
                      </a:lnTo>
                      <a:lnTo>
                        <a:pt x="9264" y="5064"/>
                      </a:lnTo>
                      <a:lnTo>
                        <a:pt x="9276" y="5136"/>
                      </a:lnTo>
                      <a:lnTo>
                        <a:pt x="9276" y="5202"/>
                      </a:lnTo>
                      <a:lnTo>
                        <a:pt x="9288" y="5280"/>
                      </a:lnTo>
                      <a:lnTo>
                        <a:pt x="9294" y="5358"/>
                      </a:lnTo>
                      <a:lnTo>
                        <a:pt x="9246" y="5394"/>
                      </a:lnTo>
                      <a:lnTo>
                        <a:pt x="9228" y="5448"/>
                      </a:lnTo>
                      <a:lnTo>
                        <a:pt x="9234" y="5514"/>
                      </a:lnTo>
                      <a:lnTo>
                        <a:pt x="9186" y="5568"/>
                      </a:lnTo>
                      <a:lnTo>
                        <a:pt x="9132" y="5604"/>
                      </a:lnTo>
                      <a:lnTo>
                        <a:pt x="9054" y="5580"/>
                      </a:lnTo>
                      <a:lnTo>
                        <a:pt x="9054" y="5580"/>
                      </a:lnTo>
                      <a:lnTo>
                        <a:pt x="9030" y="5526"/>
                      </a:lnTo>
                      <a:lnTo>
                        <a:pt x="8964" y="5514"/>
                      </a:lnTo>
                      <a:lnTo>
                        <a:pt x="8904" y="5556"/>
                      </a:lnTo>
                      <a:lnTo>
                        <a:pt x="8820" y="5496"/>
                      </a:lnTo>
                      <a:lnTo>
                        <a:pt x="8736" y="5502"/>
                      </a:lnTo>
                      <a:lnTo>
                        <a:pt x="8688" y="5556"/>
                      </a:lnTo>
                      <a:lnTo>
                        <a:pt x="8700" y="5616"/>
                      </a:lnTo>
                      <a:lnTo>
                        <a:pt x="8616" y="5664"/>
                      </a:lnTo>
                      <a:lnTo>
                        <a:pt x="8490" y="5688"/>
                      </a:lnTo>
                      <a:lnTo>
                        <a:pt x="8406" y="5736"/>
                      </a:lnTo>
                      <a:lnTo>
                        <a:pt x="8220" y="5736"/>
                      </a:lnTo>
                      <a:lnTo>
                        <a:pt x="8154" y="5688"/>
                      </a:lnTo>
                      <a:lnTo>
                        <a:pt x="7962" y="5652"/>
                      </a:lnTo>
                      <a:lnTo>
                        <a:pt x="7836" y="5646"/>
                      </a:lnTo>
                      <a:lnTo>
                        <a:pt x="7800" y="5712"/>
                      </a:lnTo>
                      <a:lnTo>
                        <a:pt x="7734" y="5730"/>
                      </a:lnTo>
                      <a:lnTo>
                        <a:pt x="7608" y="5670"/>
                      </a:lnTo>
                      <a:lnTo>
                        <a:pt x="7536" y="5580"/>
                      </a:lnTo>
                      <a:lnTo>
                        <a:pt x="7428" y="5514"/>
                      </a:lnTo>
                      <a:lnTo>
                        <a:pt x="7224" y="5448"/>
                      </a:lnTo>
                      <a:lnTo>
                        <a:pt x="7152" y="5460"/>
                      </a:lnTo>
                      <a:lnTo>
                        <a:pt x="7128" y="5520"/>
                      </a:lnTo>
                      <a:lnTo>
                        <a:pt x="7068" y="5556"/>
                      </a:lnTo>
                      <a:lnTo>
                        <a:pt x="7062" y="5622"/>
                      </a:lnTo>
                      <a:lnTo>
                        <a:pt x="7182" y="5712"/>
                      </a:lnTo>
                      <a:lnTo>
                        <a:pt x="7194" y="5766"/>
                      </a:lnTo>
                      <a:lnTo>
                        <a:pt x="7176" y="5820"/>
                      </a:lnTo>
                      <a:lnTo>
                        <a:pt x="7110" y="5826"/>
                      </a:lnTo>
                      <a:lnTo>
                        <a:pt x="6990" y="5868"/>
                      </a:lnTo>
                      <a:lnTo>
                        <a:pt x="6882" y="5838"/>
                      </a:lnTo>
                      <a:lnTo>
                        <a:pt x="6816" y="5760"/>
                      </a:lnTo>
                      <a:lnTo>
                        <a:pt x="6720" y="5766"/>
                      </a:lnTo>
                      <a:lnTo>
                        <a:pt x="6582" y="5754"/>
                      </a:lnTo>
                      <a:lnTo>
                        <a:pt x="6522" y="5802"/>
                      </a:lnTo>
                      <a:lnTo>
                        <a:pt x="6462" y="5868"/>
                      </a:lnTo>
                      <a:lnTo>
                        <a:pt x="6414" y="5898"/>
                      </a:lnTo>
                      <a:lnTo>
                        <a:pt x="6342" y="5934"/>
                      </a:lnTo>
                      <a:lnTo>
                        <a:pt x="6342" y="6000"/>
                      </a:lnTo>
                      <a:lnTo>
                        <a:pt x="6246" y="6066"/>
                      </a:lnTo>
                      <a:lnTo>
                        <a:pt x="6252" y="6066"/>
                      </a:lnTo>
                      <a:lnTo>
                        <a:pt x="6228" y="6048"/>
                      </a:lnTo>
                      <a:lnTo>
                        <a:pt x="6174" y="6048"/>
                      </a:lnTo>
                      <a:lnTo>
                        <a:pt x="6168" y="6048"/>
                      </a:lnTo>
                      <a:lnTo>
                        <a:pt x="6120" y="6024"/>
                      </a:lnTo>
                      <a:lnTo>
                        <a:pt x="6048" y="6036"/>
                      </a:lnTo>
                      <a:lnTo>
                        <a:pt x="5958" y="6048"/>
                      </a:lnTo>
                      <a:lnTo>
                        <a:pt x="5880" y="5964"/>
                      </a:lnTo>
                      <a:lnTo>
                        <a:pt x="5838" y="5898"/>
                      </a:lnTo>
                      <a:lnTo>
                        <a:pt x="5760" y="5856"/>
                      </a:lnTo>
                      <a:lnTo>
                        <a:pt x="5682" y="5850"/>
                      </a:lnTo>
                      <a:lnTo>
                        <a:pt x="5604" y="5880"/>
                      </a:lnTo>
                      <a:lnTo>
                        <a:pt x="5484" y="5862"/>
                      </a:lnTo>
                      <a:lnTo>
                        <a:pt x="5430" y="5892"/>
                      </a:lnTo>
                      <a:lnTo>
                        <a:pt x="5370" y="5910"/>
                      </a:lnTo>
                      <a:lnTo>
                        <a:pt x="5328" y="5850"/>
                      </a:lnTo>
                      <a:lnTo>
                        <a:pt x="5280" y="5802"/>
                      </a:lnTo>
                      <a:lnTo>
                        <a:pt x="5280" y="5718"/>
                      </a:lnTo>
                      <a:lnTo>
                        <a:pt x="5220" y="5718"/>
                      </a:lnTo>
                      <a:lnTo>
                        <a:pt x="5178" y="5682"/>
                      </a:lnTo>
                      <a:lnTo>
                        <a:pt x="5142" y="5634"/>
                      </a:lnTo>
                      <a:lnTo>
                        <a:pt x="5082" y="5562"/>
                      </a:lnTo>
                      <a:lnTo>
                        <a:pt x="5034" y="5556"/>
                      </a:lnTo>
                      <a:lnTo>
                        <a:pt x="4980" y="5508"/>
                      </a:lnTo>
                      <a:lnTo>
                        <a:pt x="4926" y="5484"/>
                      </a:lnTo>
                      <a:lnTo>
                        <a:pt x="4914" y="5418"/>
                      </a:lnTo>
                      <a:lnTo>
                        <a:pt x="4830" y="5400"/>
                      </a:lnTo>
                      <a:lnTo>
                        <a:pt x="4794" y="5460"/>
                      </a:lnTo>
                      <a:lnTo>
                        <a:pt x="4752" y="5538"/>
                      </a:lnTo>
                      <a:lnTo>
                        <a:pt x="4704" y="5580"/>
                      </a:lnTo>
                      <a:lnTo>
                        <a:pt x="4614" y="5580"/>
                      </a:lnTo>
                      <a:lnTo>
                        <a:pt x="4584" y="5514"/>
                      </a:lnTo>
                      <a:lnTo>
                        <a:pt x="4530" y="5490"/>
                      </a:lnTo>
                      <a:lnTo>
                        <a:pt x="4488" y="5496"/>
                      </a:lnTo>
                      <a:lnTo>
                        <a:pt x="4428" y="5502"/>
                      </a:lnTo>
                      <a:lnTo>
                        <a:pt x="4362" y="5454"/>
                      </a:lnTo>
                      <a:lnTo>
                        <a:pt x="4308" y="5382"/>
                      </a:lnTo>
                      <a:lnTo>
                        <a:pt x="4266" y="5340"/>
                      </a:lnTo>
                      <a:lnTo>
                        <a:pt x="4170" y="5340"/>
                      </a:lnTo>
                      <a:lnTo>
                        <a:pt x="4074" y="5364"/>
                      </a:lnTo>
                      <a:lnTo>
                        <a:pt x="4026" y="5418"/>
                      </a:lnTo>
                      <a:lnTo>
                        <a:pt x="3942" y="5460"/>
                      </a:lnTo>
                      <a:lnTo>
                        <a:pt x="3870" y="5472"/>
                      </a:lnTo>
                      <a:lnTo>
                        <a:pt x="3786" y="5490"/>
                      </a:lnTo>
                      <a:lnTo>
                        <a:pt x="3714" y="5574"/>
                      </a:lnTo>
                      <a:lnTo>
                        <a:pt x="3648" y="5586"/>
                      </a:lnTo>
                      <a:lnTo>
                        <a:pt x="3546" y="5640"/>
                      </a:lnTo>
                      <a:lnTo>
                        <a:pt x="3474" y="5640"/>
                      </a:lnTo>
                      <a:lnTo>
                        <a:pt x="3414" y="5676"/>
                      </a:lnTo>
                      <a:lnTo>
                        <a:pt x="3438" y="5772"/>
                      </a:lnTo>
                      <a:lnTo>
                        <a:pt x="3426" y="5892"/>
                      </a:lnTo>
                      <a:lnTo>
                        <a:pt x="3402" y="5982"/>
                      </a:lnTo>
                      <a:lnTo>
                        <a:pt x="3510" y="6054"/>
                      </a:lnTo>
                      <a:lnTo>
                        <a:pt x="3528" y="6114"/>
                      </a:lnTo>
                      <a:lnTo>
                        <a:pt x="3480" y="6156"/>
                      </a:lnTo>
                      <a:lnTo>
                        <a:pt x="3360" y="6198"/>
                      </a:lnTo>
                      <a:lnTo>
                        <a:pt x="3318" y="6168"/>
                      </a:lnTo>
                      <a:lnTo>
                        <a:pt x="3240" y="6120"/>
                      </a:lnTo>
                      <a:lnTo>
                        <a:pt x="3138" y="6156"/>
                      </a:lnTo>
                      <a:lnTo>
                        <a:pt x="3078" y="6156"/>
                      </a:lnTo>
                      <a:lnTo>
                        <a:pt x="3030" y="6204"/>
                      </a:lnTo>
                      <a:lnTo>
                        <a:pt x="2946" y="6222"/>
                      </a:lnTo>
                      <a:lnTo>
                        <a:pt x="2898" y="6228"/>
                      </a:lnTo>
                      <a:lnTo>
                        <a:pt x="2862" y="6198"/>
                      </a:lnTo>
                      <a:lnTo>
                        <a:pt x="2832" y="6138"/>
                      </a:lnTo>
                      <a:lnTo>
                        <a:pt x="2772" y="6078"/>
                      </a:lnTo>
                      <a:lnTo>
                        <a:pt x="2676" y="6078"/>
                      </a:lnTo>
                      <a:lnTo>
                        <a:pt x="2574" y="6120"/>
                      </a:lnTo>
                      <a:lnTo>
                        <a:pt x="2502" y="6108"/>
                      </a:lnTo>
                      <a:lnTo>
                        <a:pt x="2442" y="6138"/>
                      </a:lnTo>
                      <a:lnTo>
                        <a:pt x="2382" y="6180"/>
                      </a:lnTo>
                      <a:lnTo>
                        <a:pt x="2322" y="6258"/>
                      </a:lnTo>
                      <a:lnTo>
                        <a:pt x="2334" y="6336"/>
                      </a:lnTo>
                      <a:lnTo>
                        <a:pt x="2298" y="6390"/>
                      </a:lnTo>
                      <a:lnTo>
                        <a:pt x="2220" y="6294"/>
                      </a:lnTo>
                      <a:lnTo>
                        <a:pt x="2172" y="6366"/>
                      </a:lnTo>
                      <a:lnTo>
                        <a:pt x="2172" y="6492"/>
                      </a:lnTo>
                      <a:lnTo>
                        <a:pt x="2214" y="6534"/>
                      </a:lnTo>
                      <a:lnTo>
                        <a:pt x="2178" y="6576"/>
                      </a:lnTo>
                      <a:lnTo>
                        <a:pt x="2190" y="6606"/>
                      </a:lnTo>
                      <a:lnTo>
                        <a:pt x="2238" y="6648"/>
                      </a:lnTo>
                      <a:lnTo>
                        <a:pt x="2316" y="6696"/>
                      </a:lnTo>
                      <a:lnTo>
                        <a:pt x="2376" y="6696"/>
                      </a:lnTo>
                      <a:lnTo>
                        <a:pt x="2412" y="6744"/>
                      </a:lnTo>
                      <a:lnTo>
                        <a:pt x="2388" y="6810"/>
                      </a:lnTo>
                      <a:lnTo>
                        <a:pt x="2460" y="6828"/>
                      </a:lnTo>
                      <a:lnTo>
                        <a:pt x="2568" y="6936"/>
                      </a:lnTo>
                      <a:lnTo>
                        <a:pt x="2496" y="7062"/>
                      </a:lnTo>
                      <a:lnTo>
                        <a:pt x="2514" y="7176"/>
                      </a:lnTo>
                      <a:lnTo>
                        <a:pt x="2730" y="7542"/>
                      </a:lnTo>
                      <a:lnTo>
                        <a:pt x="2520" y="7578"/>
                      </a:lnTo>
                      <a:lnTo>
                        <a:pt x="2490" y="7608"/>
                      </a:lnTo>
                      <a:lnTo>
                        <a:pt x="2442" y="7590"/>
                      </a:lnTo>
                      <a:lnTo>
                        <a:pt x="2394" y="7524"/>
                      </a:lnTo>
                      <a:lnTo>
                        <a:pt x="2304" y="7524"/>
                      </a:lnTo>
                      <a:lnTo>
                        <a:pt x="2238" y="7464"/>
                      </a:lnTo>
                      <a:lnTo>
                        <a:pt x="2160" y="7464"/>
                      </a:lnTo>
                      <a:lnTo>
                        <a:pt x="2088" y="7422"/>
                      </a:lnTo>
                      <a:lnTo>
                        <a:pt x="2028" y="7368"/>
                      </a:lnTo>
                      <a:lnTo>
                        <a:pt x="1926" y="7368"/>
                      </a:lnTo>
                      <a:lnTo>
                        <a:pt x="1848" y="7368"/>
                      </a:lnTo>
                      <a:lnTo>
                        <a:pt x="1794" y="7344"/>
                      </a:lnTo>
                      <a:lnTo>
                        <a:pt x="1698" y="7332"/>
                      </a:lnTo>
                      <a:lnTo>
                        <a:pt x="1608" y="7368"/>
                      </a:lnTo>
                      <a:lnTo>
                        <a:pt x="1608" y="7368"/>
                      </a:lnTo>
                      <a:lnTo>
                        <a:pt x="1536" y="7332"/>
                      </a:lnTo>
                      <a:lnTo>
                        <a:pt x="1464" y="7302"/>
                      </a:lnTo>
                      <a:lnTo>
                        <a:pt x="1416" y="7278"/>
                      </a:lnTo>
                      <a:lnTo>
                        <a:pt x="1362" y="7248"/>
                      </a:lnTo>
                      <a:lnTo>
                        <a:pt x="1302" y="7224"/>
                      </a:lnTo>
                      <a:lnTo>
                        <a:pt x="1284" y="7218"/>
                      </a:lnTo>
                      <a:lnTo>
                        <a:pt x="1272" y="7212"/>
                      </a:lnTo>
                      <a:lnTo>
                        <a:pt x="1266" y="7206"/>
                      </a:lnTo>
                      <a:lnTo>
                        <a:pt x="1266" y="7194"/>
                      </a:lnTo>
                      <a:lnTo>
                        <a:pt x="1266" y="7188"/>
                      </a:lnTo>
                      <a:lnTo>
                        <a:pt x="1260" y="7176"/>
                      </a:lnTo>
                      <a:lnTo>
                        <a:pt x="1260" y="7170"/>
                      </a:lnTo>
                      <a:lnTo>
                        <a:pt x="1254" y="7164"/>
                      </a:lnTo>
                      <a:lnTo>
                        <a:pt x="1248" y="7158"/>
                      </a:lnTo>
                      <a:lnTo>
                        <a:pt x="1236" y="7146"/>
                      </a:lnTo>
                      <a:lnTo>
                        <a:pt x="1230" y="7134"/>
                      </a:lnTo>
                      <a:lnTo>
                        <a:pt x="1224" y="7122"/>
                      </a:lnTo>
                      <a:lnTo>
                        <a:pt x="1224" y="7104"/>
                      </a:lnTo>
                      <a:lnTo>
                        <a:pt x="1230" y="7092"/>
                      </a:lnTo>
                      <a:lnTo>
                        <a:pt x="1236" y="7086"/>
                      </a:lnTo>
                      <a:lnTo>
                        <a:pt x="1242" y="7080"/>
                      </a:lnTo>
                      <a:lnTo>
                        <a:pt x="1254" y="7086"/>
                      </a:lnTo>
                      <a:lnTo>
                        <a:pt x="1266" y="7080"/>
                      </a:lnTo>
                      <a:lnTo>
                        <a:pt x="1272" y="7074"/>
                      </a:lnTo>
                      <a:lnTo>
                        <a:pt x="1278" y="7056"/>
                      </a:lnTo>
                      <a:lnTo>
                        <a:pt x="1278" y="7038"/>
                      </a:lnTo>
                      <a:lnTo>
                        <a:pt x="1278" y="7020"/>
                      </a:lnTo>
                      <a:lnTo>
                        <a:pt x="1278" y="7002"/>
                      </a:lnTo>
                      <a:lnTo>
                        <a:pt x="1278" y="6990"/>
                      </a:lnTo>
                      <a:lnTo>
                        <a:pt x="1284" y="6978"/>
                      </a:lnTo>
                      <a:lnTo>
                        <a:pt x="1296" y="6972"/>
                      </a:lnTo>
                      <a:lnTo>
                        <a:pt x="1314" y="6960"/>
                      </a:lnTo>
                      <a:lnTo>
                        <a:pt x="1326" y="6948"/>
                      </a:lnTo>
                      <a:lnTo>
                        <a:pt x="1326" y="6942"/>
                      </a:lnTo>
                      <a:lnTo>
                        <a:pt x="1326" y="6936"/>
                      </a:lnTo>
                      <a:lnTo>
                        <a:pt x="1320" y="6930"/>
                      </a:lnTo>
                      <a:lnTo>
                        <a:pt x="1308" y="6918"/>
                      </a:lnTo>
                      <a:lnTo>
                        <a:pt x="1296" y="6912"/>
                      </a:lnTo>
                      <a:lnTo>
                        <a:pt x="1284" y="6906"/>
                      </a:lnTo>
                      <a:lnTo>
                        <a:pt x="1272" y="6900"/>
                      </a:lnTo>
                      <a:lnTo>
                        <a:pt x="1266" y="6888"/>
                      </a:lnTo>
                      <a:lnTo>
                        <a:pt x="1266" y="6882"/>
                      </a:lnTo>
                      <a:lnTo>
                        <a:pt x="1278" y="6882"/>
                      </a:lnTo>
                      <a:lnTo>
                        <a:pt x="1284" y="6876"/>
                      </a:lnTo>
                      <a:lnTo>
                        <a:pt x="1302" y="6876"/>
                      </a:lnTo>
                      <a:lnTo>
                        <a:pt x="1314" y="6876"/>
                      </a:lnTo>
                      <a:lnTo>
                        <a:pt x="1326" y="6876"/>
                      </a:lnTo>
                      <a:lnTo>
                        <a:pt x="1338" y="6876"/>
                      </a:lnTo>
                      <a:lnTo>
                        <a:pt x="1350" y="6882"/>
                      </a:lnTo>
                      <a:lnTo>
                        <a:pt x="1362" y="6876"/>
                      </a:lnTo>
                      <a:lnTo>
                        <a:pt x="1362" y="6876"/>
                      </a:lnTo>
                      <a:lnTo>
                        <a:pt x="1362" y="6864"/>
                      </a:lnTo>
                      <a:lnTo>
                        <a:pt x="1362" y="6858"/>
                      </a:lnTo>
                      <a:lnTo>
                        <a:pt x="1368" y="6846"/>
                      </a:lnTo>
                      <a:lnTo>
                        <a:pt x="1380" y="6840"/>
                      </a:lnTo>
                      <a:lnTo>
                        <a:pt x="1392" y="6834"/>
                      </a:lnTo>
                      <a:lnTo>
                        <a:pt x="1416" y="6828"/>
                      </a:lnTo>
                      <a:lnTo>
                        <a:pt x="1434" y="6822"/>
                      </a:lnTo>
                      <a:lnTo>
                        <a:pt x="1446" y="6816"/>
                      </a:lnTo>
                      <a:lnTo>
                        <a:pt x="1452" y="6810"/>
                      </a:lnTo>
                      <a:lnTo>
                        <a:pt x="1452" y="6798"/>
                      </a:lnTo>
                      <a:lnTo>
                        <a:pt x="1446" y="6786"/>
                      </a:lnTo>
                      <a:lnTo>
                        <a:pt x="1434" y="6780"/>
                      </a:lnTo>
                      <a:lnTo>
                        <a:pt x="1422" y="6780"/>
                      </a:lnTo>
                      <a:lnTo>
                        <a:pt x="1404" y="6780"/>
                      </a:lnTo>
                      <a:lnTo>
                        <a:pt x="1380" y="6780"/>
                      </a:lnTo>
                      <a:lnTo>
                        <a:pt x="1356" y="6786"/>
                      </a:lnTo>
                      <a:lnTo>
                        <a:pt x="1344" y="6792"/>
                      </a:lnTo>
                      <a:lnTo>
                        <a:pt x="1374" y="6726"/>
                      </a:lnTo>
                      <a:lnTo>
                        <a:pt x="1428" y="6726"/>
                      </a:lnTo>
                      <a:lnTo>
                        <a:pt x="1488" y="6696"/>
                      </a:lnTo>
                      <a:lnTo>
                        <a:pt x="1488" y="6648"/>
                      </a:lnTo>
                      <a:lnTo>
                        <a:pt x="1488" y="6558"/>
                      </a:lnTo>
                      <a:lnTo>
                        <a:pt x="1518" y="6510"/>
                      </a:lnTo>
                      <a:lnTo>
                        <a:pt x="1512" y="6438"/>
                      </a:lnTo>
                      <a:lnTo>
                        <a:pt x="1440" y="6444"/>
                      </a:lnTo>
                      <a:lnTo>
                        <a:pt x="1386" y="6420"/>
                      </a:lnTo>
                      <a:lnTo>
                        <a:pt x="1338" y="6426"/>
                      </a:lnTo>
                      <a:lnTo>
                        <a:pt x="1254" y="6432"/>
                      </a:lnTo>
                      <a:lnTo>
                        <a:pt x="1200" y="6396"/>
                      </a:lnTo>
                      <a:lnTo>
                        <a:pt x="1128" y="6384"/>
                      </a:lnTo>
                      <a:lnTo>
                        <a:pt x="1062" y="6396"/>
                      </a:lnTo>
                      <a:lnTo>
                        <a:pt x="1002" y="6366"/>
                      </a:lnTo>
                      <a:lnTo>
                        <a:pt x="1002" y="6324"/>
                      </a:lnTo>
                      <a:lnTo>
                        <a:pt x="924" y="6270"/>
                      </a:lnTo>
                      <a:lnTo>
                        <a:pt x="876" y="6252"/>
                      </a:lnTo>
                      <a:lnTo>
                        <a:pt x="888" y="6198"/>
                      </a:lnTo>
                      <a:lnTo>
                        <a:pt x="864" y="6138"/>
                      </a:lnTo>
                      <a:lnTo>
                        <a:pt x="798" y="6138"/>
                      </a:lnTo>
                      <a:lnTo>
                        <a:pt x="732" y="6138"/>
                      </a:lnTo>
                      <a:lnTo>
                        <a:pt x="666" y="6132"/>
                      </a:lnTo>
                      <a:lnTo>
                        <a:pt x="594" y="6150"/>
                      </a:lnTo>
                      <a:lnTo>
                        <a:pt x="594" y="6102"/>
                      </a:lnTo>
                      <a:lnTo>
                        <a:pt x="564" y="6054"/>
                      </a:lnTo>
                      <a:lnTo>
                        <a:pt x="600" y="6012"/>
                      </a:lnTo>
                      <a:lnTo>
                        <a:pt x="660" y="6000"/>
                      </a:lnTo>
                      <a:lnTo>
                        <a:pt x="672" y="5964"/>
                      </a:lnTo>
                      <a:lnTo>
                        <a:pt x="654" y="5928"/>
                      </a:lnTo>
                      <a:lnTo>
                        <a:pt x="606" y="5868"/>
                      </a:lnTo>
                      <a:lnTo>
                        <a:pt x="564" y="5850"/>
                      </a:lnTo>
                      <a:lnTo>
                        <a:pt x="516" y="5802"/>
                      </a:lnTo>
                      <a:lnTo>
                        <a:pt x="498" y="5742"/>
                      </a:lnTo>
                      <a:lnTo>
                        <a:pt x="504" y="5688"/>
                      </a:lnTo>
                      <a:lnTo>
                        <a:pt x="480" y="5628"/>
                      </a:lnTo>
                      <a:lnTo>
                        <a:pt x="408" y="5604"/>
                      </a:lnTo>
                      <a:lnTo>
                        <a:pt x="354" y="5610"/>
                      </a:lnTo>
                      <a:lnTo>
                        <a:pt x="276" y="5604"/>
                      </a:lnTo>
                      <a:lnTo>
                        <a:pt x="198" y="5556"/>
                      </a:lnTo>
                      <a:lnTo>
                        <a:pt x="174" y="5520"/>
                      </a:lnTo>
                      <a:lnTo>
                        <a:pt x="138" y="5496"/>
                      </a:lnTo>
                      <a:lnTo>
                        <a:pt x="144" y="5442"/>
                      </a:lnTo>
                      <a:lnTo>
                        <a:pt x="120" y="5418"/>
                      </a:lnTo>
                      <a:lnTo>
                        <a:pt x="96" y="5370"/>
                      </a:lnTo>
                      <a:lnTo>
                        <a:pt x="120" y="5304"/>
                      </a:lnTo>
                      <a:lnTo>
                        <a:pt x="96" y="5220"/>
                      </a:lnTo>
                      <a:lnTo>
                        <a:pt x="96" y="5100"/>
                      </a:lnTo>
                      <a:lnTo>
                        <a:pt x="120" y="5064"/>
                      </a:lnTo>
                      <a:lnTo>
                        <a:pt x="120" y="5016"/>
                      </a:lnTo>
                      <a:lnTo>
                        <a:pt x="150" y="4986"/>
                      </a:lnTo>
                      <a:lnTo>
                        <a:pt x="180" y="4974"/>
                      </a:lnTo>
                      <a:lnTo>
                        <a:pt x="216" y="4968"/>
                      </a:lnTo>
                      <a:lnTo>
                        <a:pt x="252" y="4974"/>
                      </a:lnTo>
                      <a:lnTo>
                        <a:pt x="264" y="4974"/>
                      </a:lnTo>
                      <a:lnTo>
                        <a:pt x="276" y="4968"/>
                      </a:lnTo>
                      <a:lnTo>
                        <a:pt x="282" y="4962"/>
                      </a:lnTo>
                      <a:lnTo>
                        <a:pt x="288" y="4950"/>
                      </a:lnTo>
                      <a:lnTo>
                        <a:pt x="288" y="4938"/>
                      </a:lnTo>
                      <a:lnTo>
                        <a:pt x="288" y="4926"/>
                      </a:lnTo>
                      <a:lnTo>
                        <a:pt x="264" y="4908"/>
                      </a:lnTo>
                      <a:lnTo>
                        <a:pt x="228" y="4896"/>
                      </a:lnTo>
                      <a:lnTo>
                        <a:pt x="180" y="4890"/>
                      </a:lnTo>
                      <a:lnTo>
                        <a:pt x="162" y="4890"/>
                      </a:lnTo>
                      <a:lnTo>
                        <a:pt x="150" y="4884"/>
                      </a:lnTo>
                      <a:lnTo>
                        <a:pt x="144" y="4878"/>
                      </a:lnTo>
                      <a:lnTo>
                        <a:pt x="144" y="4872"/>
                      </a:lnTo>
                      <a:lnTo>
                        <a:pt x="144" y="4866"/>
                      </a:lnTo>
                      <a:lnTo>
                        <a:pt x="144" y="4854"/>
                      </a:lnTo>
                      <a:lnTo>
                        <a:pt x="144" y="4836"/>
                      </a:lnTo>
                      <a:lnTo>
                        <a:pt x="144" y="4830"/>
                      </a:lnTo>
                      <a:lnTo>
                        <a:pt x="144" y="4830"/>
                      </a:lnTo>
                      <a:lnTo>
                        <a:pt x="138" y="4830"/>
                      </a:lnTo>
                      <a:lnTo>
                        <a:pt x="222" y="4734"/>
                      </a:lnTo>
                      <a:lnTo>
                        <a:pt x="276" y="4644"/>
                      </a:lnTo>
                      <a:lnTo>
                        <a:pt x="306" y="4620"/>
                      </a:lnTo>
                      <a:lnTo>
                        <a:pt x="354" y="4524"/>
                      </a:lnTo>
                      <a:lnTo>
                        <a:pt x="378" y="4440"/>
                      </a:lnTo>
                      <a:lnTo>
                        <a:pt x="342" y="4404"/>
                      </a:lnTo>
                      <a:lnTo>
                        <a:pt x="258" y="4362"/>
                      </a:lnTo>
                      <a:lnTo>
                        <a:pt x="258" y="4302"/>
                      </a:lnTo>
                      <a:lnTo>
                        <a:pt x="198" y="4194"/>
                      </a:lnTo>
                      <a:lnTo>
                        <a:pt x="138" y="4116"/>
                      </a:lnTo>
                      <a:lnTo>
                        <a:pt x="126" y="3930"/>
                      </a:lnTo>
                      <a:lnTo>
                        <a:pt x="66" y="3888"/>
                      </a:lnTo>
                      <a:lnTo>
                        <a:pt x="72" y="3810"/>
                      </a:lnTo>
                      <a:lnTo>
                        <a:pt x="48" y="3768"/>
                      </a:lnTo>
                      <a:lnTo>
                        <a:pt x="102" y="3726"/>
                      </a:lnTo>
                      <a:lnTo>
                        <a:pt x="96" y="3648"/>
                      </a:lnTo>
                      <a:lnTo>
                        <a:pt x="6" y="3570"/>
                      </a:lnTo>
                      <a:lnTo>
                        <a:pt x="0" y="3456"/>
                      </a:lnTo>
                      <a:lnTo>
                        <a:pt x="30" y="3438"/>
                      </a:lnTo>
                      <a:lnTo>
                        <a:pt x="18" y="3354"/>
                      </a:lnTo>
                      <a:lnTo>
                        <a:pt x="108" y="3276"/>
                      </a:lnTo>
                      <a:lnTo>
                        <a:pt x="132" y="3294"/>
                      </a:lnTo>
                      <a:lnTo>
                        <a:pt x="150" y="3300"/>
                      </a:lnTo>
                      <a:lnTo>
                        <a:pt x="162" y="3306"/>
                      </a:lnTo>
                      <a:lnTo>
                        <a:pt x="180" y="3300"/>
                      </a:lnTo>
                      <a:lnTo>
                        <a:pt x="186" y="3294"/>
                      </a:lnTo>
                      <a:lnTo>
                        <a:pt x="192" y="3282"/>
                      </a:lnTo>
                      <a:lnTo>
                        <a:pt x="198" y="3264"/>
                      </a:lnTo>
                      <a:lnTo>
                        <a:pt x="198" y="3258"/>
                      </a:lnTo>
                      <a:lnTo>
                        <a:pt x="204" y="3252"/>
                      </a:lnTo>
                      <a:lnTo>
                        <a:pt x="216" y="3246"/>
                      </a:lnTo>
                      <a:lnTo>
                        <a:pt x="234" y="3246"/>
                      </a:lnTo>
                      <a:lnTo>
                        <a:pt x="246" y="3246"/>
                      </a:lnTo>
                      <a:lnTo>
                        <a:pt x="264" y="3246"/>
                      </a:lnTo>
                      <a:lnTo>
                        <a:pt x="276" y="3246"/>
                      </a:lnTo>
                      <a:lnTo>
                        <a:pt x="294" y="3252"/>
                      </a:lnTo>
                      <a:lnTo>
                        <a:pt x="300" y="3258"/>
                      </a:lnTo>
                      <a:lnTo>
                        <a:pt x="300" y="3264"/>
                      </a:lnTo>
                      <a:lnTo>
                        <a:pt x="294" y="3270"/>
                      </a:lnTo>
                      <a:lnTo>
                        <a:pt x="282" y="3282"/>
                      </a:lnTo>
                      <a:lnTo>
                        <a:pt x="276" y="3294"/>
                      </a:lnTo>
                      <a:lnTo>
                        <a:pt x="270" y="3300"/>
                      </a:lnTo>
                      <a:lnTo>
                        <a:pt x="276" y="3312"/>
                      </a:lnTo>
                      <a:lnTo>
                        <a:pt x="288" y="3318"/>
                      </a:lnTo>
                      <a:lnTo>
                        <a:pt x="306" y="3336"/>
                      </a:lnTo>
                      <a:lnTo>
                        <a:pt x="324" y="3348"/>
                      </a:lnTo>
                      <a:lnTo>
                        <a:pt x="342" y="3366"/>
                      </a:lnTo>
                      <a:lnTo>
                        <a:pt x="354" y="3372"/>
                      </a:lnTo>
                      <a:lnTo>
                        <a:pt x="366" y="3378"/>
                      </a:lnTo>
                      <a:lnTo>
                        <a:pt x="366" y="3384"/>
                      </a:lnTo>
                      <a:lnTo>
                        <a:pt x="372" y="3378"/>
                      </a:lnTo>
                      <a:lnTo>
                        <a:pt x="372" y="3372"/>
                      </a:lnTo>
                      <a:lnTo>
                        <a:pt x="366" y="3360"/>
                      </a:lnTo>
                      <a:lnTo>
                        <a:pt x="372" y="3348"/>
                      </a:lnTo>
                      <a:lnTo>
                        <a:pt x="390" y="3342"/>
                      </a:lnTo>
                      <a:lnTo>
                        <a:pt x="426" y="3342"/>
                      </a:lnTo>
                      <a:lnTo>
                        <a:pt x="480" y="3336"/>
                      </a:lnTo>
                      <a:lnTo>
                        <a:pt x="558" y="3342"/>
                      </a:lnTo>
                      <a:lnTo>
                        <a:pt x="630" y="3360"/>
                      </a:lnTo>
                      <a:lnTo>
                        <a:pt x="702" y="3384"/>
                      </a:lnTo>
                      <a:lnTo>
                        <a:pt x="762" y="3408"/>
                      </a:lnTo>
                      <a:lnTo>
                        <a:pt x="810" y="3438"/>
                      </a:lnTo>
                      <a:lnTo>
                        <a:pt x="852" y="3468"/>
                      </a:lnTo>
                      <a:lnTo>
                        <a:pt x="894" y="3498"/>
                      </a:lnTo>
                      <a:lnTo>
                        <a:pt x="930" y="3504"/>
                      </a:lnTo>
                      <a:lnTo>
                        <a:pt x="954" y="3504"/>
                      </a:lnTo>
                      <a:lnTo>
                        <a:pt x="972" y="3510"/>
                      </a:lnTo>
                      <a:lnTo>
                        <a:pt x="990" y="3516"/>
                      </a:lnTo>
                      <a:lnTo>
                        <a:pt x="1008" y="3528"/>
                      </a:lnTo>
                      <a:lnTo>
                        <a:pt x="1014" y="3546"/>
                      </a:lnTo>
                      <a:lnTo>
                        <a:pt x="1020" y="3558"/>
                      </a:lnTo>
                      <a:lnTo>
                        <a:pt x="1026" y="3576"/>
                      </a:lnTo>
                      <a:lnTo>
                        <a:pt x="1032" y="3588"/>
                      </a:lnTo>
                      <a:lnTo>
                        <a:pt x="1044" y="3606"/>
                      </a:lnTo>
                      <a:lnTo>
                        <a:pt x="1056" y="3618"/>
                      </a:lnTo>
                      <a:lnTo>
                        <a:pt x="1074" y="3636"/>
                      </a:lnTo>
                      <a:lnTo>
                        <a:pt x="1086" y="3678"/>
                      </a:lnTo>
                      <a:lnTo>
                        <a:pt x="1080" y="3732"/>
                      </a:lnTo>
                      <a:lnTo>
                        <a:pt x="1062" y="3792"/>
                      </a:lnTo>
                      <a:lnTo>
                        <a:pt x="1044" y="3822"/>
                      </a:lnTo>
                      <a:lnTo>
                        <a:pt x="1014" y="3846"/>
                      </a:lnTo>
                      <a:lnTo>
                        <a:pt x="972" y="3858"/>
                      </a:lnTo>
                      <a:lnTo>
                        <a:pt x="930" y="3870"/>
                      </a:lnTo>
                      <a:lnTo>
                        <a:pt x="858" y="3876"/>
                      </a:lnTo>
                      <a:lnTo>
                        <a:pt x="792" y="3870"/>
                      </a:lnTo>
                      <a:lnTo>
                        <a:pt x="726" y="3852"/>
                      </a:lnTo>
                      <a:lnTo>
                        <a:pt x="672" y="3840"/>
                      </a:lnTo>
                      <a:lnTo>
                        <a:pt x="624" y="3834"/>
                      </a:lnTo>
                      <a:lnTo>
                        <a:pt x="576" y="3828"/>
                      </a:lnTo>
                      <a:lnTo>
                        <a:pt x="540" y="3810"/>
                      </a:lnTo>
                      <a:lnTo>
                        <a:pt x="510" y="3780"/>
                      </a:lnTo>
                      <a:lnTo>
                        <a:pt x="474" y="3762"/>
                      </a:lnTo>
                      <a:lnTo>
                        <a:pt x="426" y="3744"/>
                      </a:lnTo>
                      <a:lnTo>
                        <a:pt x="396" y="3738"/>
                      </a:lnTo>
                      <a:lnTo>
                        <a:pt x="378" y="3732"/>
                      </a:lnTo>
                      <a:lnTo>
                        <a:pt x="366" y="3726"/>
                      </a:lnTo>
                      <a:lnTo>
                        <a:pt x="354" y="3714"/>
                      </a:lnTo>
                      <a:lnTo>
                        <a:pt x="348" y="3708"/>
                      </a:lnTo>
                      <a:lnTo>
                        <a:pt x="336" y="3696"/>
                      </a:lnTo>
                      <a:lnTo>
                        <a:pt x="324" y="3690"/>
                      </a:lnTo>
                      <a:lnTo>
                        <a:pt x="306" y="3684"/>
                      </a:lnTo>
                      <a:lnTo>
                        <a:pt x="288" y="3684"/>
                      </a:lnTo>
                      <a:lnTo>
                        <a:pt x="276" y="3684"/>
                      </a:lnTo>
                      <a:lnTo>
                        <a:pt x="258" y="3690"/>
                      </a:lnTo>
                      <a:lnTo>
                        <a:pt x="246" y="3696"/>
                      </a:lnTo>
                      <a:lnTo>
                        <a:pt x="246" y="3708"/>
                      </a:lnTo>
                      <a:lnTo>
                        <a:pt x="246" y="3720"/>
                      </a:lnTo>
                      <a:lnTo>
                        <a:pt x="246" y="3732"/>
                      </a:lnTo>
                      <a:lnTo>
                        <a:pt x="258" y="3738"/>
                      </a:lnTo>
                      <a:lnTo>
                        <a:pt x="276" y="3744"/>
                      </a:lnTo>
                      <a:lnTo>
                        <a:pt x="300" y="3750"/>
                      </a:lnTo>
                      <a:lnTo>
                        <a:pt x="324" y="3756"/>
                      </a:lnTo>
                      <a:lnTo>
                        <a:pt x="330" y="3762"/>
                      </a:lnTo>
                      <a:lnTo>
                        <a:pt x="336" y="3768"/>
                      </a:lnTo>
                      <a:lnTo>
                        <a:pt x="330" y="3780"/>
                      </a:lnTo>
                      <a:lnTo>
                        <a:pt x="318" y="3786"/>
                      </a:lnTo>
                      <a:lnTo>
                        <a:pt x="300" y="3798"/>
                      </a:lnTo>
                      <a:lnTo>
                        <a:pt x="288" y="3810"/>
                      </a:lnTo>
                      <a:lnTo>
                        <a:pt x="288" y="3816"/>
                      </a:lnTo>
                      <a:lnTo>
                        <a:pt x="288" y="3822"/>
                      </a:lnTo>
                      <a:lnTo>
                        <a:pt x="300" y="3822"/>
                      </a:lnTo>
                      <a:lnTo>
                        <a:pt x="312" y="3828"/>
                      </a:lnTo>
                      <a:lnTo>
                        <a:pt x="330" y="3822"/>
                      </a:lnTo>
                      <a:lnTo>
                        <a:pt x="348" y="3822"/>
                      </a:lnTo>
                      <a:lnTo>
                        <a:pt x="372" y="3816"/>
                      </a:lnTo>
                      <a:lnTo>
                        <a:pt x="384" y="3822"/>
                      </a:lnTo>
                      <a:lnTo>
                        <a:pt x="396" y="3828"/>
                      </a:lnTo>
                      <a:lnTo>
                        <a:pt x="408" y="3840"/>
                      </a:lnTo>
                      <a:lnTo>
                        <a:pt x="414" y="3858"/>
                      </a:lnTo>
                      <a:lnTo>
                        <a:pt x="420" y="3876"/>
                      </a:lnTo>
                      <a:lnTo>
                        <a:pt x="426" y="3882"/>
                      </a:lnTo>
                      <a:lnTo>
                        <a:pt x="432" y="3888"/>
                      </a:lnTo>
                      <a:lnTo>
                        <a:pt x="450" y="3894"/>
                      </a:lnTo>
                      <a:lnTo>
                        <a:pt x="462" y="3894"/>
                      </a:lnTo>
                      <a:lnTo>
                        <a:pt x="486" y="3894"/>
                      </a:lnTo>
                      <a:lnTo>
                        <a:pt x="510" y="3900"/>
                      </a:lnTo>
                      <a:lnTo>
                        <a:pt x="522" y="3906"/>
                      </a:lnTo>
                      <a:lnTo>
                        <a:pt x="534" y="3912"/>
                      </a:lnTo>
                      <a:lnTo>
                        <a:pt x="546" y="3930"/>
                      </a:lnTo>
                      <a:lnTo>
                        <a:pt x="558" y="3942"/>
                      </a:lnTo>
                      <a:lnTo>
                        <a:pt x="570" y="3954"/>
                      </a:lnTo>
                      <a:lnTo>
                        <a:pt x="582" y="3972"/>
                      </a:lnTo>
                      <a:lnTo>
                        <a:pt x="588" y="3978"/>
                      </a:lnTo>
                      <a:lnTo>
                        <a:pt x="588" y="3990"/>
                      </a:lnTo>
                      <a:lnTo>
                        <a:pt x="582" y="3996"/>
                      </a:lnTo>
                      <a:lnTo>
                        <a:pt x="576" y="4008"/>
                      </a:lnTo>
                      <a:lnTo>
                        <a:pt x="570" y="4014"/>
                      </a:lnTo>
                      <a:lnTo>
                        <a:pt x="570" y="4020"/>
                      </a:lnTo>
                      <a:lnTo>
                        <a:pt x="564" y="4026"/>
                      </a:lnTo>
                      <a:lnTo>
                        <a:pt x="570" y="4032"/>
                      </a:lnTo>
                      <a:lnTo>
                        <a:pt x="582" y="4044"/>
                      </a:lnTo>
                      <a:lnTo>
                        <a:pt x="594" y="4050"/>
                      </a:lnTo>
                      <a:lnTo>
                        <a:pt x="600" y="4062"/>
                      </a:lnTo>
                      <a:lnTo>
                        <a:pt x="600" y="4074"/>
                      </a:lnTo>
                      <a:lnTo>
                        <a:pt x="594" y="4086"/>
                      </a:lnTo>
                      <a:lnTo>
                        <a:pt x="588" y="4098"/>
                      </a:lnTo>
                      <a:lnTo>
                        <a:pt x="588" y="4116"/>
                      </a:lnTo>
                      <a:lnTo>
                        <a:pt x="588" y="4134"/>
                      </a:lnTo>
                      <a:lnTo>
                        <a:pt x="606" y="4164"/>
                      </a:lnTo>
                      <a:lnTo>
                        <a:pt x="636" y="4188"/>
                      </a:lnTo>
                      <a:lnTo>
                        <a:pt x="672" y="4200"/>
                      </a:lnTo>
                      <a:lnTo>
                        <a:pt x="708" y="4218"/>
                      </a:lnTo>
                      <a:lnTo>
                        <a:pt x="720" y="4224"/>
                      </a:lnTo>
                      <a:lnTo>
                        <a:pt x="732" y="4236"/>
                      </a:lnTo>
                      <a:lnTo>
                        <a:pt x="738" y="4248"/>
                      </a:lnTo>
                      <a:lnTo>
                        <a:pt x="744" y="4254"/>
                      </a:lnTo>
                      <a:lnTo>
                        <a:pt x="756" y="4260"/>
                      </a:lnTo>
                      <a:lnTo>
                        <a:pt x="762" y="4260"/>
                      </a:lnTo>
                      <a:lnTo>
                        <a:pt x="774" y="4260"/>
                      </a:lnTo>
                      <a:lnTo>
                        <a:pt x="792" y="4254"/>
                      </a:lnTo>
                      <a:lnTo>
                        <a:pt x="804" y="4260"/>
                      </a:lnTo>
                      <a:lnTo>
                        <a:pt x="816" y="4266"/>
                      </a:lnTo>
                      <a:lnTo>
                        <a:pt x="828" y="4272"/>
                      </a:lnTo>
                      <a:lnTo>
                        <a:pt x="840" y="4266"/>
                      </a:lnTo>
                      <a:lnTo>
                        <a:pt x="852" y="4260"/>
                      </a:lnTo>
                      <a:lnTo>
                        <a:pt x="864" y="4248"/>
                      </a:lnTo>
                      <a:lnTo>
                        <a:pt x="876" y="4242"/>
                      </a:lnTo>
                      <a:lnTo>
                        <a:pt x="882" y="4242"/>
                      </a:lnTo>
                      <a:lnTo>
                        <a:pt x="894" y="4242"/>
                      </a:lnTo>
                      <a:lnTo>
                        <a:pt x="900" y="4248"/>
                      </a:lnTo>
                      <a:lnTo>
                        <a:pt x="918" y="4248"/>
                      </a:lnTo>
                      <a:lnTo>
                        <a:pt x="930" y="4248"/>
                      </a:lnTo>
                      <a:lnTo>
                        <a:pt x="936" y="4236"/>
                      </a:lnTo>
                      <a:lnTo>
                        <a:pt x="942" y="4230"/>
                      </a:lnTo>
                      <a:lnTo>
                        <a:pt x="936" y="4212"/>
                      </a:lnTo>
                      <a:lnTo>
                        <a:pt x="930" y="4194"/>
                      </a:lnTo>
                      <a:lnTo>
                        <a:pt x="924" y="4182"/>
                      </a:lnTo>
                      <a:lnTo>
                        <a:pt x="918" y="4170"/>
                      </a:lnTo>
                      <a:lnTo>
                        <a:pt x="912" y="4170"/>
                      </a:lnTo>
                      <a:lnTo>
                        <a:pt x="906" y="4170"/>
                      </a:lnTo>
                      <a:lnTo>
                        <a:pt x="894" y="4170"/>
                      </a:lnTo>
                      <a:lnTo>
                        <a:pt x="882" y="4170"/>
                      </a:lnTo>
                      <a:lnTo>
                        <a:pt x="864" y="4170"/>
                      </a:lnTo>
                      <a:lnTo>
                        <a:pt x="852" y="4164"/>
                      </a:lnTo>
                      <a:lnTo>
                        <a:pt x="846" y="4158"/>
                      </a:lnTo>
                      <a:lnTo>
                        <a:pt x="840" y="4146"/>
                      </a:lnTo>
                      <a:lnTo>
                        <a:pt x="840" y="4128"/>
                      </a:lnTo>
                      <a:lnTo>
                        <a:pt x="828" y="4110"/>
                      </a:lnTo>
                      <a:lnTo>
                        <a:pt x="816" y="4098"/>
                      </a:lnTo>
                      <a:lnTo>
                        <a:pt x="804" y="4086"/>
                      </a:lnTo>
                      <a:lnTo>
                        <a:pt x="792" y="4080"/>
                      </a:lnTo>
                      <a:lnTo>
                        <a:pt x="774" y="4074"/>
                      </a:lnTo>
                      <a:lnTo>
                        <a:pt x="768" y="4062"/>
                      </a:lnTo>
                      <a:lnTo>
                        <a:pt x="762" y="4056"/>
                      </a:lnTo>
                      <a:lnTo>
                        <a:pt x="762" y="4050"/>
                      </a:lnTo>
                      <a:lnTo>
                        <a:pt x="768" y="4044"/>
                      </a:lnTo>
                      <a:lnTo>
                        <a:pt x="786" y="4044"/>
                      </a:lnTo>
                      <a:lnTo>
                        <a:pt x="798" y="4038"/>
                      </a:lnTo>
                      <a:lnTo>
                        <a:pt x="810" y="4038"/>
                      </a:lnTo>
                      <a:lnTo>
                        <a:pt x="828" y="4038"/>
                      </a:lnTo>
                      <a:lnTo>
                        <a:pt x="840" y="4038"/>
                      </a:lnTo>
                      <a:lnTo>
                        <a:pt x="858" y="4038"/>
                      </a:lnTo>
                      <a:lnTo>
                        <a:pt x="876" y="4050"/>
                      </a:lnTo>
                      <a:lnTo>
                        <a:pt x="924" y="4074"/>
                      </a:lnTo>
                      <a:lnTo>
                        <a:pt x="972" y="4092"/>
                      </a:lnTo>
                      <a:lnTo>
                        <a:pt x="1008" y="4086"/>
                      </a:lnTo>
                      <a:lnTo>
                        <a:pt x="1044" y="4068"/>
                      </a:lnTo>
                      <a:lnTo>
                        <a:pt x="1092" y="4062"/>
                      </a:lnTo>
                      <a:lnTo>
                        <a:pt x="1104" y="4056"/>
                      </a:lnTo>
                      <a:lnTo>
                        <a:pt x="1110" y="4050"/>
                      </a:lnTo>
                      <a:lnTo>
                        <a:pt x="1110" y="4044"/>
                      </a:lnTo>
                      <a:lnTo>
                        <a:pt x="1110" y="4032"/>
                      </a:lnTo>
                      <a:lnTo>
                        <a:pt x="1110" y="4020"/>
                      </a:lnTo>
                      <a:lnTo>
                        <a:pt x="1104" y="4008"/>
                      </a:lnTo>
                      <a:lnTo>
                        <a:pt x="1098" y="3996"/>
                      </a:lnTo>
                      <a:lnTo>
                        <a:pt x="1092" y="3984"/>
                      </a:lnTo>
                      <a:lnTo>
                        <a:pt x="1086" y="3978"/>
                      </a:lnTo>
                      <a:lnTo>
                        <a:pt x="1080" y="3972"/>
                      </a:lnTo>
                      <a:lnTo>
                        <a:pt x="1074" y="3966"/>
                      </a:lnTo>
                      <a:lnTo>
                        <a:pt x="1062" y="3960"/>
                      </a:lnTo>
                      <a:lnTo>
                        <a:pt x="1056" y="3960"/>
                      </a:lnTo>
                      <a:lnTo>
                        <a:pt x="1044" y="3954"/>
                      </a:lnTo>
                      <a:lnTo>
                        <a:pt x="1038" y="3948"/>
                      </a:lnTo>
                      <a:lnTo>
                        <a:pt x="1038" y="3936"/>
                      </a:lnTo>
                      <a:lnTo>
                        <a:pt x="1038" y="3924"/>
                      </a:lnTo>
                      <a:lnTo>
                        <a:pt x="1044" y="3912"/>
                      </a:lnTo>
                      <a:lnTo>
                        <a:pt x="1062" y="3900"/>
                      </a:lnTo>
                      <a:lnTo>
                        <a:pt x="1080" y="3888"/>
                      </a:lnTo>
                      <a:lnTo>
                        <a:pt x="1098" y="3882"/>
                      </a:lnTo>
                      <a:lnTo>
                        <a:pt x="1116" y="3870"/>
                      </a:lnTo>
                      <a:lnTo>
                        <a:pt x="1128" y="3858"/>
                      </a:lnTo>
                      <a:lnTo>
                        <a:pt x="1140" y="3846"/>
                      </a:lnTo>
                      <a:lnTo>
                        <a:pt x="1146" y="3828"/>
                      </a:lnTo>
                      <a:lnTo>
                        <a:pt x="1146" y="3810"/>
                      </a:lnTo>
                      <a:lnTo>
                        <a:pt x="1152" y="3792"/>
                      </a:lnTo>
                      <a:lnTo>
                        <a:pt x="1158" y="3780"/>
                      </a:lnTo>
                      <a:lnTo>
                        <a:pt x="1170" y="3768"/>
                      </a:lnTo>
                      <a:lnTo>
                        <a:pt x="1176" y="3762"/>
                      </a:lnTo>
                      <a:lnTo>
                        <a:pt x="1188" y="3762"/>
                      </a:lnTo>
                      <a:lnTo>
                        <a:pt x="1206" y="3756"/>
                      </a:lnTo>
                      <a:lnTo>
                        <a:pt x="1230" y="3756"/>
                      </a:lnTo>
                      <a:lnTo>
                        <a:pt x="1254" y="3762"/>
                      </a:lnTo>
                      <a:lnTo>
                        <a:pt x="1272" y="3762"/>
                      </a:lnTo>
                      <a:lnTo>
                        <a:pt x="1290" y="3774"/>
                      </a:lnTo>
                      <a:lnTo>
                        <a:pt x="1308" y="3798"/>
                      </a:lnTo>
                      <a:lnTo>
                        <a:pt x="1338" y="3828"/>
                      </a:lnTo>
                      <a:lnTo>
                        <a:pt x="1356" y="3846"/>
                      </a:lnTo>
                      <a:lnTo>
                        <a:pt x="1374" y="3858"/>
                      </a:lnTo>
                      <a:lnTo>
                        <a:pt x="1380" y="3864"/>
                      </a:lnTo>
                      <a:lnTo>
                        <a:pt x="1386" y="3864"/>
                      </a:lnTo>
                      <a:lnTo>
                        <a:pt x="1392" y="3864"/>
                      </a:lnTo>
                      <a:lnTo>
                        <a:pt x="1392" y="3858"/>
                      </a:lnTo>
                      <a:lnTo>
                        <a:pt x="1392" y="3846"/>
                      </a:lnTo>
                      <a:lnTo>
                        <a:pt x="1392" y="3840"/>
                      </a:lnTo>
                      <a:lnTo>
                        <a:pt x="1386" y="3828"/>
                      </a:lnTo>
                      <a:lnTo>
                        <a:pt x="1380" y="3816"/>
                      </a:lnTo>
                      <a:lnTo>
                        <a:pt x="1374" y="3798"/>
                      </a:lnTo>
                      <a:lnTo>
                        <a:pt x="1374" y="3780"/>
                      </a:lnTo>
                      <a:lnTo>
                        <a:pt x="1374" y="3768"/>
                      </a:lnTo>
                      <a:lnTo>
                        <a:pt x="1374" y="3750"/>
                      </a:lnTo>
                      <a:lnTo>
                        <a:pt x="1380" y="3726"/>
                      </a:lnTo>
                      <a:lnTo>
                        <a:pt x="1374" y="3702"/>
                      </a:lnTo>
                      <a:lnTo>
                        <a:pt x="1368" y="3684"/>
                      </a:lnTo>
                      <a:lnTo>
                        <a:pt x="1362" y="3672"/>
                      </a:lnTo>
                      <a:lnTo>
                        <a:pt x="1344" y="3666"/>
                      </a:lnTo>
                      <a:lnTo>
                        <a:pt x="1320" y="3654"/>
                      </a:lnTo>
                      <a:lnTo>
                        <a:pt x="1302" y="3636"/>
                      </a:lnTo>
                      <a:lnTo>
                        <a:pt x="1290" y="3612"/>
                      </a:lnTo>
                      <a:lnTo>
                        <a:pt x="1272" y="3582"/>
                      </a:lnTo>
                      <a:lnTo>
                        <a:pt x="1260" y="3540"/>
                      </a:lnTo>
                      <a:lnTo>
                        <a:pt x="1254" y="3498"/>
                      </a:lnTo>
                      <a:lnTo>
                        <a:pt x="1242" y="3462"/>
                      </a:lnTo>
                      <a:lnTo>
                        <a:pt x="1224" y="3444"/>
                      </a:lnTo>
                      <a:lnTo>
                        <a:pt x="1206" y="3426"/>
                      </a:lnTo>
                      <a:lnTo>
                        <a:pt x="1188" y="3408"/>
                      </a:lnTo>
                      <a:lnTo>
                        <a:pt x="1170" y="3390"/>
                      </a:lnTo>
                      <a:lnTo>
                        <a:pt x="1158" y="3378"/>
                      </a:lnTo>
                      <a:lnTo>
                        <a:pt x="1152" y="3366"/>
                      </a:lnTo>
                      <a:lnTo>
                        <a:pt x="1158" y="3360"/>
                      </a:lnTo>
                      <a:lnTo>
                        <a:pt x="1164" y="3354"/>
                      </a:lnTo>
                      <a:lnTo>
                        <a:pt x="1176" y="3354"/>
                      </a:lnTo>
                      <a:lnTo>
                        <a:pt x="1194" y="3360"/>
                      </a:lnTo>
                      <a:lnTo>
                        <a:pt x="1212" y="3366"/>
                      </a:lnTo>
                      <a:lnTo>
                        <a:pt x="1242" y="3384"/>
                      </a:lnTo>
                      <a:lnTo>
                        <a:pt x="1272" y="3384"/>
                      </a:lnTo>
                      <a:lnTo>
                        <a:pt x="1308" y="3372"/>
                      </a:lnTo>
                      <a:lnTo>
                        <a:pt x="1350" y="3366"/>
                      </a:lnTo>
                      <a:lnTo>
                        <a:pt x="1380" y="3366"/>
                      </a:lnTo>
                      <a:lnTo>
                        <a:pt x="1422" y="3372"/>
                      </a:lnTo>
                      <a:lnTo>
                        <a:pt x="1440" y="3378"/>
                      </a:lnTo>
                      <a:lnTo>
                        <a:pt x="1458" y="3384"/>
                      </a:lnTo>
                      <a:lnTo>
                        <a:pt x="1464" y="3390"/>
                      </a:lnTo>
                      <a:lnTo>
                        <a:pt x="1476" y="3402"/>
                      </a:lnTo>
                      <a:lnTo>
                        <a:pt x="1488" y="3420"/>
                      </a:lnTo>
                      <a:lnTo>
                        <a:pt x="1500" y="3432"/>
                      </a:lnTo>
                      <a:lnTo>
                        <a:pt x="1518" y="3450"/>
                      </a:lnTo>
                      <a:lnTo>
                        <a:pt x="1530" y="3468"/>
                      </a:lnTo>
                      <a:lnTo>
                        <a:pt x="1536" y="3480"/>
                      </a:lnTo>
                      <a:lnTo>
                        <a:pt x="1536" y="3486"/>
                      </a:lnTo>
                      <a:lnTo>
                        <a:pt x="1536" y="3498"/>
                      </a:lnTo>
                      <a:lnTo>
                        <a:pt x="1530" y="3498"/>
                      </a:lnTo>
                      <a:lnTo>
                        <a:pt x="1518" y="3504"/>
                      </a:lnTo>
                      <a:lnTo>
                        <a:pt x="1506" y="3504"/>
                      </a:lnTo>
                      <a:lnTo>
                        <a:pt x="1494" y="3498"/>
                      </a:lnTo>
                      <a:lnTo>
                        <a:pt x="1476" y="3492"/>
                      </a:lnTo>
                      <a:lnTo>
                        <a:pt x="1464" y="3486"/>
                      </a:lnTo>
                      <a:lnTo>
                        <a:pt x="1452" y="3486"/>
                      </a:lnTo>
                      <a:lnTo>
                        <a:pt x="1440" y="3492"/>
                      </a:lnTo>
                      <a:lnTo>
                        <a:pt x="1428" y="3504"/>
                      </a:lnTo>
                      <a:lnTo>
                        <a:pt x="1416" y="3522"/>
                      </a:lnTo>
                      <a:lnTo>
                        <a:pt x="1398" y="3546"/>
                      </a:lnTo>
                      <a:lnTo>
                        <a:pt x="1392" y="3576"/>
                      </a:lnTo>
                      <a:lnTo>
                        <a:pt x="1404" y="3606"/>
                      </a:lnTo>
                      <a:lnTo>
                        <a:pt x="1428" y="3624"/>
                      </a:lnTo>
                      <a:lnTo>
                        <a:pt x="1464" y="3648"/>
                      </a:lnTo>
                      <a:lnTo>
                        <a:pt x="1494" y="3666"/>
                      </a:lnTo>
                      <a:lnTo>
                        <a:pt x="1518" y="3678"/>
                      </a:lnTo>
                      <a:lnTo>
                        <a:pt x="1536" y="3678"/>
                      </a:lnTo>
                      <a:lnTo>
                        <a:pt x="1560" y="3672"/>
                      </a:lnTo>
                      <a:lnTo>
                        <a:pt x="1590" y="3666"/>
                      </a:lnTo>
                      <a:lnTo>
                        <a:pt x="1614" y="3666"/>
                      </a:lnTo>
                      <a:lnTo>
                        <a:pt x="1632" y="3666"/>
                      </a:lnTo>
                      <a:lnTo>
                        <a:pt x="1638" y="3660"/>
                      </a:lnTo>
                      <a:lnTo>
                        <a:pt x="1644" y="3660"/>
                      </a:lnTo>
                      <a:lnTo>
                        <a:pt x="1644" y="3654"/>
                      </a:lnTo>
                      <a:lnTo>
                        <a:pt x="1638" y="3648"/>
                      </a:lnTo>
                      <a:lnTo>
                        <a:pt x="1626" y="3624"/>
                      </a:lnTo>
                      <a:lnTo>
                        <a:pt x="1632" y="3588"/>
                      </a:lnTo>
                      <a:lnTo>
                        <a:pt x="1638" y="3552"/>
                      </a:lnTo>
                      <a:lnTo>
                        <a:pt x="1650" y="3522"/>
                      </a:lnTo>
                      <a:lnTo>
                        <a:pt x="1674" y="3486"/>
                      </a:lnTo>
                      <a:lnTo>
                        <a:pt x="1692" y="3450"/>
                      </a:lnTo>
                      <a:lnTo>
                        <a:pt x="1710" y="3420"/>
                      </a:lnTo>
                      <a:lnTo>
                        <a:pt x="1758" y="3396"/>
                      </a:lnTo>
                      <a:lnTo>
                        <a:pt x="1812" y="3372"/>
                      </a:lnTo>
                      <a:lnTo>
                        <a:pt x="1860" y="3354"/>
                      </a:lnTo>
                      <a:lnTo>
                        <a:pt x="1902" y="3330"/>
                      </a:lnTo>
                      <a:lnTo>
                        <a:pt x="1932" y="3318"/>
                      </a:lnTo>
                      <a:lnTo>
                        <a:pt x="1962" y="3312"/>
                      </a:lnTo>
                      <a:lnTo>
                        <a:pt x="1974" y="3312"/>
                      </a:lnTo>
                      <a:lnTo>
                        <a:pt x="1986" y="3312"/>
                      </a:lnTo>
                      <a:lnTo>
                        <a:pt x="1992" y="3306"/>
                      </a:lnTo>
                      <a:lnTo>
                        <a:pt x="1992" y="3300"/>
                      </a:lnTo>
                      <a:lnTo>
                        <a:pt x="1992" y="3288"/>
                      </a:lnTo>
                      <a:lnTo>
                        <a:pt x="1998" y="3282"/>
                      </a:lnTo>
                      <a:lnTo>
                        <a:pt x="2004" y="3270"/>
                      </a:lnTo>
                      <a:lnTo>
                        <a:pt x="2016" y="3246"/>
                      </a:lnTo>
                      <a:lnTo>
                        <a:pt x="2028" y="3222"/>
                      </a:lnTo>
                      <a:lnTo>
                        <a:pt x="2046" y="3198"/>
                      </a:lnTo>
                      <a:lnTo>
                        <a:pt x="2064" y="3174"/>
                      </a:lnTo>
                      <a:lnTo>
                        <a:pt x="2094" y="3156"/>
                      </a:lnTo>
                      <a:lnTo>
                        <a:pt x="2130" y="3138"/>
                      </a:lnTo>
                      <a:lnTo>
                        <a:pt x="2190" y="3132"/>
                      </a:lnTo>
                      <a:lnTo>
                        <a:pt x="2202" y="3132"/>
                      </a:lnTo>
                      <a:lnTo>
                        <a:pt x="2208" y="3138"/>
                      </a:lnTo>
                      <a:lnTo>
                        <a:pt x="2208" y="3138"/>
                      </a:lnTo>
                      <a:lnTo>
                        <a:pt x="2208" y="3144"/>
                      </a:lnTo>
                      <a:lnTo>
                        <a:pt x="2196" y="3150"/>
                      </a:lnTo>
                      <a:lnTo>
                        <a:pt x="2190" y="3162"/>
                      </a:lnTo>
                      <a:lnTo>
                        <a:pt x="2172" y="3168"/>
                      </a:lnTo>
                      <a:lnTo>
                        <a:pt x="2160" y="3174"/>
                      </a:lnTo>
                      <a:lnTo>
                        <a:pt x="2148" y="3180"/>
                      </a:lnTo>
                      <a:lnTo>
                        <a:pt x="2136" y="3192"/>
                      </a:lnTo>
                      <a:lnTo>
                        <a:pt x="2118" y="3198"/>
                      </a:lnTo>
                      <a:lnTo>
                        <a:pt x="2106" y="3210"/>
                      </a:lnTo>
                      <a:lnTo>
                        <a:pt x="2106" y="3228"/>
                      </a:lnTo>
                      <a:lnTo>
                        <a:pt x="2106" y="3240"/>
                      </a:lnTo>
                      <a:lnTo>
                        <a:pt x="2106" y="3252"/>
                      </a:lnTo>
                      <a:lnTo>
                        <a:pt x="2112" y="3270"/>
                      </a:lnTo>
                      <a:lnTo>
                        <a:pt x="2112" y="3282"/>
                      </a:lnTo>
                      <a:lnTo>
                        <a:pt x="2118" y="3294"/>
                      </a:lnTo>
                      <a:lnTo>
                        <a:pt x="2112" y="3306"/>
                      </a:lnTo>
                      <a:lnTo>
                        <a:pt x="2106" y="3312"/>
                      </a:lnTo>
                      <a:lnTo>
                        <a:pt x="2094" y="3318"/>
                      </a:lnTo>
                      <a:lnTo>
                        <a:pt x="2082" y="3324"/>
                      </a:lnTo>
                      <a:lnTo>
                        <a:pt x="2076" y="3330"/>
                      </a:lnTo>
                      <a:lnTo>
                        <a:pt x="2076" y="3348"/>
                      </a:lnTo>
                      <a:lnTo>
                        <a:pt x="2076" y="3360"/>
                      </a:lnTo>
                      <a:lnTo>
                        <a:pt x="2082" y="3372"/>
                      </a:lnTo>
                      <a:lnTo>
                        <a:pt x="2088" y="3378"/>
                      </a:lnTo>
                      <a:lnTo>
                        <a:pt x="2106" y="3384"/>
                      </a:lnTo>
                      <a:lnTo>
                        <a:pt x="2124" y="3384"/>
                      </a:lnTo>
                      <a:lnTo>
                        <a:pt x="2136" y="3378"/>
                      </a:lnTo>
                      <a:lnTo>
                        <a:pt x="2148" y="3372"/>
                      </a:lnTo>
                      <a:lnTo>
                        <a:pt x="2160" y="3366"/>
                      </a:lnTo>
                      <a:lnTo>
                        <a:pt x="2172" y="3360"/>
                      </a:lnTo>
                      <a:lnTo>
                        <a:pt x="2184" y="3348"/>
                      </a:lnTo>
                      <a:lnTo>
                        <a:pt x="2196" y="3342"/>
                      </a:lnTo>
                      <a:lnTo>
                        <a:pt x="2202" y="3330"/>
                      </a:lnTo>
                      <a:lnTo>
                        <a:pt x="2202" y="3318"/>
                      </a:lnTo>
                      <a:lnTo>
                        <a:pt x="2196" y="3306"/>
                      </a:lnTo>
                      <a:lnTo>
                        <a:pt x="2184" y="3300"/>
                      </a:lnTo>
                      <a:lnTo>
                        <a:pt x="2184" y="3288"/>
                      </a:lnTo>
                      <a:lnTo>
                        <a:pt x="2184" y="3276"/>
                      </a:lnTo>
                      <a:lnTo>
                        <a:pt x="2196" y="3270"/>
                      </a:lnTo>
                      <a:lnTo>
                        <a:pt x="2202" y="3258"/>
                      </a:lnTo>
                      <a:lnTo>
                        <a:pt x="2214" y="3246"/>
                      </a:lnTo>
                      <a:lnTo>
                        <a:pt x="2226" y="3234"/>
                      </a:lnTo>
                      <a:lnTo>
                        <a:pt x="2250" y="3228"/>
                      </a:lnTo>
                      <a:lnTo>
                        <a:pt x="2286" y="3228"/>
                      </a:lnTo>
                      <a:lnTo>
                        <a:pt x="2328" y="3240"/>
                      </a:lnTo>
                      <a:lnTo>
                        <a:pt x="2370" y="3252"/>
                      </a:lnTo>
                      <a:lnTo>
                        <a:pt x="2382" y="3252"/>
                      </a:lnTo>
                      <a:lnTo>
                        <a:pt x="2394" y="3252"/>
                      </a:lnTo>
                      <a:lnTo>
                        <a:pt x="2400" y="3246"/>
                      </a:lnTo>
                      <a:lnTo>
                        <a:pt x="2406" y="3240"/>
                      </a:lnTo>
                      <a:lnTo>
                        <a:pt x="2400" y="3234"/>
                      </a:lnTo>
                      <a:lnTo>
                        <a:pt x="2400" y="3228"/>
                      </a:lnTo>
                      <a:lnTo>
                        <a:pt x="2394" y="3216"/>
                      </a:lnTo>
                      <a:lnTo>
                        <a:pt x="2382" y="3210"/>
                      </a:lnTo>
                      <a:lnTo>
                        <a:pt x="2376" y="3198"/>
                      </a:lnTo>
                      <a:lnTo>
                        <a:pt x="2382" y="3192"/>
                      </a:lnTo>
                      <a:lnTo>
                        <a:pt x="2388" y="3186"/>
                      </a:lnTo>
                      <a:lnTo>
                        <a:pt x="2406" y="3180"/>
                      </a:lnTo>
                      <a:lnTo>
                        <a:pt x="2424" y="3174"/>
                      </a:lnTo>
                      <a:lnTo>
                        <a:pt x="2442" y="3174"/>
                      </a:lnTo>
                      <a:lnTo>
                        <a:pt x="2466" y="3174"/>
                      </a:lnTo>
                      <a:lnTo>
                        <a:pt x="2484" y="3174"/>
                      </a:lnTo>
                      <a:lnTo>
                        <a:pt x="2502" y="3174"/>
                      </a:lnTo>
                      <a:lnTo>
                        <a:pt x="2514" y="3168"/>
                      </a:lnTo>
                      <a:lnTo>
                        <a:pt x="2526" y="3156"/>
                      </a:lnTo>
                      <a:lnTo>
                        <a:pt x="2538" y="3144"/>
                      </a:lnTo>
                      <a:lnTo>
                        <a:pt x="2550" y="3144"/>
                      </a:lnTo>
                      <a:lnTo>
                        <a:pt x="2562" y="3150"/>
                      </a:lnTo>
                      <a:lnTo>
                        <a:pt x="2568" y="3168"/>
                      </a:lnTo>
                      <a:lnTo>
                        <a:pt x="2574" y="3192"/>
                      </a:lnTo>
                      <a:lnTo>
                        <a:pt x="2580" y="3204"/>
                      </a:lnTo>
                      <a:lnTo>
                        <a:pt x="2586" y="3216"/>
                      </a:lnTo>
                      <a:lnTo>
                        <a:pt x="2598" y="3222"/>
                      </a:lnTo>
                      <a:lnTo>
                        <a:pt x="2604" y="3222"/>
                      </a:lnTo>
                      <a:lnTo>
                        <a:pt x="2616" y="3222"/>
                      </a:lnTo>
                      <a:lnTo>
                        <a:pt x="2628" y="3216"/>
                      </a:lnTo>
                      <a:lnTo>
                        <a:pt x="2640" y="3210"/>
                      </a:lnTo>
                      <a:lnTo>
                        <a:pt x="2646" y="3180"/>
                      </a:lnTo>
                      <a:lnTo>
                        <a:pt x="2646" y="3138"/>
                      </a:lnTo>
                      <a:lnTo>
                        <a:pt x="2634" y="3102"/>
                      </a:lnTo>
                      <a:lnTo>
                        <a:pt x="2628" y="3072"/>
                      </a:lnTo>
                      <a:lnTo>
                        <a:pt x="2622" y="3054"/>
                      </a:lnTo>
                      <a:lnTo>
                        <a:pt x="2622" y="3042"/>
                      </a:lnTo>
                      <a:lnTo>
                        <a:pt x="2634" y="3030"/>
                      </a:lnTo>
                      <a:lnTo>
                        <a:pt x="2640" y="3018"/>
                      </a:lnTo>
                      <a:lnTo>
                        <a:pt x="2658" y="3018"/>
                      </a:lnTo>
                      <a:lnTo>
                        <a:pt x="2670" y="3018"/>
                      </a:lnTo>
                      <a:lnTo>
                        <a:pt x="2682" y="3012"/>
                      </a:lnTo>
                      <a:lnTo>
                        <a:pt x="2688" y="3006"/>
                      </a:lnTo>
                      <a:lnTo>
                        <a:pt x="2688" y="3000"/>
                      </a:lnTo>
                      <a:lnTo>
                        <a:pt x="2682" y="2988"/>
                      </a:lnTo>
                      <a:lnTo>
                        <a:pt x="2676" y="2982"/>
                      </a:lnTo>
                      <a:lnTo>
                        <a:pt x="2682" y="2976"/>
                      </a:lnTo>
                      <a:lnTo>
                        <a:pt x="2694" y="2976"/>
                      </a:lnTo>
                      <a:lnTo>
                        <a:pt x="2706" y="2976"/>
                      </a:lnTo>
                      <a:lnTo>
                        <a:pt x="2718" y="2982"/>
                      </a:lnTo>
                      <a:lnTo>
                        <a:pt x="2736" y="2982"/>
                      </a:lnTo>
                      <a:lnTo>
                        <a:pt x="2748" y="2988"/>
                      </a:lnTo>
                      <a:lnTo>
                        <a:pt x="2754" y="2994"/>
                      </a:lnTo>
                      <a:lnTo>
                        <a:pt x="2766" y="2994"/>
                      </a:lnTo>
                      <a:lnTo>
                        <a:pt x="2784" y="3000"/>
                      </a:lnTo>
                      <a:lnTo>
                        <a:pt x="2802" y="2994"/>
                      </a:lnTo>
                      <a:lnTo>
                        <a:pt x="2826" y="2988"/>
                      </a:lnTo>
                      <a:lnTo>
                        <a:pt x="2838" y="2970"/>
                      </a:lnTo>
                      <a:lnTo>
                        <a:pt x="2862" y="2958"/>
                      </a:lnTo>
                      <a:lnTo>
                        <a:pt x="2892" y="2964"/>
                      </a:lnTo>
                      <a:lnTo>
                        <a:pt x="2928" y="2982"/>
                      </a:lnTo>
                      <a:lnTo>
                        <a:pt x="2964" y="2994"/>
                      </a:lnTo>
                      <a:lnTo>
                        <a:pt x="2982" y="3000"/>
                      </a:lnTo>
                      <a:lnTo>
                        <a:pt x="2994" y="3006"/>
                      </a:lnTo>
                      <a:lnTo>
                        <a:pt x="3006" y="3018"/>
                      </a:lnTo>
                      <a:lnTo>
                        <a:pt x="3018" y="3024"/>
                      </a:lnTo>
                      <a:lnTo>
                        <a:pt x="3030" y="3030"/>
                      </a:lnTo>
                      <a:lnTo>
                        <a:pt x="3048" y="3042"/>
                      </a:lnTo>
                      <a:lnTo>
                        <a:pt x="3096" y="3060"/>
                      </a:lnTo>
                      <a:lnTo>
                        <a:pt x="3150" y="3066"/>
                      </a:lnTo>
                      <a:lnTo>
                        <a:pt x="3198" y="3072"/>
                      </a:lnTo>
                      <a:lnTo>
                        <a:pt x="3246" y="3084"/>
                      </a:lnTo>
                      <a:lnTo>
                        <a:pt x="3282" y="3108"/>
                      </a:lnTo>
                      <a:lnTo>
                        <a:pt x="3318" y="3144"/>
                      </a:lnTo>
                      <a:lnTo>
                        <a:pt x="3330" y="3156"/>
                      </a:lnTo>
                      <a:lnTo>
                        <a:pt x="3342" y="3168"/>
                      </a:lnTo>
                      <a:lnTo>
                        <a:pt x="3348" y="3174"/>
                      </a:lnTo>
                      <a:lnTo>
                        <a:pt x="3354" y="3174"/>
                      </a:lnTo>
                      <a:lnTo>
                        <a:pt x="3360" y="3174"/>
                      </a:lnTo>
                      <a:lnTo>
                        <a:pt x="3366" y="3162"/>
                      </a:lnTo>
                      <a:lnTo>
                        <a:pt x="3360" y="3132"/>
                      </a:lnTo>
                      <a:lnTo>
                        <a:pt x="3348" y="3090"/>
                      </a:lnTo>
                      <a:lnTo>
                        <a:pt x="3336" y="3042"/>
                      </a:lnTo>
                      <a:lnTo>
                        <a:pt x="3318" y="3006"/>
                      </a:lnTo>
                      <a:lnTo>
                        <a:pt x="3288" y="2976"/>
                      </a:lnTo>
                      <a:lnTo>
                        <a:pt x="3258" y="2952"/>
                      </a:lnTo>
                      <a:lnTo>
                        <a:pt x="3222" y="2922"/>
                      </a:lnTo>
                      <a:lnTo>
                        <a:pt x="3210" y="2904"/>
                      </a:lnTo>
                      <a:lnTo>
                        <a:pt x="3192" y="2898"/>
                      </a:lnTo>
                      <a:lnTo>
                        <a:pt x="3186" y="2892"/>
                      </a:lnTo>
                      <a:lnTo>
                        <a:pt x="3174" y="2892"/>
                      </a:lnTo>
                      <a:lnTo>
                        <a:pt x="3168" y="2892"/>
                      </a:lnTo>
                      <a:lnTo>
                        <a:pt x="3162" y="2898"/>
                      </a:lnTo>
                      <a:lnTo>
                        <a:pt x="3156" y="2904"/>
                      </a:lnTo>
                      <a:lnTo>
                        <a:pt x="3150" y="2910"/>
                      </a:lnTo>
                      <a:lnTo>
                        <a:pt x="3144" y="2916"/>
                      </a:lnTo>
                      <a:lnTo>
                        <a:pt x="3144" y="2916"/>
                      </a:lnTo>
                      <a:lnTo>
                        <a:pt x="3138" y="2916"/>
                      </a:lnTo>
                      <a:lnTo>
                        <a:pt x="3126" y="2916"/>
                      </a:lnTo>
                      <a:lnTo>
                        <a:pt x="3120" y="2910"/>
                      </a:lnTo>
                      <a:lnTo>
                        <a:pt x="3108" y="2898"/>
                      </a:lnTo>
                      <a:lnTo>
                        <a:pt x="3102" y="2880"/>
                      </a:lnTo>
                      <a:lnTo>
                        <a:pt x="3096" y="2862"/>
                      </a:lnTo>
                      <a:lnTo>
                        <a:pt x="3096" y="2850"/>
                      </a:lnTo>
                      <a:lnTo>
                        <a:pt x="3096" y="2838"/>
                      </a:lnTo>
                      <a:lnTo>
                        <a:pt x="3096" y="2826"/>
                      </a:lnTo>
                      <a:lnTo>
                        <a:pt x="3096" y="2808"/>
                      </a:lnTo>
                      <a:lnTo>
                        <a:pt x="3090" y="2796"/>
                      </a:lnTo>
                      <a:lnTo>
                        <a:pt x="3090" y="2784"/>
                      </a:lnTo>
                      <a:lnTo>
                        <a:pt x="3096" y="2778"/>
                      </a:lnTo>
                      <a:lnTo>
                        <a:pt x="3102" y="2772"/>
                      </a:lnTo>
                      <a:lnTo>
                        <a:pt x="3114" y="2772"/>
                      </a:lnTo>
                      <a:lnTo>
                        <a:pt x="3126" y="2766"/>
                      </a:lnTo>
                      <a:lnTo>
                        <a:pt x="3138" y="2760"/>
                      </a:lnTo>
                      <a:lnTo>
                        <a:pt x="3132" y="2742"/>
                      </a:lnTo>
                      <a:lnTo>
                        <a:pt x="3120" y="2718"/>
                      </a:lnTo>
                      <a:lnTo>
                        <a:pt x="3102" y="2688"/>
                      </a:lnTo>
                      <a:lnTo>
                        <a:pt x="3084" y="2670"/>
                      </a:lnTo>
                      <a:lnTo>
                        <a:pt x="3072" y="2658"/>
                      </a:lnTo>
                      <a:lnTo>
                        <a:pt x="3066" y="2658"/>
                      </a:lnTo>
                      <a:lnTo>
                        <a:pt x="3060" y="2652"/>
                      </a:lnTo>
                      <a:lnTo>
                        <a:pt x="3054" y="2646"/>
                      </a:lnTo>
                      <a:lnTo>
                        <a:pt x="3048" y="2640"/>
                      </a:lnTo>
                      <a:lnTo>
                        <a:pt x="3042" y="2634"/>
                      </a:lnTo>
                      <a:lnTo>
                        <a:pt x="3042" y="2622"/>
                      </a:lnTo>
                      <a:lnTo>
                        <a:pt x="3042" y="2604"/>
                      </a:lnTo>
                      <a:lnTo>
                        <a:pt x="3048" y="2586"/>
                      </a:lnTo>
                      <a:lnTo>
                        <a:pt x="3060" y="2568"/>
                      </a:lnTo>
                      <a:lnTo>
                        <a:pt x="3072" y="2556"/>
                      </a:lnTo>
                      <a:lnTo>
                        <a:pt x="3090" y="2556"/>
                      </a:lnTo>
                      <a:lnTo>
                        <a:pt x="3108" y="2550"/>
                      </a:lnTo>
                      <a:lnTo>
                        <a:pt x="3132" y="2550"/>
                      </a:lnTo>
                      <a:lnTo>
                        <a:pt x="3168" y="2544"/>
                      </a:lnTo>
                      <a:lnTo>
                        <a:pt x="3186" y="2520"/>
                      </a:lnTo>
                      <a:lnTo>
                        <a:pt x="3192" y="2484"/>
                      </a:lnTo>
                      <a:lnTo>
                        <a:pt x="3180" y="2442"/>
                      </a:lnTo>
                      <a:lnTo>
                        <a:pt x="3162" y="2376"/>
                      </a:lnTo>
                      <a:lnTo>
                        <a:pt x="3156" y="2316"/>
                      </a:lnTo>
                      <a:lnTo>
                        <a:pt x="3156" y="2268"/>
                      </a:lnTo>
                      <a:lnTo>
                        <a:pt x="3156" y="2250"/>
                      </a:lnTo>
                      <a:lnTo>
                        <a:pt x="3162" y="2238"/>
                      </a:lnTo>
                      <a:lnTo>
                        <a:pt x="3180" y="2232"/>
                      </a:lnTo>
                      <a:lnTo>
                        <a:pt x="3192" y="2226"/>
                      </a:lnTo>
                      <a:lnTo>
                        <a:pt x="3210" y="2226"/>
                      </a:lnTo>
                      <a:lnTo>
                        <a:pt x="3228" y="2232"/>
                      </a:lnTo>
                      <a:lnTo>
                        <a:pt x="3246" y="2238"/>
                      </a:lnTo>
                      <a:lnTo>
                        <a:pt x="3264" y="2244"/>
                      </a:lnTo>
                      <a:lnTo>
                        <a:pt x="3282" y="2238"/>
                      </a:lnTo>
                      <a:lnTo>
                        <a:pt x="3300" y="2238"/>
                      </a:lnTo>
                      <a:lnTo>
                        <a:pt x="3324" y="2238"/>
                      </a:lnTo>
                      <a:lnTo>
                        <a:pt x="3378" y="2238"/>
                      </a:lnTo>
                      <a:lnTo>
                        <a:pt x="3432" y="2256"/>
                      </a:lnTo>
                      <a:lnTo>
                        <a:pt x="3462" y="2280"/>
                      </a:lnTo>
                      <a:lnTo>
                        <a:pt x="3480" y="2310"/>
                      </a:lnTo>
                      <a:lnTo>
                        <a:pt x="3486" y="2352"/>
                      </a:lnTo>
                      <a:lnTo>
                        <a:pt x="3480" y="2400"/>
                      </a:lnTo>
                      <a:lnTo>
                        <a:pt x="3480" y="2436"/>
                      </a:lnTo>
                      <a:lnTo>
                        <a:pt x="3474" y="2466"/>
                      </a:lnTo>
                      <a:lnTo>
                        <a:pt x="3474" y="2484"/>
                      </a:lnTo>
                      <a:lnTo>
                        <a:pt x="3474" y="2496"/>
                      </a:lnTo>
                      <a:lnTo>
                        <a:pt x="3486" y="2502"/>
                      </a:lnTo>
                      <a:lnTo>
                        <a:pt x="3498" y="2514"/>
                      </a:lnTo>
                      <a:lnTo>
                        <a:pt x="3516" y="2526"/>
                      </a:lnTo>
                      <a:lnTo>
                        <a:pt x="3528" y="2538"/>
                      </a:lnTo>
                      <a:lnTo>
                        <a:pt x="3540" y="2544"/>
                      </a:lnTo>
                      <a:lnTo>
                        <a:pt x="3552" y="2550"/>
                      </a:lnTo>
                      <a:lnTo>
                        <a:pt x="3564" y="2562"/>
                      </a:lnTo>
                      <a:lnTo>
                        <a:pt x="3576" y="2580"/>
                      </a:lnTo>
                      <a:lnTo>
                        <a:pt x="3588" y="2598"/>
                      </a:lnTo>
                      <a:lnTo>
                        <a:pt x="3594" y="2616"/>
                      </a:lnTo>
                      <a:lnTo>
                        <a:pt x="3594" y="2628"/>
                      </a:lnTo>
                      <a:lnTo>
                        <a:pt x="3594" y="2634"/>
                      </a:lnTo>
                      <a:lnTo>
                        <a:pt x="3582" y="2646"/>
                      </a:lnTo>
                      <a:lnTo>
                        <a:pt x="3576" y="2652"/>
                      </a:lnTo>
                      <a:lnTo>
                        <a:pt x="3570" y="2664"/>
                      </a:lnTo>
                      <a:lnTo>
                        <a:pt x="3570" y="2670"/>
                      </a:lnTo>
                      <a:lnTo>
                        <a:pt x="3576" y="2682"/>
                      </a:lnTo>
                      <a:lnTo>
                        <a:pt x="3588" y="2688"/>
                      </a:lnTo>
                      <a:lnTo>
                        <a:pt x="3594" y="2694"/>
                      </a:lnTo>
                      <a:lnTo>
                        <a:pt x="3606" y="2694"/>
                      </a:lnTo>
                      <a:lnTo>
                        <a:pt x="3606" y="2700"/>
                      </a:lnTo>
                      <a:lnTo>
                        <a:pt x="3612" y="2712"/>
                      </a:lnTo>
                      <a:lnTo>
                        <a:pt x="3612" y="2730"/>
                      </a:lnTo>
                      <a:lnTo>
                        <a:pt x="3612" y="2754"/>
                      </a:lnTo>
                      <a:lnTo>
                        <a:pt x="3618" y="2790"/>
                      </a:lnTo>
                      <a:lnTo>
                        <a:pt x="3630" y="2820"/>
                      </a:lnTo>
                      <a:lnTo>
                        <a:pt x="3654" y="2844"/>
                      </a:lnTo>
                      <a:lnTo>
                        <a:pt x="3678" y="2880"/>
                      </a:lnTo>
                      <a:lnTo>
                        <a:pt x="3708" y="2934"/>
                      </a:lnTo>
                      <a:lnTo>
                        <a:pt x="3726" y="2964"/>
                      </a:lnTo>
                      <a:lnTo>
                        <a:pt x="3750" y="2988"/>
                      </a:lnTo>
                      <a:lnTo>
                        <a:pt x="3762" y="2988"/>
                      </a:lnTo>
                      <a:lnTo>
                        <a:pt x="3774" y="2994"/>
                      </a:lnTo>
                      <a:lnTo>
                        <a:pt x="3780" y="2994"/>
                      </a:lnTo>
                      <a:lnTo>
                        <a:pt x="3786" y="2994"/>
                      </a:lnTo>
                      <a:lnTo>
                        <a:pt x="3786" y="3000"/>
                      </a:lnTo>
                      <a:lnTo>
                        <a:pt x="3786" y="3006"/>
                      </a:lnTo>
                      <a:lnTo>
                        <a:pt x="3780" y="3018"/>
                      </a:lnTo>
                      <a:lnTo>
                        <a:pt x="3774" y="3030"/>
                      </a:lnTo>
                      <a:lnTo>
                        <a:pt x="3768" y="3036"/>
                      </a:lnTo>
                      <a:lnTo>
                        <a:pt x="3762" y="3048"/>
                      </a:lnTo>
                      <a:lnTo>
                        <a:pt x="3762" y="3054"/>
                      </a:lnTo>
                      <a:lnTo>
                        <a:pt x="3762" y="3060"/>
                      </a:lnTo>
                      <a:lnTo>
                        <a:pt x="3768" y="3072"/>
                      </a:lnTo>
                      <a:lnTo>
                        <a:pt x="3774" y="3090"/>
                      </a:lnTo>
                      <a:lnTo>
                        <a:pt x="3780" y="3108"/>
                      </a:lnTo>
                      <a:lnTo>
                        <a:pt x="3786" y="3120"/>
                      </a:lnTo>
                      <a:lnTo>
                        <a:pt x="3786" y="3138"/>
                      </a:lnTo>
                      <a:lnTo>
                        <a:pt x="3780" y="3156"/>
                      </a:lnTo>
                      <a:lnTo>
                        <a:pt x="3768" y="3168"/>
                      </a:lnTo>
                      <a:lnTo>
                        <a:pt x="3756" y="3174"/>
                      </a:lnTo>
                      <a:lnTo>
                        <a:pt x="3750" y="3186"/>
                      </a:lnTo>
                      <a:lnTo>
                        <a:pt x="3738" y="3198"/>
                      </a:lnTo>
                      <a:lnTo>
                        <a:pt x="3732" y="3216"/>
                      </a:lnTo>
                      <a:lnTo>
                        <a:pt x="3726" y="3240"/>
                      </a:lnTo>
                      <a:lnTo>
                        <a:pt x="3726" y="3276"/>
                      </a:lnTo>
                      <a:lnTo>
                        <a:pt x="3720" y="3300"/>
                      </a:lnTo>
                      <a:lnTo>
                        <a:pt x="3708" y="3336"/>
                      </a:lnTo>
                      <a:lnTo>
                        <a:pt x="3702" y="3354"/>
                      </a:lnTo>
                      <a:lnTo>
                        <a:pt x="3690" y="3372"/>
                      </a:lnTo>
                      <a:lnTo>
                        <a:pt x="3678" y="3378"/>
                      </a:lnTo>
                      <a:lnTo>
                        <a:pt x="3660" y="3378"/>
                      </a:lnTo>
                      <a:lnTo>
                        <a:pt x="3642" y="3372"/>
                      </a:lnTo>
                      <a:lnTo>
                        <a:pt x="3618" y="3366"/>
                      </a:lnTo>
                      <a:lnTo>
                        <a:pt x="3606" y="3360"/>
                      </a:lnTo>
                      <a:lnTo>
                        <a:pt x="3588" y="3360"/>
                      </a:lnTo>
                      <a:lnTo>
                        <a:pt x="3576" y="3360"/>
                      </a:lnTo>
                      <a:lnTo>
                        <a:pt x="3564" y="3360"/>
                      </a:lnTo>
                      <a:lnTo>
                        <a:pt x="3558" y="3366"/>
                      </a:lnTo>
                      <a:lnTo>
                        <a:pt x="3558" y="3372"/>
                      </a:lnTo>
                      <a:lnTo>
                        <a:pt x="3558" y="3384"/>
                      </a:lnTo>
                      <a:lnTo>
                        <a:pt x="3570" y="3396"/>
                      </a:lnTo>
                      <a:lnTo>
                        <a:pt x="3576" y="3408"/>
                      </a:lnTo>
                      <a:lnTo>
                        <a:pt x="3576" y="3414"/>
                      </a:lnTo>
                      <a:lnTo>
                        <a:pt x="3570" y="3420"/>
                      </a:lnTo>
                      <a:lnTo>
                        <a:pt x="3564" y="3420"/>
                      </a:lnTo>
                      <a:lnTo>
                        <a:pt x="3558" y="3420"/>
                      </a:lnTo>
                      <a:lnTo>
                        <a:pt x="3546" y="3420"/>
                      </a:lnTo>
                      <a:lnTo>
                        <a:pt x="3534" y="3414"/>
                      </a:lnTo>
                      <a:lnTo>
                        <a:pt x="3516" y="3408"/>
                      </a:lnTo>
                      <a:lnTo>
                        <a:pt x="3504" y="3408"/>
                      </a:lnTo>
                      <a:lnTo>
                        <a:pt x="3492" y="3402"/>
                      </a:lnTo>
                      <a:lnTo>
                        <a:pt x="3486" y="3402"/>
                      </a:lnTo>
                      <a:lnTo>
                        <a:pt x="3480" y="3408"/>
                      </a:lnTo>
                      <a:lnTo>
                        <a:pt x="3480" y="3414"/>
                      </a:lnTo>
                      <a:lnTo>
                        <a:pt x="3480" y="3426"/>
                      </a:lnTo>
                      <a:lnTo>
                        <a:pt x="3492" y="3438"/>
                      </a:lnTo>
                      <a:lnTo>
                        <a:pt x="3498" y="3450"/>
                      </a:lnTo>
                      <a:lnTo>
                        <a:pt x="3510" y="3462"/>
                      </a:lnTo>
                      <a:lnTo>
                        <a:pt x="3534" y="3486"/>
                      </a:lnTo>
                      <a:lnTo>
                        <a:pt x="3558" y="3492"/>
                      </a:lnTo>
                      <a:lnTo>
                        <a:pt x="3576" y="3486"/>
                      </a:lnTo>
                      <a:lnTo>
                        <a:pt x="3606" y="3474"/>
                      </a:lnTo>
                      <a:lnTo>
                        <a:pt x="3630" y="3468"/>
                      </a:lnTo>
                      <a:lnTo>
                        <a:pt x="3648" y="3468"/>
                      </a:lnTo>
                      <a:lnTo>
                        <a:pt x="3660" y="3468"/>
                      </a:lnTo>
                      <a:lnTo>
                        <a:pt x="3672" y="3468"/>
                      </a:lnTo>
                      <a:lnTo>
                        <a:pt x="3684" y="3474"/>
                      </a:lnTo>
                      <a:lnTo>
                        <a:pt x="3696" y="3486"/>
                      </a:lnTo>
                      <a:lnTo>
                        <a:pt x="3708" y="3498"/>
                      </a:lnTo>
                      <a:lnTo>
                        <a:pt x="3720" y="3498"/>
                      </a:lnTo>
                      <a:lnTo>
                        <a:pt x="3732" y="3498"/>
                      </a:lnTo>
                      <a:lnTo>
                        <a:pt x="3744" y="3486"/>
                      </a:lnTo>
                      <a:lnTo>
                        <a:pt x="3756" y="3474"/>
                      </a:lnTo>
                      <a:lnTo>
                        <a:pt x="3768" y="3462"/>
                      </a:lnTo>
                      <a:lnTo>
                        <a:pt x="3780" y="3456"/>
                      </a:lnTo>
                      <a:lnTo>
                        <a:pt x="3798" y="3456"/>
                      </a:lnTo>
                      <a:lnTo>
                        <a:pt x="3816" y="3450"/>
                      </a:lnTo>
                      <a:lnTo>
                        <a:pt x="3834" y="3450"/>
                      </a:lnTo>
                      <a:lnTo>
                        <a:pt x="3846" y="3444"/>
                      </a:lnTo>
                      <a:lnTo>
                        <a:pt x="3864" y="3414"/>
                      </a:lnTo>
                      <a:lnTo>
                        <a:pt x="3870" y="3372"/>
                      </a:lnTo>
                      <a:lnTo>
                        <a:pt x="3882" y="3318"/>
                      </a:lnTo>
                      <a:lnTo>
                        <a:pt x="3906" y="3270"/>
                      </a:lnTo>
                      <a:lnTo>
                        <a:pt x="3936" y="3228"/>
                      </a:lnTo>
                      <a:lnTo>
                        <a:pt x="3948" y="3186"/>
                      </a:lnTo>
                      <a:lnTo>
                        <a:pt x="3942" y="3162"/>
                      </a:lnTo>
                      <a:lnTo>
                        <a:pt x="3930" y="3144"/>
                      </a:lnTo>
                      <a:lnTo>
                        <a:pt x="3912" y="3114"/>
                      </a:lnTo>
                      <a:lnTo>
                        <a:pt x="3906" y="3072"/>
                      </a:lnTo>
                      <a:lnTo>
                        <a:pt x="3906" y="3024"/>
                      </a:lnTo>
                      <a:lnTo>
                        <a:pt x="3918" y="2994"/>
                      </a:lnTo>
                      <a:lnTo>
                        <a:pt x="3942" y="2970"/>
                      </a:lnTo>
                      <a:lnTo>
                        <a:pt x="3966" y="2952"/>
                      </a:lnTo>
                      <a:lnTo>
                        <a:pt x="3984" y="2934"/>
                      </a:lnTo>
                      <a:lnTo>
                        <a:pt x="4002" y="2928"/>
                      </a:lnTo>
                      <a:lnTo>
                        <a:pt x="4020" y="2928"/>
                      </a:lnTo>
                      <a:lnTo>
                        <a:pt x="4038" y="2940"/>
                      </a:lnTo>
                      <a:lnTo>
                        <a:pt x="4056" y="2946"/>
                      </a:lnTo>
                      <a:lnTo>
                        <a:pt x="4086" y="2970"/>
                      </a:lnTo>
                      <a:lnTo>
                        <a:pt x="4116" y="3000"/>
                      </a:lnTo>
                      <a:lnTo>
                        <a:pt x="4146" y="3036"/>
                      </a:lnTo>
                      <a:lnTo>
                        <a:pt x="4170" y="3060"/>
                      </a:lnTo>
                      <a:lnTo>
                        <a:pt x="4176" y="3096"/>
                      </a:lnTo>
                      <a:lnTo>
                        <a:pt x="4182" y="3138"/>
                      </a:lnTo>
                      <a:lnTo>
                        <a:pt x="4182" y="3156"/>
                      </a:lnTo>
                      <a:lnTo>
                        <a:pt x="4188" y="3168"/>
                      </a:lnTo>
                      <a:lnTo>
                        <a:pt x="4194" y="3174"/>
                      </a:lnTo>
                      <a:lnTo>
                        <a:pt x="4200" y="3180"/>
                      </a:lnTo>
                      <a:lnTo>
                        <a:pt x="4212" y="3180"/>
                      </a:lnTo>
                      <a:lnTo>
                        <a:pt x="4224" y="3180"/>
                      </a:lnTo>
                      <a:lnTo>
                        <a:pt x="4242" y="3186"/>
                      </a:lnTo>
                      <a:lnTo>
                        <a:pt x="4314" y="3204"/>
                      </a:lnTo>
                      <a:lnTo>
                        <a:pt x="4410" y="3210"/>
                      </a:lnTo>
                      <a:lnTo>
                        <a:pt x="4428" y="3210"/>
                      </a:lnTo>
                      <a:lnTo>
                        <a:pt x="4440" y="3210"/>
                      </a:lnTo>
                      <a:lnTo>
                        <a:pt x="4446" y="3204"/>
                      </a:lnTo>
                      <a:lnTo>
                        <a:pt x="4446" y="3198"/>
                      </a:lnTo>
                      <a:lnTo>
                        <a:pt x="4440" y="3192"/>
                      </a:lnTo>
                      <a:lnTo>
                        <a:pt x="4434" y="3186"/>
                      </a:lnTo>
                      <a:lnTo>
                        <a:pt x="4422" y="3174"/>
                      </a:lnTo>
                      <a:lnTo>
                        <a:pt x="4410" y="3162"/>
                      </a:lnTo>
                      <a:lnTo>
                        <a:pt x="4368" y="3138"/>
                      </a:lnTo>
                      <a:lnTo>
                        <a:pt x="4320" y="3126"/>
                      </a:lnTo>
                      <a:lnTo>
                        <a:pt x="4278" y="3120"/>
                      </a:lnTo>
                      <a:lnTo>
                        <a:pt x="4254" y="3096"/>
                      </a:lnTo>
                      <a:lnTo>
                        <a:pt x="4230" y="3054"/>
                      </a:lnTo>
                      <a:lnTo>
                        <a:pt x="4206" y="3012"/>
                      </a:lnTo>
                      <a:lnTo>
                        <a:pt x="4194" y="2988"/>
                      </a:lnTo>
                      <a:lnTo>
                        <a:pt x="4188" y="2976"/>
                      </a:lnTo>
                      <a:lnTo>
                        <a:pt x="4182" y="2964"/>
                      </a:lnTo>
                      <a:lnTo>
                        <a:pt x="4176" y="2952"/>
                      </a:lnTo>
                      <a:lnTo>
                        <a:pt x="4164" y="2940"/>
                      </a:lnTo>
                      <a:lnTo>
                        <a:pt x="4146" y="2922"/>
                      </a:lnTo>
                      <a:lnTo>
                        <a:pt x="4122" y="2904"/>
                      </a:lnTo>
                      <a:lnTo>
                        <a:pt x="4086" y="2880"/>
                      </a:lnTo>
                      <a:lnTo>
                        <a:pt x="4062" y="2862"/>
                      </a:lnTo>
                      <a:lnTo>
                        <a:pt x="4032" y="2856"/>
                      </a:lnTo>
                      <a:lnTo>
                        <a:pt x="3984" y="2850"/>
                      </a:lnTo>
                      <a:lnTo>
                        <a:pt x="3936" y="2856"/>
                      </a:lnTo>
                      <a:lnTo>
                        <a:pt x="3894" y="2868"/>
                      </a:lnTo>
                      <a:lnTo>
                        <a:pt x="3864" y="2892"/>
                      </a:lnTo>
                      <a:lnTo>
                        <a:pt x="3834" y="2910"/>
                      </a:lnTo>
                      <a:lnTo>
                        <a:pt x="3816" y="2916"/>
                      </a:lnTo>
                      <a:lnTo>
                        <a:pt x="3798" y="2910"/>
                      </a:lnTo>
                      <a:lnTo>
                        <a:pt x="3786" y="2898"/>
                      </a:lnTo>
                      <a:lnTo>
                        <a:pt x="3768" y="2886"/>
                      </a:lnTo>
                      <a:lnTo>
                        <a:pt x="3762" y="2868"/>
                      </a:lnTo>
                      <a:lnTo>
                        <a:pt x="3756" y="2844"/>
                      </a:lnTo>
                      <a:lnTo>
                        <a:pt x="3750" y="2826"/>
                      </a:lnTo>
                      <a:lnTo>
                        <a:pt x="3750" y="2808"/>
                      </a:lnTo>
                      <a:lnTo>
                        <a:pt x="3750" y="2796"/>
                      </a:lnTo>
                      <a:lnTo>
                        <a:pt x="3744" y="2784"/>
                      </a:lnTo>
                      <a:lnTo>
                        <a:pt x="3732" y="2772"/>
                      </a:lnTo>
                      <a:lnTo>
                        <a:pt x="3726" y="2766"/>
                      </a:lnTo>
                      <a:lnTo>
                        <a:pt x="3714" y="2754"/>
                      </a:lnTo>
                      <a:lnTo>
                        <a:pt x="3708" y="2736"/>
                      </a:lnTo>
                      <a:lnTo>
                        <a:pt x="3708" y="2718"/>
                      </a:lnTo>
                      <a:lnTo>
                        <a:pt x="3714" y="2700"/>
                      </a:lnTo>
                      <a:lnTo>
                        <a:pt x="3720" y="2688"/>
                      </a:lnTo>
                      <a:lnTo>
                        <a:pt x="3738" y="2670"/>
                      </a:lnTo>
                      <a:lnTo>
                        <a:pt x="3750" y="2658"/>
                      </a:lnTo>
                      <a:lnTo>
                        <a:pt x="3756" y="2652"/>
                      </a:lnTo>
                      <a:lnTo>
                        <a:pt x="3756" y="2640"/>
                      </a:lnTo>
                      <a:lnTo>
                        <a:pt x="3750" y="2634"/>
                      </a:lnTo>
                      <a:lnTo>
                        <a:pt x="3744" y="2622"/>
                      </a:lnTo>
                      <a:lnTo>
                        <a:pt x="3714" y="2592"/>
                      </a:lnTo>
                      <a:lnTo>
                        <a:pt x="3678" y="2556"/>
                      </a:lnTo>
                      <a:lnTo>
                        <a:pt x="3642" y="2514"/>
                      </a:lnTo>
                      <a:lnTo>
                        <a:pt x="3624" y="2502"/>
                      </a:lnTo>
                      <a:lnTo>
                        <a:pt x="3606" y="2490"/>
                      </a:lnTo>
                      <a:lnTo>
                        <a:pt x="3600" y="2478"/>
                      </a:lnTo>
                      <a:lnTo>
                        <a:pt x="3594" y="2466"/>
                      </a:lnTo>
                      <a:lnTo>
                        <a:pt x="3588" y="2454"/>
                      </a:lnTo>
                      <a:lnTo>
                        <a:pt x="3588" y="2442"/>
                      </a:lnTo>
                      <a:lnTo>
                        <a:pt x="3594" y="2418"/>
                      </a:lnTo>
                      <a:lnTo>
                        <a:pt x="3594" y="2406"/>
                      </a:lnTo>
                      <a:lnTo>
                        <a:pt x="3594" y="2394"/>
                      </a:lnTo>
                      <a:lnTo>
                        <a:pt x="3600" y="2382"/>
                      </a:lnTo>
                      <a:lnTo>
                        <a:pt x="3612" y="2370"/>
                      </a:lnTo>
                      <a:lnTo>
                        <a:pt x="3630" y="2352"/>
                      </a:lnTo>
                      <a:lnTo>
                        <a:pt x="3642" y="2328"/>
                      </a:lnTo>
                      <a:lnTo>
                        <a:pt x="3648" y="2304"/>
                      </a:lnTo>
                      <a:lnTo>
                        <a:pt x="3660" y="2280"/>
                      </a:lnTo>
                      <a:lnTo>
                        <a:pt x="3660" y="2262"/>
                      </a:lnTo>
                      <a:lnTo>
                        <a:pt x="3660" y="2244"/>
                      </a:lnTo>
                      <a:lnTo>
                        <a:pt x="3654" y="2232"/>
                      </a:lnTo>
                      <a:lnTo>
                        <a:pt x="3642" y="2226"/>
                      </a:lnTo>
                      <a:lnTo>
                        <a:pt x="3636" y="2214"/>
                      </a:lnTo>
                      <a:lnTo>
                        <a:pt x="3624" y="2208"/>
                      </a:lnTo>
                      <a:lnTo>
                        <a:pt x="3624" y="2202"/>
                      </a:lnTo>
                      <a:lnTo>
                        <a:pt x="3624" y="2190"/>
                      </a:lnTo>
                      <a:lnTo>
                        <a:pt x="3630" y="2178"/>
                      </a:lnTo>
                      <a:lnTo>
                        <a:pt x="3636" y="2166"/>
                      </a:lnTo>
                      <a:lnTo>
                        <a:pt x="3636" y="2154"/>
                      </a:lnTo>
                      <a:lnTo>
                        <a:pt x="3642" y="2142"/>
                      </a:lnTo>
                      <a:lnTo>
                        <a:pt x="3648" y="2136"/>
                      </a:lnTo>
                      <a:lnTo>
                        <a:pt x="3654" y="2136"/>
                      </a:lnTo>
                      <a:lnTo>
                        <a:pt x="3666" y="2142"/>
                      </a:lnTo>
                      <a:lnTo>
                        <a:pt x="3684" y="2148"/>
                      </a:lnTo>
                      <a:lnTo>
                        <a:pt x="3702" y="2166"/>
                      </a:lnTo>
                      <a:lnTo>
                        <a:pt x="3720" y="2178"/>
                      </a:lnTo>
                      <a:lnTo>
                        <a:pt x="3726" y="2196"/>
                      </a:lnTo>
                      <a:lnTo>
                        <a:pt x="3732" y="2214"/>
                      </a:lnTo>
                      <a:lnTo>
                        <a:pt x="3732" y="2256"/>
                      </a:lnTo>
                      <a:lnTo>
                        <a:pt x="3720" y="2310"/>
                      </a:lnTo>
                      <a:lnTo>
                        <a:pt x="3714" y="2334"/>
                      </a:lnTo>
                      <a:lnTo>
                        <a:pt x="3708" y="2346"/>
                      </a:lnTo>
                      <a:lnTo>
                        <a:pt x="3708" y="2358"/>
                      </a:lnTo>
                      <a:lnTo>
                        <a:pt x="3702" y="2370"/>
                      </a:lnTo>
                      <a:lnTo>
                        <a:pt x="3702" y="2388"/>
                      </a:lnTo>
                      <a:lnTo>
                        <a:pt x="3708" y="2406"/>
                      </a:lnTo>
                      <a:lnTo>
                        <a:pt x="3708" y="2418"/>
                      </a:lnTo>
                      <a:lnTo>
                        <a:pt x="3720" y="2430"/>
                      </a:lnTo>
                      <a:lnTo>
                        <a:pt x="3732" y="2436"/>
                      </a:lnTo>
                      <a:lnTo>
                        <a:pt x="3756" y="2442"/>
                      </a:lnTo>
                      <a:lnTo>
                        <a:pt x="3816" y="2466"/>
                      </a:lnTo>
                      <a:lnTo>
                        <a:pt x="3870" y="2484"/>
                      </a:lnTo>
                      <a:lnTo>
                        <a:pt x="3906" y="2496"/>
                      </a:lnTo>
                      <a:lnTo>
                        <a:pt x="3942" y="2508"/>
                      </a:lnTo>
                      <a:lnTo>
                        <a:pt x="3978" y="2520"/>
                      </a:lnTo>
                      <a:lnTo>
                        <a:pt x="3996" y="2520"/>
                      </a:lnTo>
                      <a:lnTo>
                        <a:pt x="4008" y="2508"/>
                      </a:lnTo>
                      <a:lnTo>
                        <a:pt x="4020" y="2502"/>
                      </a:lnTo>
                      <a:lnTo>
                        <a:pt x="4032" y="2502"/>
                      </a:lnTo>
                      <a:lnTo>
                        <a:pt x="4044" y="2508"/>
                      </a:lnTo>
                      <a:lnTo>
                        <a:pt x="4056" y="2514"/>
                      </a:lnTo>
                      <a:lnTo>
                        <a:pt x="4062" y="2520"/>
                      </a:lnTo>
                      <a:lnTo>
                        <a:pt x="4068" y="2526"/>
                      </a:lnTo>
                      <a:lnTo>
                        <a:pt x="4074" y="2526"/>
                      </a:lnTo>
                      <a:lnTo>
                        <a:pt x="4086" y="2526"/>
                      </a:lnTo>
                      <a:lnTo>
                        <a:pt x="4110" y="2532"/>
                      </a:lnTo>
                      <a:lnTo>
                        <a:pt x="4122" y="2526"/>
                      </a:lnTo>
                      <a:lnTo>
                        <a:pt x="4128" y="2526"/>
                      </a:lnTo>
                      <a:lnTo>
                        <a:pt x="4134" y="2520"/>
                      </a:lnTo>
                      <a:lnTo>
                        <a:pt x="4134" y="2508"/>
                      </a:lnTo>
                      <a:lnTo>
                        <a:pt x="4128" y="2496"/>
                      </a:lnTo>
                      <a:lnTo>
                        <a:pt x="4122" y="2484"/>
                      </a:lnTo>
                      <a:lnTo>
                        <a:pt x="4116" y="2472"/>
                      </a:lnTo>
                      <a:lnTo>
                        <a:pt x="4110" y="2454"/>
                      </a:lnTo>
                      <a:lnTo>
                        <a:pt x="4092" y="2430"/>
                      </a:lnTo>
                      <a:lnTo>
                        <a:pt x="4080" y="2406"/>
                      </a:lnTo>
                      <a:lnTo>
                        <a:pt x="4062" y="2394"/>
                      </a:lnTo>
                      <a:lnTo>
                        <a:pt x="4050" y="2394"/>
                      </a:lnTo>
                      <a:lnTo>
                        <a:pt x="4038" y="2394"/>
                      </a:lnTo>
                      <a:lnTo>
                        <a:pt x="4026" y="2394"/>
                      </a:lnTo>
                      <a:lnTo>
                        <a:pt x="4020" y="2400"/>
                      </a:lnTo>
                      <a:lnTo>
                        <a:pt x="4008" y="2406"/>
                      </a:lnTo>
                      <a:lnTo>
                        <a:pt x="4002" y="2424"/>
                      </a:lnTo>
                      <a:lnTo>
                        <a:pt x="3996" y="2436"/>
                      </a:lnTo>
                      <a:lnTo>
                        <a:pt x="3984" y="2436"/>
                      </a:lnTo>
                      <a:lnTo>
                        <a:pt x="3972" y="2436"/>
                      </a:lnTo>
                      <a:lnTo>
                        <a:pt x="3966" y="2430"/>
                      </a:lnTo>
                      <a:lnTo>
                        <a:pt x="3954" y="2424"/>
                      </a:lnTo>
                      <a:lnTo>
                        <a:pt x="3942" y="2418"/>
                      </a:lnTo>
                      <a:lnTo>
                        <a:pt x="3930" y="2412"/>
                      </a:lnTo>
                      <a:lnTo>
                        <a:pt x="3876" y="2400"/>
                      </a:lnTo>
                      <a:lnTo>
                        <a:pt x="3828" y="2394"/>
                      </a:lnTo>
                      <a:lnTo>
                        <a:pt x="3804" y="2388"/>
                      </a:lnTo>
                      <a:lnTo>
                        <a:pt x="3792" y="2382"/>
                      </a:lnTo>
                      <a:lnTo>
                        <a:pt x="3786" y="2370"/>
                      </a:lnTo>
                      <a:lnTo>
                        <a:pt x="3780" y="2358"/>
                      </a:lnTo>
                      <a:lnTo>
                        <a:pt x="3780" y="2346"/>
                      </a:lnTo>
                      <a:lnTo>
                        <a:pt x="3780" y="2322"/>
                      </a:lnTo>
                      <a:lnTo>
                        <a:pt x="3792" y="2310"/>
                      </a:lnTo>
                      <a:lnTo>
                        <a:pt x="3804" y="2292"/>
                      </a:lnTo>
                      <a:lnTo>
                        <a:pt x="3822" y="2286"/>
                      </a:lnTo>
                      <a:lnTo>
                        <a:pt x="3852" y="2280"/>
                      </a:lnTo>
                      <a:lnTo>
                        <a:pt x="3894" y="2292"/>
                      </a:lnTo>
                      <a:lnTo>
                        <a:pt x="3948" y="2316"/>
                      </a:lnTo>
                      <a:lnTo>
                        <a:pt x="3960" y="2322"/>
                      </a:lnTo>
                      <a:lnTo>
                        <a:pt x="3966" y="2322"/>
                      </a:lnTo>
                      <a:lnTo>
                        <a:pt x="3972" y="2316"/>
                      </a:lnTo>
                      <a:lnTo>
                        <a:pt x="3972" y="2310"/>
                      </a:lnTo>
                      <a:lnTo>
                        <a:pt x="3972" y="2298"/>
                      </a:lnTo>
                      <a:lnTo>
                        <a:pt x="3966" y="2292"/>
                      </a:lnTo>
                      <a:lnTo>
                        <a:pt x="3960" y="2280"/>
                      </a:lnTo>
                      <a:lnTo>
                        <a:pt x="3954" y="2268"/>
                      </a:lnTo>
                      <a:lnTo>
                        <a:pt x="3948" y="2256"/>
                      </a:lnTo>
                      <a:lnTo>
                        <a:pt x="3936" y="2244"/>
                      </a:lnTo>
                      <a:lnTo>
                        <a:pt x="3930" y="2232"/>
                      </a:lnTo>
                      <a:lnTo>
                        <a:pt x="3924" y="2220"/>
                      </a:lnTo>
                      <a:lnTo>
                        <a:pt x="3924" y="2214"/>
                      </a:lnTo>
                      <a:lnTo>
                        <a:pt x="3930" y="2208"/>
                      </a:lnTo>
                      <a:lnTo>
                        <a:pt x="3942" y="2208"/>
                      </a:lnTo>
                      <a:lnTo>
                        <a:pt x="3948" y="2208"/>
                      </a:lnTo>
                      <a:lnTo>
                        <a:pt x="3954" y="2208"/>
                      </a:lnTo>
                      <a:lnTo>
                        <a:pt x="3954" y="2196"/>
                      </a:lnTo>
                      <a:lnTo>
                        <a:pt x="3954" y="2190"/>
                      </a:lnTo>
                      <a:lnTo>
                        <a:pt x="3954" y="2178"/>
                      </a:lnTo>
                      <a:lnTo>
                        <a:pt x="3948" y="2172"/>
                      </a:lnTo>
                      <a:lnTo>
                        <a:pt x="3936" y="2166"/>
                      </a:lnTo>
                      <a:lnTo>
                        <a:pt x="3918" y="2166"/>
                      </a:lnTo>
                      <a:lnTo>
                        <a:pt x="3906" y="2160"/>
                      </a:lnTo>
                      <a:lnTo>
                        <a:pt x="3894" y="2154"/>
                      </a:lnTo>
                      <a:lnTo>
                        <a:pt x="3888" y="2148"/>
                      </a:lnTo>
                      <a:lnTo>
                        <a:pt x="3888" y="2136"/>
                      </a:lnTo>
                      <a:lnTo>
                        <a:pt x="3894" y="2130"/>
                      </a:lnTo>
                      <a:lnTo>
                        <a:pt x="3906" y="2124"/>
                      </a:lnTo>
                      <a:lnTo>
                        <a:pt x="3924" y="2124"/>
                      </a:lnTo>
                      <a:lnTo>
                        <a:pt x="3942" y="2124"/>
                      </a:lnTo>
                      <a:lnTo>
                        <a:pt x="4002" y="2148"/>
                      </a:lnTo>
                      <a:lnTo>
                        <a:pt x="4074" y="2178"/>
                      </a:lnTo>
                      <a:lnTo>
                        <a:pt x="4140" y="2214"/>
                      </a:lnTo>
                      <a:lnTo>
                        <a:pt x="4176" y="2244"/>
                      </a:lnTo>
                      <a:lnTo>
                        <a:pt x="4206" y="2268"/>
                      </a:lnTo>
                      <a:lnTo>
                        <a:pt x="4230" y="2280"/>
                      </a:lnTo>
                      <a:lnTo>
                        <a:pt x="4266" y="2268"/>
                      </a:lnTo>
                      <a:lnTo>
                        <a:pt x="4302" y="2256"/>
                      </a:lnTo>
                      <a:lnTo>
                        <a:pt x="4344" y="2244"/>
                      </a:lnTo>
                      <a:lnTo>
                        <a:pt x="4374" y="2238"/>
                      </a:lnTo>
                      <a:lnTo>
                        <a:pt x="4392" y="2250"/>
                      </a:lnTo>
                      <a:lnTo>
                        <a:pt x="4392" y="2268"/>
                      </a:lnTo>
                      <a:lnTo>
                        <a:pt x="4386" y="2298"/>
                      </a:lnTo>
                      <a:lnTo>
                        <a:pt x="4380" y="2334"/>
                      </a:lnTo>
                      <a:lnTo>
                        <a:pt x="4374" y="2364"/>
                      </a:lnTo>
                      <a:lnTo>
                        <a:pt x="4362" y="2406"/>
                      </a:lnTo>
                      <a:lnTo>
                        <a:pt x="4362" y="2448"/>
                      </a:lnTo>
                      <a:lnTo>
                        <a:pt x="4380" y="2490"/>
                      </a:lnTo>
                      <a:lnTo>
                        <a:pt x="4440" y="2544"/>
                      </a:lnTo>
                      <a:lnTo>
                        <a:pt x="4494" y="2580"/>
                      </a:lnTo>
                      <a:lnTo>
                        <a:pt x="4506" y="2592"/>
                      </a:lnTo>
                      <a:lnTo>
                        <a:pt x="4512" y="2604"/>
                      </a:lnTo>
                      <a:lnTo>
                        <a:pt x="4518" y="2616"/>
                      </a:lnTo>
                      <a:lnTo>
                        <a:pt x="4518" y="2622"/>
                      </a:lnTo>
                      <a:lnTo>
                        <a:pt x="4524" y="2634"/>
                      </a:lnTo>
                      <a:lnTo>
                        <a:pt x="4536" y="2646"/>
                      </a:lnTo>
                      <a:lnTo>
                        <a:pt x="4554" y="2658"/>
                      </a:lnTo>
                      <a:lnTo>
                        <a:pt x="4578" y="2664"/>
                      </a:lnTo>
                      <a:lnTo>
                        <a:pt x="4596" y="2670"/>
                      </a:lnTo>
                      <a:lnTo>
                        <a:pt x="4608" y="2670"/>
                      </a:lnTo>
                      <a:lnTo>
                        <a:pt x="4614" y="2664"/>
                      </a:lnTo>
                      <a:lnTo>
                        <a:pt x="4626" y="2658"/>
                      </a:lnTo>
                      <a:lnTo>
                        <a:pt x="4632" y="2652"/>
                      </a:lnTo>
                      <a:lnTo>
                        <a:pt x="4638" y="2640"/>
                      </a:lnTo>
                      <a:lnTo>
                        <a:pt x="4638" y="2634"/>
                      </a:lnTo>
                      <a:lnTo>
                        <a:pt x="4638" y="2622"/>
                      </a:lnTo>
                      <a:lnTo>
                        <a:pt x="4638" y="2616"/>
                      </a:lnTo>
                      <a:lnTo>
                        <a:pt x="4632" y="2610"/>
                      </a:lnTo>
                      <a:lnTo>
                        <a:pt x="4620" y="2598"/>
                      </a:lnTo>
                      <a:lnTo>
                        <a:pt x="4596" y="2586"/>
                      </a:lnTo>
                      <a:lnTo>
                        <a:pt x="4566" y="2568"/>
                      </a:lnTo>
                      <a:lnTo>
                        <a:pt x="4542" y="2550"/>
                      </a:lnTo>
                      <a:lnTo>
                        <a:pt x="4524" y="2526"/>
                      </a:lnTo>
                      <a:lnTo>
                        <a:pt x="4518" y="2508"/>
                      </a:lnTo>
                      <a:lnTo>
                        <a:pt x="4518" y="2490"/>
                      </a:lnTo>
                      <a:lnTo>
                        <a:pt x="4524" y="2472"/>
                      </a:lnTo>
                      <a:lnTo>
                        <a:pt x="4530" y="2460"/>
                      </a:lnTo>
                      <a:lnTo>
                        <a:pt x="4536" y="2442"/>
                      </a:lnTo>
                      <a:lnTo>
                        <a:pt x="4536" y="2424"/>
                      </a:lnTo>
                      <a:lnTo>
                        <a:pt x="4530" y="2400"/>
                      </a:lnTo>
                      <a:lnTo>
                        <a:pt x="4506" y="2370"/>
                      </a:lnTo>
                      <a:lnTo>
                        <a:pt x="4476" y="2340"/>
                      </a:lnTo>
                      <a:lnTo>
                        <a:pt x="4458" y="2304"/>
                      </a:lnTo>
                      <a:lnTo>
                        <a:pt x="4452" y="2274"/>
                      </a:lnTo>
                      <a:lnTo>
                        <a:pt x="4458" y="2256"/>
                      </a:lnTo>
                      <a:lnTo>
                        <a:pt x="4464" y="2244"/>
                      </a:lnTo>
                      <a:lnTo>
                        <a:pt x="4470" y="2232"/>
                      </a:lnTo>
                      <a:lnTo>
                        <a:pt x="4470" y="2214"/>
                      </a:lnTo>
                      <a:lnTo>
                        <a:pt x="4470" y="2202"/>
                      </a:lnTo>
                      <a:lnTo>
                        <a:pt x="4464" y="2190"/>
                      </a:lnTo>
                      <a:lnTo>
                        <a:pt x="4452" y="2184"/>
                      </a:lnTo>
                      <a:lnTo>
                        <a:pt x="4434" y="2178"/>
                      </a:lnTo>
                      <a:lnTo>
                        <a:pt x="4392" y="2178"/>
                      </a:lnTo>
                      <a:lnTo>
                        <a:pt x="4356" y="2178"/>
                      </a:lnTo>
                      <a:lnTo>
                        <a:pt x="4338" y="2172"/>
                      </a:lnTo>
                      <a:lnTo>
                        <a:pt x="4314" y="2166"/>
                      </a:lnTo>
                      <a:lnTo>
                        <a:pt x="4272" y="2160"/>
                      </a:lnTo>
                      <a:lnTo>
                        <a:pt x="4218" y="2136"/>
                      </a:lnTo>
                      <a:lnTo>
                        <a:pt x="4200" y="2130"/>
                      </a:lnTo>
                      <a:lnTo>
                        <a:pt x="4182" y="2118"/>
                      </a:lnTo>
                      <a:lnTo>
                        <a:pt x="4176" y="2112"/>
                      </a:lnTo>
                      <a:lnTo>
                        <a:pt x="4170" y="2106"/>
                      </a:lnTo>
                      <a:lnTo>
                        <a:pt x="4164" y="2094"/>
                      </a:lnTo>
                      <a:lnTo>
                        <a:pt x="4164" y="2082"/>
                      </a:lnTo>
                      <a:lnTo>
                        <a:pt x="4158" y="2070"/>
                      </a:lnTo>
                      <a:lnTo>
                        <a:pt x="4146" y="2064"/>
                      </a:lnTo>
                      <a:lnTo>
                        <a:pt x="4134" y="2052"/>
                      </a:lnTo>
                      <a:lnTo>
                        <a:pt x="4122" y="2046"/>
                      </a:lnTo>
                      <a:lnTo>
                        <a:pt x="4110" y="2040"/>
                      </a:lnTo>
                      <a:lnTo>
                        <a:pt x="4104" y="2028"/>
                      </a:lnTo>
                      <a:lnTo>
                        <a:pt x="4098" y="2022"/>
                      </a:lnTo>
                      <a:lnTo>
                        <a:pt x="4104" y="2016"/>
                      </a:lnTo>
                      <a:lnTo>
                        <a:pt x="4110" y="2004"/>
                      </a:lnTo>
                      <a:lnTo>
                        <a:pt x="4116" y="1998"/>
                      </a:lnTo>
                      <a:lnTo>
                        <a:pt x="4122" y="1992"/>
                      </a:lnTo>
                      <a:lnTo>
                        <a:pt x="4128" y="1986"/>
                      </a:lnTo>
                      <a:lnTo>
                        <a:pt x="4122" y="1980"/>
                      </a:lnTo>
                      <a:lnTo>
                        <a:pt x="4116" y="1974"/>
                      </a:lnTo>
                      <a:lnTo>
                        <a:pt x="4098" y="1968"/>
                      </a:lnTo>
                      <a:lnTo>
                        <a:pt x="4086" y="1950"/>
                      </a:lnTo>
                      <a:lnTo>
                        <a:pt x="4086" y="1938"/>
                      </a:lnTo>
                      <a:lnTo>
                        <a:pt x="4086" y="1920"/>
                      </a:lnTo>
                      <a:lnTo>
                        <a:pt x="4098" y="1908"/>
                      </a:lnTo>
                      <a:lnTo>
                        <a:pt x="4110" y="1890"/>
                      </a:lnTo>
                      <a:lnTo>
                        <a:pt x="4134" y="1878"/>
                      </a:lnTo>
                      <a:lnTo>
                        <a:pt x="4188" y="1860"/>
                      </a:lnTo>
                      <a:lnTo>
                        <a:pt x="4224" y="1848"/>
                      </a:lnTo>
                      <a:lnTo>
                        <a:pt x="4260" y="1836"/>
                      </a:lnTo>
                      <a:lnTo>
                        <a:pt x="4308" y="1830"/>
                      </a:lnTo>
                      <a:lnTo>
                        <a:pt x="4344" y="1818"/>
                      </a:lnTo>
                      <a:lnTo>
                        <a:pt x="4380" y="1824"/>
                      </a:lnTo>
                      <a:lnTo>
                        <a:pt x="4392" y="1824"/>
                      </a:lnTo>
                      <a:lnTo>
                        <a:pt x="4398" y="1824"/>
                      </a:lnTo>
                      <a:lnTo>
                        <a:pt x="4404" y="1818"/>
                      </a:lnTo>
                      <a:lnTo>
                        <a:pt x="4404" y="1812"/>
                      </a:lnTo>
                      <a:lnTo>
                        <a:pt x="4404" y="1800"/>
                      </a:lnTo>
                      <a:lnTo>
                        <a:pt x="4410" y="1794"/>
                      </a:lnTo>
                      <a:lnTo>
                        <a:pt x="4410" y="1782"/>
                      </a:lnTo>
                      <a:lnTo>
                        <a:pt x="4416" y="1770"/>
                      </a:lnTo>
                      <a:lnTo>
                        <a:pt x="4428" y="1752"/>
                      </a:lnTo>
                      <a:lnTo>
                        <a:pt x="4440" y="1740"/>
                      </a:lnTo>
                      <a:lnTo>
                        <a:pt x="4452" y="1734"/>
                      </a:lnTo>
                      <a:lnTo>
                        <a:pt x="4464" y="1734"/>
                      </a:lnTo>
                      <a:lnTo>
                        <a:pt x="4488" y="1734"/>
                      </a:lnTo>
                      <a:lnTo>
                        <a:pt x="4500" y="1734"/>
                      </a:lnTo>
                      <a:lnTo>
                        <a:pt x="4506" y="1740"/>
                      </a:lnTo>
                      <a:lnTo>
                        <a:pt x="4512" y="1752"/>
                      </a:lnTo>
                      <a:lnTo>
                        <a:pt x="4512" y="1764"/>
                      </a:lnTo>
                      <a:lnTo>
                        <a:pt x="4512" y="1776"/>
                      </a:lnTo>
                      <a:lnTo>
                        <a:pt x="4506" y="1782"/>
                      </a:lnTo>
                      <a:lnTo>
                        <a:pt x="4500" y="1788"/>
                      </a:lnTo>
                      <a:lnTo>
                        <a:pt x="4494" y="1800"/>
                      </a:lnTo>
                      <a:lnTo>
                        <a:pt x="4482" y="1818"/>
                      </a:lnTo>
                      <a:lnTo>
                        <a:pt x="4482" y="1836"/>
                      </a:lnTo>
                      <a:lnTo>
                        <a:pt x="4482" y="1854"/>
                      </a:lnTo>
                      <a:lnTo>
                        <a:pt x="4488" y="1866"/>
                      </a:lnTo>
                      <a:lnTo>
                        <a:pt x="4494" y="1872"/>
                      </a:lnTo>
                      <a:lnTo>
                        <a:pt x="4500" y="1872"/>
                      </a:lnTo>
                      <a:lnTo>
                        <a:pt x="4512" y="1872"/>
                      </a:lnTo>
                      <a:lnTo>
                        <a:pt x="4518" y="1866"/>
                      </a:lnTo>
                      <a:lnTo>
                        <a:pt x="4518" y="1854"/>
                      </a:lnTo>
                      <a:lnTo>
                        <a:pt x="4524" y="1836"/>
                      </a:lnTo>
                      <a:lnTo>
                        <a:pt x="4536" y="1824"/>
                      </a:lnTo>
                      <a:lnTo>
                        <a:pt x="4554" y="1806"/>
                      </a:lnTo>
                      <a:lnTo>
                        <a:pt x="4572" y="1788"/>
                      </a:lnTo>
                      <a:lnTo>
                        <a:pt x="4590" y="1770"/>
                      </a:lnTo>
                      <a:lnTo>
                        <a:pt x="4602" y="1752"/>
                      </a:lnTo>
                      <a:lnTo>
                        <a:pt x="4602" y="1734"/>
                      </a:lnTo>
                      <a:lnTo>
                        <a:pt x="4602" y="1722"/>
                      </a:lnTo>
                      <a:lnTo>
                        <a:pt x="4596" y="1704"/>
                      </a:lnTo>
                      <a:lnTo>
                        <a:pt x="4584" y="1698"/>
                      </a:lnTo>
                      <a:lnTo>
                        <a:pt x="4572" y="1686"/>
                      </a:lnTo>
                      <a:lnTo>
                        <a:pt x="4560" y="1680"/>
                      </a:lnTo>
                      <a:lnTo>
                        <a:pt x="4548" y="1674"/>
                      </a:lnTo>
                      <a:lnTo>
                        <a:pt x="4542" y="1674"/>
                      </a:lnTo>
                      <a:lnTo>
                        <a:pt x="4536" y="1668"/>
                      </a:lnTo>
                      <a:lnTo>
                        <a:pt x="4542" y="1662"/>
                      </a:lnTo>
                      <a:lnTo>
                        <a:pt x="4548" y="1656"/>
                      </a:lnTo>
                      <a:lnTo>
                        <a:pt x="4560" y="1650"/>
                      </a:lnTo>
                      <a:lnTo>
                        <a:pt x="4560" y="1638"/>
                      </a:lnTo>
                      <a:lnTo>
                        <a:pt x="4554" y="1632"/>
                      </a:lnTo>
                      <a:lnTo>
                        <a:pt x="4542" y="1632"/>
                      </a:lnTo>
                      <a:lnTo>
                        <a:pt x="4524" y="1626"/>
                      </a:lnTo>
                      <a:lnTo>
                        <a:pt x="4500" y="1614"/>
                      </a:lnTo>
                      <a:lnTo>
                        <a:pt x="4482" y="1590"/>
                      </a:lnTo>
                      <a:lnTo>
                        <a:pt x="4470" y="1554"/>
                      </a:lnTo>
                      <a:lnTo>
                        <a:pt x="4458" y="1524"/>
                      </a:lnTo>
                      <a:lnTo>
                        <a:pt x="4458" y="1512"/>
                      </a:lnTo>
                      <a:lnTo>
                        <a:pt x="4452" y="1500"/>
                      </a:lnTo>
                      <a:lnTo>
                        <a:pt x="4458" y="1494"/>
                      </a:lnTo>
                      <a:lnTo>
                        <a:pt x="4458" y="1488"/>
                      </a:lnTo>
                      <a:lnTo>
                        <a:pt x="4470" y="1482"/>
                      </a:lnTo>
                      <a:lnTo>
                        <a:pt x="4476" y="1470"/>
                      </a:lnTo>
                      <a:lnTo>
                        <a:pt x="4494" y="1458"/>
                      </a:lnTo>
                      <a:lnTo>
                        <a:pt x="4518" y="1446"/>
                      </a:lnTo>
                      <a:lnTo>
                        <a:pt x="4536" y="1434"/>
                      </a:lnTo>
                      <a:lnTo>
                        <a:pt x="4554" y="1428"/>
                      </a:lnTo>
                      <a:lnTo>
                        <a:pt x="4566" y="1422"/>
                      </a:lnTo>
                      <a:lnTo>
                        <a:pt x="4572" y="1410"/>
                      </a:lnTo>
                      <a:lnTo>
                        <a:pt x="4572" y="1404"/>
                      </a:lnTo>
                      <a:lnTo>
                        <a:pt x="4560" y="1392"/>
                      </a:lnTo>
                      <a:lnTo>
                        <a:pt x="4554" y="1386"/>
                      </a:lnTo>
                      <a:lnTo>
                        <a:pt x="4554" y="1380"/>
                      </a:lnTo>
                      <a:lnTo>
                        <a:pt x="4560" y="1374"/>
                      </a:lnTo>
                      <a:lnTo>
                        <a:pt x="4566" y="1368"/>
                      </a:lnTo>
                      <a:lnTo>
                        <a:pt x="4578" y="1356"/>
                      </a:lnTo>
                      <a:lnTo>
                        <a:pt x="4596" y="1344"/>
                      </a:lnTo>
                      <a:lnTo>
                        <a:pt x="4602" y="1332"/>
                      </a:lnTo>
                      <a:lnTo>
                        <a:pt x="4608" y="1314"/>
                      </a:lnTo>
                      <a:lnTo>
                        <a:pt x="4608" y="1302"/>
                      </a:lnTo>
                      <a:lnTo>
                        <a:pt x="4602" y="1290"/>
                      </a:lnTo>
                      <a:lnTo>
                        <a:pt x="4608" y="1284"/>
                      </a:lnTo>
                      <a:lnTo>
                        <a:pt x="4620" y="1284"/>
                      </a:lnTo>
                      <a:lnTo>
                        <a:pt x="4632" y="1284"/>
                      </a:lnTo>
                      <a:lnTo>
                        <a:pt x="4644" y="1284"/>
                      </a:lnTo>
                      <a:lnTo>
                        <a:pt x="4674" y="1284"/>
                      </a:lnTo>
                      <a:lnTo>
                        <a:pt x="4716" y="1272"/>
                      </a:lnTo>
                      <a:lnTo>
                        <a:pt x="4770" y="1266"/>
                      </a:lnTo>
                      <a:lnTo>
                        <a:pt x="4794" y="1260"/>
                      </a:lnTo>
                      <a:lnTo>
                        <a:pt x="4806" y="1260"/>
                      </a:lnTo>
                      <a:lnTo>
                        <a:pt x="4812" y="1254"/>
                      </a:lnTo>
                      <a:lnTo>
                        <a:pt x="4806" y="1248"/>
                      </a:lnTo>
                      <a:lnTo>
                        <a:pt x="4800" y="1242"/>
                      </a:lnTo>
                      <a:lnTo>
                        <a:pt x="4788" y="1230"/>
                      </a:lnTo>
                      <a:lnTo>
                        <a:pt x="4782" y="1224"/>
                      </a:lnTo>
                      <a:lnTo>
                        <a:pt x="4782" y="1218"/>
                      </a:lnTo>
                      <a:lnTo>
                        <a:pt x="4788" y="1212"/>
                      </a:lnTo>
                      <a:lnTo>
                        <a:pt x="4800" y="1206"/>
                      </a:lnTo>
                      <a:lnTo>
                        <a:pt x="4812" y="1200"/>
                      </a:lnTo>
                      <a:lnTo>
                        <a:pt x="4830" y="1194"/>
                      </a:lnTo>
                      <a:lnTo>
                        <a:pt x="4848" y="1188"/>
                      </a:lnTo>
                      <a:lnTo>
                        <a:pt x="4866" y="1188"/>
                      </a:lnTo>
                      <a:lnTo>
                        <a:pt x="4884" y="1182"/>
                      </a:lnTo>
                      <a:lnTo>
                        <a:pt x="4890" y="1170"/>
                      </a:lnTo>
                      <a:lnTo>
                        <a:pt x="4896" y="1164"/>
                      </a:lnTo>
                      <a:lnTo>
                        <a:pt x="4896" y="1152"/>
                      </a:lnTo>
                      <a:lnTo>
                        <a:pt x="4896" y="1140"/>
                      </a:lnTo>
                      <a:lnTo>
                        <a:pt x="4902" y="1128"/>
                      </a:lnTo>
                      <a:lnTo>
                        <a:pt x="4908" y="1122"/>
                      </a:lnTo>
                      <a:lnTo>
                        <a:pt x="4914" y="1110"/>
                      </a:lnTo>
                      <a:lnTo>
                        <a:pt x="4944" y="1098"/>
                      </a:lnTo>
                      <a:lnTo>
                        <a:pt x="4980" y="1074"/>
                      </a:lnTo>
                      <a:lnTo>
                        <a:pt x="5016" y="1050"/>
                      </a:lnTo>
                      <a:lnTo>
                        <a:pt x="5040" y="1038"/>
                      </a:lnTo>
                      <a:lnTo>
                        <a:pt x="5046" y="1026"/>
                      </a:lnTo>
                      <a:lnTo>
                        <a:pt x="5058" y="1026"/>
                      </a:lnTo>
                      <a:lnTo>
                        <a:pt x="5070" y="1026"/>
                      </a:lnTo>
                      <a:lnTo>
                        <a:pt x="5076" y="1032"/>
                      </a:lnTo>
                      <a:lnTo>
                        <a:pt x="5082" y="1044"/>
                      </a:lnTo>
                      <a:lnTo>
                        <a:pt x="5082" y="1062"/>
                      </a:lnTo>
                      <a:lnTo>
                        <a:pt x="5082" y="1074"/>
                      </a:lnTo>
                      <a:lnTo>
                        <a:pt x="5088" y="1086"/>
                      </a:lnTo>
                      <a:lnTo>
                        <a:pt x="5094" y="1086"/>
                      </a:lnTo>
                      <a:lnTo>
                        <a:pt x="5100" y="1086"/>
                      </a:lnTo>
                      <a:lnTo>
                        <a:pt x="5112" y="1080"/>
                      </a:lnTo>
                      <a:lnTo>
                        <a:pt x="5124" y="1068"/>
                      </a:lnTo>
                      <a:lnTo>
                        <a:pt x="5130" y="1056"/>
                      </a:lnTo>
                      <a:lnTo>
                        <a:pt x="5142" y="1050"/>
                      </a:lnTo>
                      <a:lnTo>
                        <a:pt x="5148" y="1050"/>
                      </a:lnTo>
                      <a:lnTo>
                        <a:pt x="5154" y="1056"/>
                      </a:lnTo>
                      <a:lnTo>
                        <a:pt x="5160" y="1062"/>
                      </a:lnTo>
                      <a:lnTo>
                        <a:pt x="5172" y="1068"/>
                      </a:lnTo>
                      <a:lnTo>
                        <a:pt x="5184" y="1080"/>
                      </a:lnTo>
                      <a:lnTo>
                        <a:pt x="5196" y="1080"/>
                      </a:lnTo>
                      <a:lnTo>
                        <a:pt x="5202" y="1080"/>
                      </a:lnTo>
                      <a:lnTo>
                        <a:pt x="5214" y="1074"/>
                      </a:lnTo>
                      <a:lnTo>
                        <a:pt x="5220" y="1062"/>
                      </a:lnTo>
                      <a:lnTo>
                        <a:pt x="5226" y="1062"/>
                      </a:lnTo>
                      <a:lnTo>
                        <a:pt x="5232" y="1062"/>
                      </a:lnTo>
                      <a:lnTo>
                        <a:pt x="5238" y="1068"/>
                      </a:lnTo>
                      <a:lnTo>
                        <a:pt x="5244" y="1074"/>
                      </a:lnTo>
                      <a:lnTo>
                        <a:pt x="5250" y="1080"/>
                      </a:lnTo>
                      <a:lnTo>
                        <a:pt x="5256" y="1086"/>
                      </a:lnTo>
                      <a:lnTo>
                        <a:pt x="5262" y="1080"/>
                      </a:lnTo>
                      <a:lnTo>
                        <a:pt x="5268" y="1074"/>
                      </a:lnTo>
                      <a:lnTo>
                        <a:pt x="5274" y="1062"/>
                      </a:lnTo>
                      <a:lnTo>
                        <a:pt x="5286" y="1050"/>
                      </a:lnTo>
                      <a:lnTo>
                        <a:pt x="5298" y="1044"/>
                      </a:lnTo>
                      <a:lnTo>
                        <a:pt x="5310" y="1038"/>
                      </a:lnTo>
                      <a:lnTo>
                        <a:pt x="5322" y="1044"/>
                      </a:lnTo>
                      <a:lnTo>
                        <a:pt x="5334" y="1044"/>
                      </a:lnTo>
                      <a:lnTo>
                        <a:pt x="5346" y="1044"/>
                      </a:lnTo>
                      <a:lnTo>
                        <a:pt x="5358" y="1050"/>
                      </a:lnTo>
                      <a:lnTo>
                        <a:pt x="5370" y="1050"/>
                      </a:lnTo>
                      <a:lnTo>
                        <a:pt x="5382" y="1044"/>
                      </a:lnTo>
                      <a:lnTo>
                        <a:pt x="5388" y="1044"/>
                      </a:lnTo>
                      <a:lnTo>
                        <a:pt x="5388" y="1038"/>
                      </a:lnTo>
                      <a:lnTo>
                        <a:pt x="5388" y="1032"/>
                      </a:lnTo>
                      <a:lnTo>
                        <a:pt x="5376" y="1014"/>
                      </a:lnTo>
                      <a:lnTo>
                        <a:pt x="5358" y="996"/>
                      </a:lnTo>
                      <a:lnTo>
                        <a:pt x="5328" y="978"/>
                      </a:lnTo>
                      <a:lnTo>
                        <a:pt x="5286" y="942"/>
                      </a:lnTo>
                      <a:lnTo>
                        <a:pt x="5268" y="918"/>
                      </a:lnTo>
                      <a:lnTo>
                        <a:pt x="5280" y="900"/>
                      </a:lnTo>
                      <a:lnTo>
                        <a:pt x="5310" y="888"/>
                      </a:lnTo>
                      <a:lnTo>
                        <a:pt x="5346" y="882"/>
                      </a:lnTo>
                      <a:lnTo>
                        <a:pt x="5382" y="876"/>
                      </a:lnTo>
                      <a:lnTo>
                        <a:pt x="5400" y="870"/>
                      </a:lnTo>
                      <a:lnTo>
                        <a:pt x="5418" y="870"/>
                      </a:lnTo>
                      <a:lnTo>
                        <a:pt x="5430" y="870"/>
                      </a:lnTo>
                      <a:lnTo>
                        <a:pt x="5442" y="876"/>
                      </a:lnTo>
                      <a:lnTo>
                        <a:pt x="5460" y="888"/>
                      </a:lnTo>
                      <a:lnTo>
                        <a:pt x="5472" y="894"/>
                      </a:lnTo>
                      <a:lnTo>
                        <a:pt x="5484" y="894"/>
                      </a:lnTo>
                      <a:lnTo>
                        <a:pt x="5502" y="888"/>
                      </a:lnTo>
                      <a:lnTo>
                        <a:pt x="5514" y="882"/>
                      </a:lnTo>
                      <a:lnTo>
                        <a:pt x="5532" y="870"/>
                      </a:lnTo>
                      <a:lnTo>
                        <a:pt x="5544" y="852"/>
                      </a:lnTo>
                      <a:lnTo>
                        <a:pt x="5550" y="834"/>
                      </a:lnTo>
                      <a:lnTo>
                        <a:pt x="5550" y="822"/>
                      </a:lnTo>
                      <a:lnTo>
                        <a:pt x="5544" y="816"/>
                      </a:lnTo>
                      <a:lnTo>
                        <a:pt x="5538" y="816"/>
                      </a:lnTo>
                      <a:lnTo>
                        <a:pt x="5526" y="816"/>
                      </a:lnTo>
                      <a:lnTo>
                        <a:pt x="5514" y="822"/>
                      </a:lnTo>
                      <a:lnTo>
                        <a:pt x="5496" y="828"/>
                      </a:lnTo>
                      <a:lnTo>
                        <a:pt x="5490" y="828"/>
                      </a:lnTo>
                      <a:lnTo>
                        <a:pt x="5478" y="822"/>
                      </a:lnTo>
                      <a:lnTo>
                        <a:pt x="5460" y="816"/>
                      </a:lnTo>
                      <a:lnTo>
                        <a:pt x="5442" y="804"/>
                      </a:lnTo>
                      <a:lnTo>
                        <a:pt x="5430" y="798"/>
                      </a:lnTo>
                      <a:lnTo>
                        <a:pt x="5424" y="792"/>
                      </a:lnTo>
                      <a:lnTo>
                        <a:pt x="5418" y="786"/>
                      </a:lnTo>
                      <a:lnTo>
                        <a:pt x="5418" y="774"/>
                      </a:lnTo>
                      <a:lnTo>
                        <a:pt x="5418" y="768"/>
                      </a:lnTo>
                      <a:lnTo>
                        <a:pt x="5412" y="756"/>
                      </a:lnTo>
                      <a:lnTo>
                        <a:pt x="5406" y="738"/>
                      </a:lnTo>
                      <a:lnTo>
                        <a:pt x="5400" y="726"/>
                      </a:lnTo>
                      <a:lnTo>
                        <a:pt x="5400" y="714"/>
                      </a:lnTo>
                      <a:lnTo>
                        <a:pt x="5406" y="696"/>
                      </a:lnTo>
                      <a:lnTo>
                        <a:pt x="5412" y="678"/>
                      </a:lnTo>
                      <a:lnTo>
                        <a:pt x="5424" y="654"/>
                      </a:lnTo>
                      <a:lnTo>
                        <a:pt x="5430" y="636"/>
                      </a:lnTo>
                      <a:lnTo>
                        <a:pt x="5436" y="618"/>
                      </a:lnTo>
                      <a:lnTo>
                        <a:pt x="5442" y="606"/>
                      </a:lnTo>
                      <a:lnTo>
                        <a:pt x="5448" y="588"/>
                      </a:lnTo>
                      <a:lnTo>
                        <a:pt x="5448" y="564"/>
                      </a:lnTo>
                      <a:lnTo>
                        <a:pt x="5460" y="540"/>
                      </a:lnTo>
                      <a:lnTo>
                        <a:pt x="5478" y="522"/>
                      </a:lnTo>
                      <a:lnTo>
                        <a:pt x="5496" y="498"/>
                      </a:lnTo>
                      <a:lnTo>
                        <a:pt x="5502" y="492"/>
                      </a:lnTo>
                      <a:lnTo>
                        <a:pt x="5514" y="492"/>
                      </a:lnTo>
                      <a:lnTo>
                        <a:pt x="5526" y="492"/>
                      </a:lnTo>
                      <a:lnTo>
                        <a:pt x="5538" y="504"/>
                      </a:lnTo>
                      <a:lnTo>
                        <a:pt x="5550" y="510"/>
                      </a:lnTo>
                      <a:lnTo>
                        <a:pt x="5562" y="516"/>
                      </a:lnTo>
                      <a:lnTo>
                        <a:pt x="5574" y="522"/>
                      </a:lnTo>
                      <a:lnTo>
                        <a:pt x="5580" y="528"/>
                      </a:lnTo>
                      <a:lnTo>
                        <a:pt x="5586" y="534"/>
                      </a:lnTo>
                      <a:lnTo>
                        <a:pt x="5580" y="540"/>
                      </a:lnTo>
                      <a:lnTo>
                        <a:pt x="5580" y="552"/>
                      </a:lnTo>
                      <a:lnTo>
                        <a:pt x="5574" y="570"/>
                      </a:lnTo>
                      <a:lnTo>
                        <a:pt x="5580" y="582"/>
                      </a:lnTo>
                      <a:lnTo>
                        <a:pt x="5586" y="594"/>
                      </a:lnTo>
                      <a:lnTo>
                        <a:pt x="5598" y="606"/>
                      </a:lnTo>
                      <a:lnTo>
                        <a:pt x="5604" y="612"/>
                      </a:lnTo>
                      <a:lnTo>
                        <a:pt x="5610" y="618"/>
                      </a:lnTo>
                      <a:lnTo>
                        <a:pt x="5616" y="618"/>
                      </a:lnTo>
                      <a:lnTo>
                        <a:pt x="5616" y="630"/>
                      </a:lnTo>
                      <a:lnTo>
                        <a:pt x="5610" y="636"/>
                      </a:lnTo>
                      <a:lnTo>
                        <a:pt x="5598" y="642"/>
                      </a:lnTo>
                      <a:lnTo>
                        <a:pt x="5592" y="654"/>
                      </a:lnTo>
                      <a:lnTo>
                        <a:pt x="5586" y="666"/>
                      </a:lnTo>
                      <a:lnTo>
                        <a:pt x="5586" y="672"/>
                      </a:lnTo>
                      <a:lnTo>
                        <a:pt x="5592" y="684"/>
                      </a:lnTo>
                      <a:lnTo>
                        <a:pt x="5604" y="684"/>
                      </a:lnTo>
                      <a:lnTo>
                        <a:pt x="5610" y="690"/>
                      </a:lnTo>
                      <a:lnTo>
                        <a:pt x="5628" y="684"/>
                      </a:lnTo>
                      <a:lnTo>
                        <a:pt x="5640" y="678"/>
                      </a:lnTo>
                      <a:lnTo>
                        <a:pt x="5652" y="678"/>
                      </a:lnTo>
                      <a:lnTo>
                        <a:pt x="5658" y="678"/>
                      </a:lnTo>
                      <a:lnTo>
                        <a:pt x="5670" y="684"/>
                      </a:lnTo>
                      <a:lnTo>
                        <a:pt x="5676" y="684"/>
                      </a:lnTo>
                      <a:lnTo>
                        <a:pt x="5682" y="684"/>
                      </a:lnTo>
                      <a:lnTo>
                        <a:pt x="5700" y="684"/>
                      </a:lnTo>
                      <a:lnTo>
                        <a:pt x="5712" y="678"/>
                      </a:lnTo>
                      <a:lnTo>
                        <a:pt x="5724" y="678"/>
                      </a:lnTo>
                      <a:lnTo>
                        <a:pt x="5730" y="684"/>
                      </a:lnTo>
                      <a:lnTo>
                        <a:pt x="5730" y="690"/>
                      </a:lnTo>
                      <a:lnTo>
                        <a:pt x="5730" y="708"/>
                      </a:lnTo>
                      <a:lnTo>
                        <a:pt x="5724" y="720"/>
                      </a:lnTo>
                      <a:lnTo>
                        <a:pt x="5724" y="738"/>
                      </a:lnTo>
                      <a:lnTo>
                        <a:pt x="5718" y="750"/>
                      </a:lnTo>
                      <a:lnTo>
                        <a:pt x="5718" y="762"/>
                      </a:lnTo>
                      <a:lnTo>
                        <a:pt x="5724" y="774"/>
                      </a:lnTo>
                      <a:lnTo>
                        <a:pt x="5724" y="780"/>
                      </a:lnTo>
                      <a:lnTo>
                        <a:pt x="5736" y="786"/>
                      </a:lnTo>
                      <a:lnTo>
                        <a:pt x="5742" y="780"/>
                      </a:lnTo>
                      <a:lnTo>
                        <a:pt x="5760" y="768"/>
                      </a:lnTo>
                      <a:lnTo>
                        <a:pt x="5778" y="756"/>
                      </a:lnTo>
                      <a:lnTo>
                        <a:pt x="5784" y="738"/>
                      </a:lnTo>
                      <a:lnTo>
                        <a:pt x="5790" y="720"/>
                      </a:lnTo>
                      <a:lnTo>
                        <a:pt x="5808" y="696"/>
                      </a:lnTo>
                      <a:lnTo>
                        <a:pt x="5850" y="672"/>
                      </a:lnTo>
                      <a:lnTo>
                        <a:pt x="5910" y="648"/>
                      </a:lnTo>
                      <a:lnTo>
                        <a:pt x="5946" y="636"/>
                      </a:lnTo>
                      <a:lnTo>
                        <a:pt x="5976" y="624"/>
                      </a:lnTo>
                      <a:lnTo>
                        <a:pt x="6006" y="618"/>
                      </a:lnTo>
                      <a:lnTo>
                        <a:pt x="6054" y="612"/>
                      </a:lnTo>
                      <a:lnTo>
                        <a:pt x="6126" y="600"/>
                      </a:lnTo>
                      <a:lnTo>
                        <a:pt x="6180" y="582"/>
                      </a:lnTo>
                      <a:lnTo>
                        <a:pt x="6222" y="564"/>
                      </a:lnTo>
                      <a:lnTo>
                        <a:pt x="6246" y="558"/>
                      </a:lnTo>
                      <a:lnTo>
                        <a:pt x="6264" y="558"/>
                      </a:lnTo>
                      <a:lnTo>
                        <a:pt x="6276" y="564"/>
                      </a:lnTo>
                      <a:lnTo>
                        <a:pt x="6288" y="582"/>
                      </a:lnTo>
                      <a:lnTo>
                        <a:pt x="6300" y="594"/>
                      </a:lnTo>
                      <a:lnTo>
                        <a:pt x="6312" y="612"/>
                      </a:lnTo>
                      <a:lnTo>
                        <a:pt x="6318" y="618"/>
                      </a:lnTo>
                      <a:lnTo>
                        <a:pt x="6330" y="618"/>
                      </a:lnTo>
                      <a:lnTo>
                        <a:pt x="6342" y="612"/>
                      </a:lnTo>
                      <a:lnTo>
                        <a:pt x="6348" y="600"/>
                      </a:lnTo>
                      <a:lnTo>
                        <a:pt x="6360" y="600"/>
                      </a:lnTo>
                      <a:lnTo>
                        <a:pt x="6372" y="606"/>
                      </a:lnTo>
                      <a:lnTo>
                        <a:pt x="6390" y="606"/>
                      </a:lnTo>
                      <a:lnTo>
                        <a:pt x="6414" y="618"/>
                      </a:lnTo>
                      <a:lnTo>
                        <a:pt x="6432" y="624"/>
                      </a:lnTo>
                      <a:lnTo>
                        <a:pt x="6450" y="630"/>
                      </a:lnTo>
                      <a:lnTo>
                        <a:pt x="6462" y="636"/>
                      </a:lnTo>
                      <a:lnTo>
                        <a:pt x="6474" y="648"/>
                      </a:lnTo>
                      <a:lnTo>
                        <a:pt x="6480" y="660"/>
                      </a:lnTo>
                      <a:lnTo>
                        <a:pt x="6480" y="678"/>
                      </a:lnTo>
                      <a:lnTo>
                        <a:pt x="6480" y="696"/>
                      </a:lnTo>
                      <a:lnTo>
                        <a:pt x="6480" y="708"/>
                      </a:lnTo>
                      <a:lnTo>
                        <a:pt x="6480" y="720"/>
                      </a:lnTo>
                      <a:lnTo>
                        <a:pt x="6474" y="726"/>
                      </a:lnTo>
                      <a:lnTo>
                        <a:pt x="6468" y="738"/>
                      </a:lnTo>
                      <a:lnTo>
                        <a:pt x="6444" y="750"/>
                      </a:lnTo>
                      <a:lnTo>
                        <a:pt x="6402" y="756"/>
                      </a:lnTo>
                      <a:lnTo>
                        <a:pt x="6360" y="756"/>
                      </a:lnTo>
                      <a:lnTo>
                        <a:pt x="6348" y="756"/>
                      </a:lnTo>
                      <a:lnTo>
                        <a:pt x="6336" y="756"/>
                      </a:lnTo>
                      <a:lnTo>
                        <a:pt x="6336" y="762"/>
                      </a:lnTo>
                      <a:lnTo>
                        <a:pt x="6336" y="768"/>
                      </a:lnTo>
                      <a:lnTo>
                        <a:pt x="6342" y="780"/>
                      </a:lnTo>
                      <a:lnTo>
                        <a:pt x="6348" y="786"/>
                      </a:lnTo>
                      <a:lnTo>
                        <a:pt x="6360" y="798"/>
                      </a:lnTo>
                      <a:lnTo>
                        <a:pt x="6366" y="804"/>
                      </a:lnTo>
                      <a:lnTo>
                        <a:pt x="6378" y="810"/>
                      </a:lnTo>
                      <a:lnTo>
                        <a:pt x="6396" y="822"/>
                      </a:lnTo>
                      <a:lnTo>
                        <a:pt x="6408" y="828"/>
                      </a:lnTo>
                      <a:lnTo>
                        <a:pt x="6420" y="834"/>
                      </a:lnTo>
                      <a:lnTo>
                        <a:pt x="6426" y="834"/>
                      </a:lnTo>
                      <a:lnTo>
                        <a:pt x="6432" y="828"/>
                      </a:lnTo>
                      <a:lnTo>
                        <a:pt x="6438" y="816"/>
                      </a:lnTo>
                      <a:lnTo>
                        <a:pt x="6450" y="816"/>
                      </a:lnTo>
                      <a:lnTo>
                        <a:pt x="6456" y="816"/>
                      </a:lnTo>
                      <a:lnTo>
                        <a:pt x="6468" y="822"/>
                      </a:lnTo>
                      <a:lnTo>
                        <a:pt x="6474" y="822"/>
                      </a:lnTo>
                      <a:lnTo>
                        <a:pt x="6474" y="828"/>
                      </a:lnTo>
                      <a:lnTo>
                        <a:pt x="6474" y="828"/>
                      </a:lnTo>
                      <a:lnTo>
                        <a:pt x="6474" y="834"/>
                      </a:lnTo>
                      <a:lnTo>
                        <a:pt x="6474" y="840"/>
                      </a:lnTo>
                      <a:lnTo>
                        <a:pt x="6480" y="852"/>
                      </a:lnTo>
                      <a:lnTo>
                        <a:pt x="6480" y="852"/>
                      </a:lnTo>
                      <a:lnTo>
                        <a:pt x="6486" y="858"/>
                      </a:lnTo>
                      <a:lnTo>
                        <a:pt x="6492" y="870"/>
                      </a:lnTo>
                      <a:lnTo>
                        <a:pt x="6498" y="882"/>
                      </a:lnTo>
                      <a:lnTo>
                        <a:pt x="6504" y="900"/>
                      </a:lnTo>
                      <a:lnTo>
                        <a:pt x="6510" y="912"/>
                      </a:lnTo>
                      <a:lnTo>
                        <a:pt x="6510" y="924"/>
                      </a:lnTo>
                      <a:lnTo>
                        <a:pt x="6510" y="942"/>
                      </a:lnTo>
                      <a:lnTo>
                        <a:pt x="6498" y="960"/>
                      </a:lnTo>
                      <a:lnTo>
                        <a:pt x="6486" y="978"/>
                      </a:lnTo>
                      <a:lnTo>
                        <a:pt x="6468" y="984"/>
                      </a:lnTo>
                      <a:lnTo>
                        <a:pt x="6456" y="984"/>
                      </a:lnTo>
                      <a:lnTo>
                        <a:pt x="6444" y="990"/>
                      </a:lnTo>
                      <a:lnTo>
                        <a:pt x="6438" y="1002"/>
                      </a:lnTo>
                      <a:lnTo>
                        <a:pt x="6432" y="1020"/>
                      </a:lnTo>
                      <a:lnTo>
                        <a:pt x="6420" y="1044"/>
                      </a:lnTo>
                      <a:lnTo>
                        <a:pt x="6414" y="1062"/>
                      </a:lnTo>
                      <a:lnTo>
                        <a:pt x="6402" y="1074"/>
                      </a:lnTo>
                      <a:lnTo>
                        <a:pt x="6390" y="1086"/>
                      </a:lnTo>
                      <a:lnTo>
                        <a:pt x="6378" y="1092"/>
                      </a:lnTo>
                      <a:lnTo>
                        <a:pt x="6366" y="1098"/>
                      </a:lnTo>
                      <a:lnTo>
                        <a:pt x="6348" y="1098"/>
                      </a:lnTo>
                      <a:lnTo>
                        <a:pt x="6330" y="1104"/>
                      </a:lnTo>
                      <a:lnTo>
                        <a:pt x="6318" y="1110"/>
                      </a:lnTo>
                      <a:lnTo>
                        <a:pt x="6306" y="1122"/>
                      </a:lnTo>
                      <a:lnTo>
                        <a:pt x="6294" y="1128"/>
                      </a:lnTo>
                      <a:lnTo>
                        <a:pt x="6288" y="1134"/>
                      </a:lnTo>
                      <a:lnTo>
                        <a:pt x="6288" y="1140"/>
                      </a:lnTo>
                      <a:lnTo>
                        <a:pt x="6288" y="1146"/>
                      </a:lnTo>
                      <a:lnTo>
                        <a:pt x="6294" y="1152"/>
                      </a:lnTo>
                      <a:lnTo>
                        <a:pt x="6306" y="1152"/>
                      </a:lnTo>
                      <a:lnTo>
                        <a:pt x="6318" y="1146"/>
                      </a:lnTo>
                      <a:lnTo>
                        <a:pt x="6324" y="1152"/>
                      </a:lnTo>
                      <a:lnTo>
                        <a:pt x="6324" y="1158"/>
                      </a:lnTo>
                      <a:lnTo>
                        <a:pt x="6324" y="1164"/>
                      </a:lnTo>
                      <a:lnTo>
                        <a:pt x="6318" y="1170"/>
                      </a:lnTo>
                      <a:lnTo>
                        <a:pt x="6306" y="1182"/>
                      </a:lnTo>
                      <a:lnTo>
                        <a:pt x="6294" y="1188"/>
                      </a:lnTo>
                      <a:lnTo>
                        <a:pt x="6282" y="1200"/>
                      </a:lnTo>
                      <a:lnTo>
                        <a:pt x="6264" y="1206"/>
                      </a:lnTo>
                      <a:lnTo>
                        <a:pt x="6222" y="1230"/>
                      </a:lnTo>
                      <a:lnTo>
                        <a:pt x="6186" y="1272"/>
                      </a:lnTo>
                      <a:lnTo>
                        <a:pt x="6162" y="1308"/>
                      </a:lnTo>
                      <a:lnTo>
                        <a:pt x="6114" y="1350"/>
                      </a:lnTo>
                      <a:lnTo>
                        <a:pt x="6060" y="1374"/>
                      </a:lnTo>
                      <a:lnTo>
                        <a:pt x="6042" y="1380"/>
                      </a:lnTo>
                      <a:lnTo>
                        <a:pt x="6030" y="1386"/>
                      </a:lnTo>
                      <a:lnTo>
                        <a:pt x="6030" y="1392"/>
                      </a:lnTo>
                      <a:lnTo>
                        <a:pt x="6036" y="1404"/>
                      </a:lnTo>
                      <a:lnTo>
                        <a:pt x="6048" y="1416"/>
                      </a:lnTo>
                      <a:lnTo>
                        <a:pt x="6060" y="1434"/>
                      </a:lnTo>
                      <a:lnTo>
                        <a:pt x="6054" y="1458"/>
                      </a:lnTo>
                      <a:lnTo>
                        <a:pt x="6030" y="1488"/>
                      </a:lnTo>
                      <a:lnTo>
                        <a:pt x="6006" y="1530"/>
                      </a:lnTo>
                      <a:lnTo>
                        <a:pt x="5994" y="1548"/>
                      </a:lnTo>
                      <a:lnTo>
                        <a:pt x="5988" y="1560"/>
                      </a:lnTo>
                      <a:lnTo>
                        <a:pt x="5988" y="1572"/>
                      </a:lnTo>
                      <a:lnTo>
                        <a:pt x="5994" y="1572"/>
                      </a:lnTo>
                      <a:lnTo>
                        <a:pt x="5994" y="1578"/>
                      </a:lnTo>
                      <a:lnTo>
                        <a:pt x="6000" y="1578"/>
                      </a:lnTo>
                      <a:lnTo>
                        <a:pt x="6006" y="1572"/>
                      </a:lnTo>
                      <a:lnTo>
                        <a:pt x="6012" y="1572"/>
                      </a:lnTo>
                      <a:lnTo>
                        <a:pt x="6018" y="1566"/>
                      </a:lnTo>
                      <a:lnTo>
                        <a:pt x="6024" y="1560"/>
                      </a:lnTo>
                      <a:lnTo>
                        <a:pt x="6030" y="1560"/>
                      </a:lnTo>
                      <a:lnTo>
                        <a:pt x="6036" y="1560"/>
                      </a:lnTo>
                      <a:lnTo>
                        <a:pt x="6042" y="1560"/>
                      </a:lnTo>
                      <a:lnTo>
                        <a:pt x="6060" y="1566"/>
                      </a:lnTo>
                      <a:lnTo>
                        <a:pt x="6066" y="1566"/>
                      </a:lnTo>
                      <a:lnTo>
                        <a:pt x="6072" y="1560"/>
                      </a:lnTo>
                      <a:lnTo>
                        <a:pt x="6078" y="1560"/>
                      </a:lnTo>
                      <a:lnTo>
                        <a:pt x="6078" y="1554"/>
                      </a:lnTo>
                      <a:lnTo>
                        <a:pt x="6084" y="1548"/>
                      </a:lnTo>
                      <a:lnTo>
                        <a:pt x="6096" y="1536"/>
                      </a:lnTo>
                      <a:lnTo>
                        <a:pt x="6102" y="1524"/>
                      </a:lnTo>
                      <a:lnTo>
                        <a:pt x="6108" y="1518"/>
                      </a:lnTo>
                      <a:lnTo>
                        <a:pt x="6114" y="1518"/>
                      </a:lnTo>
                      <a:lnTo>
                        <a:pt x="6126" y="1518"/>
                      </a:lnTo>
                      <a:lnTo>
                        <a:pt x="6132" y="1524"/>
                      </a:lnTo>
                      <a:lnTo>
                        <a:pt x="6150" y="1524"/>
                      </a:lnTo>
                      <a:lnTo>
                        <a:pt x="6162" y="1524"/>
                      </a:lnTo>
                      <a:lnTo>
                        <a:pt x="6162" y="1518"/>
                      </a:lnTo>
                      <a:lnTo>
                        <a:pt x="6162" y="1512"/>
                      </a:lnTo>
                      <a:lnTo>
                        <a:pt x="6162" y="1506"/>
                      </a:lnTo>
                      <a:lnTo>
                        <a:pt x="6156" y="1494"/>
                      </a:lnTo>
                      <a:lnTo>
                        <a:pt x="6150" y="1482"/>
                      </a:lnTo>
                      <a:lnTo>
                        <a:pt x="6144" y="1464"/>
                      </a:lnTo>
                      <a:lnTo>
                        <a:pt x="6138" y="1446"/>
                      </a:lnTo>
                      <a:lnTo>
                        <a:pt x="6150" y="1428"/>
                      </a:lnTo>
                      <a:lnTo>
                        <a:pt x="6180" y="1410"/>
                      </a:lnTo>
                      <a:lnTo>
                        <a:pt x="6216" y="1404"/>
                      </a:lnTo>
                      <a:lnTo>
                        <a:pt x="6258" y="1398"/>
                      </a:lnTo>
                      <a:lnTo>
                        <a:pt x="6282" y="1386"/>
                      </a:lnTo>
                      <a:lnTo>
                        <a:pt x="6294" y="1374"/>
                      </a:lnTo>
                      <a:lnTo>
                        <a:pt x="6300" y="1368"/>
                      </a:lnTo>
                      <a:lnTo>
                        <a:pt x="6306" y="1362"/>
                      </a:lnTo>
                      <a:lnTo>
                        <a:pt x="6318" y="1356"/>
                      </a:lnTo>
                      <a:lnTo>
                        <a:pt x="6330" y="1356"/>
                      </a:lnTo>
                      <a:lnTo>
                        <a:pt x="6384" y="1356"/>
                      </a:lnTo>
                      <a:lnTo>
                        <a:pt x="6456" y="1332"/>
                      </a:lnTo>
                      <a:lnTo>
                        <a:pt x="6474" y="1320"/>
                      </a:lnTo>
                      <a:lnTo>
                        <a:pt x="6492" y="1308"/>
                      </a:lnTo>
                      <a:lnTo>
                        <a:pt x="6504" y="1296"/>
                      </a:lnTo>
                      <a:lnTo>
                        <a:pt x="6504" y="1284"/>
                      </a:lnTo>
                      <a:lnTo>
                        <a:pt x="6504" y="1272"/>
                      </a:lnTo>
                      <a:lnTo>
                        <a:pt x="6498" y="1266"/>
                      </a:lnTo>
                      <a:lnTo>
                        <a:pt x="6486" y="1254"/>
                      </a:lnTo>
                      <a:lnTo>
                        <a:pt x="6468" y="1260"/>
                      </a:lnTo>
                      <a:lnTo>
                        <a:pt x="6438" y="1266"/>
                      </a:lnTo>
                      <a:lnTo>
                        <a:pt x="6396" y="1290"/>
                      </a:lnTo>
                      <a:lnTo>
                        <a:pt x="6378" y="1296"/>
                      </a:lnTo>
                      <a:lnTo>
                        <a:pt x="6360" y="1296"/>
                      </a:lnTo>
                      <a:lnTo>
                        <a:pt x="6348" y="1296"/>
                      </a:lnTo>
                      <a:lnTo>
                        <a:pt x="6342" y="1290"/>
                      </a:lnTo>
                      <a:lnTo>
                        <a:pt x="6342" y="1278"/>
                      </a:lnTo>
                      <a:lnTo>
                        <a:pt x="6342" y="1266"/>
                      </a:lnTo>
                      <a:lnTo>
                        <a:pt x="6342" y="1254"/>
                      </a:lnTo>
                      <a:lnTo>
                        <a:pt x="6348" y="1242"/>
                      </a:lnTo>
                      <a:lnTo>
                        <a:pt x="6354" y="1230"/>
                      </a:lnTo>
                      <a:lnTo>
                        <a:pt x="6360" y="1218"/>
                      </a:lnTo>
                      <a:lnTo>
                        <a:pt x="6384" y="1200"/>
                      </a:lnTo>
                      <a:lnTo>
                        <a:pt x="6414" y="1194"/>
                      </a:lnTo>
                      <a:lnTo>
                        <a:pt x="6444" y="1194"/>
                      </a:lnTo>
                      <a:lnTo>
                        <a:pt x="6462" y="1182"/>
                      </a:lnTo>
                      <a:lnTo>
                        <a:pt x="6492" y="1170"/>
                      </a:lnTo>
                      <a:lnTo>
                        <a:pt x="6528" y="1176"/>
                      </a:lnTo>
                      <a:lnTo>
                        <a:pt x="6564" y="1194"/>
                      </a:lnTo>
                      <a:lnTo>
                        <a:pt x="6576" y="1200"/>
                      </a:lnTo>
                      <a:lnTo>
                        <a:pt x="6582" y="1200"/>
                      </a:lnTo>
                      <a:lnTo>
                        <a:pt x="6588" y="1194"/>
                      </a:lnTo>
                      <a:lnTo>
                        <a:pt x="6594" y="1182"/>
                      </a:lnTo>
                      <a:lnTo>
                        <a:pt x="6600" y="1170"/>
                      </a:lnTo>
                      <a:lnTo>
                        <a:pt x="6600" y="1152"/>
                      </a:lnTo>
                      <a:lnTo>
                        <a:pt x="6606" y="1140"/>
                      </a:lnTo>
                      <a:lnTo>
                        <a:pt x="6606" y="1128"/>
                      </a:lnTo>
                      <a:lnTo>
                        <a:pt x="6612" y="1122"/>
                      </a:lnTo>
                      <a:lnTo>
                        <a:pt x="6624" y="1122"/>
                      </a:lnTo>
                      <a:lnTo>
                        <a:pt x="6630" y="1128"/>
                      </a:lnTo>
                      <a:lnTo>
                        <a:pt x="6642" y="1134"/>
                      </a:lnTo>
                      <a:lnTo>
                        <a:pt x="6654" y="1146"/>
                      </a:lnTo>
                      <a:lnTo>
                        <a:pt x="6660" y="1158"/>
                      </a:lnTo>
                      <a:lnTo>
                        <a:pt x="6672" y="1164"/>
                      </a:lnTo>
                      <a:lnTo>
                        <a:pt x="6672" y="1170"/>
                      </a:lnTo>
                      <a:lnTo>
                        <a:pt x="6678" y="1182"/>
                      </a:lnTo>
                      <a:lnTo>
                        <a:pt x="6678" y="1188"/>
                      </a:lnTo>
                      <a:lnTo>
                        <a:pt x="6678" y="1200"/>
                      </a:lnTo>
                      <a:lnTo>
                        <a:pt x="6672" y="1212"/>
                      </a:lnTo>
                      <a:lnTo>
                        <a:pt x="6672" y="1224"/>
                      </a:lnTo>
                      <a:lnTo>
                        <a:pt x="6678" y="1236"/>
                      </a:lnTo>
                      <a:lnTo>
                        <a:pt x="6684" y="1248"/>
                      </a:lnTo>
                      <a:lnTo>
                        <a:pt x="6690" y="1254"/>
                      </a:lnTo>
                      <a:lnTo>
                        <a:pt x="6696" y="1272"/>
                      </a:lnTo>
                      <a:lnTo>
                        <a:pt x="6708" y="1296"/>
                      </a:lnTo>
                      <a:lnTo>
                        <a:pt x="6714" y="1320"/>
                      </a:lnTo>
                      <a:lnTo>
                        <a:pt x="6720" y="1332"/>
                      </a:lnTo>
                      <a:lnTo>
                        <a:pt x="6726" y="1338"/>
                      </a:lnTo>
                      <a:lnTo>
                        <a:pt x="6732" y="1344"/>
                      </a:lnTo>
                      <a:lnTo>
                        <a:pt x="6738" y="1338"/>
                      </a:lnTo>
                      <a:lnTo>
                        <a:pt x="6750" y="1326"/>
                      </a:lnTo>
                      <a:lnTo>
                        <a:pt x="6756" y="1320"/>
                      </a:lnTo>
                      <a:lnTo>
                        <a:pt x="6762" y="1308"/>
                      </a:lnTo>
                      <a:lnTo>
                        <a:pt x="6762" y="1290"/>
                      </a:lnTo>
                      <a:lnTo>
                        <a:pt x="6762" y="1278"/>
                      </a:lnTo>
                      <a:lnTo>
                        <a:pt x="6756" y="1260"/>
                      </a:lnTo>
                      <a:lnTo>
                        <a:pt x="6744" y="1236"/>
                      </a:lnTo>
                      <a:lnTo>
                        <a:pt x="6738" y="1224"/>
                      </a:lnTo>
                      <a:lnTo>
                        <a:pt x="6732" y="1218"/>
                      </a:lnTo>
                      <a:lnTo>
                        <a:pt x="6732" y="1206"/>
                      </a:lnTo>
                      <a:lnTo>
                        <a:pt x="6738" y="1206"/>
                      </a:lnTo>
                      <a:lnTo>
                        <a:pt x="6750" y="1200"/>
                      </a:lnTo>
                      <a:lnTo>
                        <a:pt x="6756" y="1200"/>
                      </a:lnTo>
                      <a:lnTo>
                        <a:pt x="6768" y="1194"/>
                      </a:lnTo>
                      <a:lnTo>
                        <a:pt x="6780" y="1194"/>
                      </a:lnTo>
                      <a:lnTo>
                        <a:pt x="6798" y="1188"/>
                      </a:lnTo>
                      <a:lnTo>
                        <a:pt x="6840" y="1170"/>
                      </a:lnTo>
                      <a:lnTo>
                        <a:pt x="6882" y="1158"/>
                      </a:lnTo>
                      <a:lnTo>
                        <a:pt x="6918" y="1152"/>
                      </a:lnTo>
                      <a:lnTo>
                        <a:pt x="6942" y="1146"/>
                      </a:lnTo>
                      <a:lnTo>
                        <a:pt x="6960" y="1140"/>
                      </a:lnTo>
                      <a:lnTo>
                        <a:pt x="6984" y="1122"/>
                      </a:lnTo>
                      <a:lnTo>
                        <a:pt x="7008" y="1110"/>
                      </a:lnTo>
                      <a:lnTo>
                        <a:pt x="7026" y="1104"/>
                      </a:lnTo>
                      <a:lnTo>
                        <a:pt x="7038" y="1098"/>
                      </a:lnTo>
                      <a:lnTo>
                        <a:pt x="7044" y="1092"/>
                      </a:lnTo>
                      <a:lnTo>
                        <a:pt x="7050" y="1092"/>
                      </a:lnTo>
                      <a:lnTo>
                        <a:pt x="7056" y="1092"/>
                      </a:lnTo>
                      <a:lnTo>
                        <a:pt x="7068" y="1092"/>
                      </a:lnTo>
                      <a:lnTo>
                        <a:pt x="7074" y="1092"/>
                      </a:lnTo>
                      <a:lnTo>
                        <a:pt x="7086" y="1098"/>
                      </a:lnTo>
                      <a:lnTo>
                        <a:pt x="7104" y="1098"/>
                      </a:lnTo>
                      <a:lnTo>
                        <a:pt x="7116" y="1110"/>
                      </a:lnTo>
                      <a:lnTo>
                        <a:pt x="7122" y="1122"/>
                      </a:lnTo>
                      <a:lnTo>
                        <a:pt x="7134" y="1134"/>
                      </a:lnTo>
                      <a:lnTo>
                        <a:pt x="7134" y="1158"/>
                      </a:lnTo>
                      <a:lnTo>
                        <a:pt x="7140" y="1170"/>
                      </a:lnTo>
                      <a:lnTo>
                        <a:pt x="7140" y="1182"/>
                      </a:lnTo>
                      <a:lnTo>
                        <a:pt x="7152" y="1188"/>
                      </a:lnTo>
                      <a:lnTo>
                        <a:pt x="7158" y="1188"/>
                      </a:lnTo>
                      <a:lnTo>
                        <a:pt x="7176" y="1188"/>
                      </a:lnTo>
                      <a:lnTo>
                        <a:pt x="7188" y="1182"/>
                      </a:lnTo>
                      <a:lnTo>
                        <a:pt x="7212" y="1176"/>
                      </a:lnTo>
                      <a:lnTo>
                        <a:pt x="7290" y="1152"/>
                      </a:lnTo>
                      <a:lnTo>
                        <a:pt x="7350" y="1122"/>
                      </a:lnTo>
                      <a:lnTo>
                        <a:pt x="7398" y="1098"/>
                      </a:lnTo>
                      <a:lnTo>
                        <a:pt x="7446" y="1086"/>
                      </a:lnTo>
                      <a:lnTo>
                        <a:pt x="7500" y="1074"/>
                      </a:lnTo>
                      <a:lnTo>
                        <a:pt x="7512" y="1068"/>
                      </a:lnTo>
                      <a:lnTo>
                        <a:pt x="7512" y="1056"/>
                      </a:lnTo>
                      <a:lnTo>
                        <a:pt x="7512" y="1044"/>
                      </a:lnTo>
                      <a:lnTo>
                        <a:pt x="7500" y="1038"/>
                      </a:lnTo>
                      <a:lnTo>
                        <a:pt x="7488" y="1026"/>
                      </a:lnTo>
                      <a:lnTo>
                        <a:pt x="7470" y="1020"/>
                      </a:lnTo>
                      <a:lnTo>
                        <a:pt x="7452" y="1014"/>
                      </a:lnTo>
                      <a:lnTo>
                        <a:pt x="7434" y="1008"/>
                      </a:lnTo>
                      <a:lnTo>
                        <a:pt x="7416" y="1002"/>
                      </a:lnTo>
                      <a:lnTo>
                        <a:pt x="7410" y="996"/>
                      </a:lnTo>
                      <a:lnTo>
                        <a:pt x="7410" y="990"/>
                      </a:lnTo>
                      <a:lnTo>
                        <a:pt x="7410" y="990"/>
                      </a:lnTo>
                      <a:lnTo>
                        <a:pt x="7422" y="984"/>
                      </a:lnTo>
                      <a:lnTo>
                        <a:pt x="7428" y="978"/>
                      </a:lnTo>
                      <a:lnTo>
                        <a:pt x="7440" y="978"/>
                      </a:lnTo>
                      <a:lnTo>
                        <a:pt x="7452" y="978"/>
                      </a:lnTo>
                      <a:lnTo>
                        <a:pt x="7458" y="972"/>
                      </a:lnTo>
                      <a:lnTo>
                        <a:pt x="7464" y="966"/>
                      </a:lnTo>
                      <a:lnTo>
                        <a:pt x="7476" y="960"/>
                      </a:lnTo>
                      <a:lnTo>
                        <a:pt x="7482" y="954"/>
                      </a:lnTo>
                      <a:lnTo>
                        <a:pt x="7488" y="942"/>
                      </a:lnTo>
                      <a:lnTo>
                        <a:pt x="7488" y="936"/>
                      </a:lnTo>
                      <a:lnTo>
                        <a:pt x="7488" y="930"/>
                      </a:lnTo>
                      <a:lnTo>
                        <a:pt x="7476" y="930"/>
                      </a:lnTo>
                      <a:lnTo>
                        <a:pt x="7464" y="930"/>
                      </a:lnTo>
                      <a:lnTo>
                        <a:pt x="7446" y="930"/>
                      </a:lnTo>
                      <a:lnTo>
                        <a:pt x="7434" y="924"/>
                      </a:lnTo>
                      <a:lnTo>
                        <a:pt x="7434" y="918"/>
                      </a:lnTo>
                      <a:lnTo>
                        <a:pt x="7434" y="912"/>
                      </a:lnTo>
                      <a:lnTo>
                        <a:pt x="7434" y="900"/>
                      </a:lnTo>
                      <a:lnTo>
                        <a:pt x="7440" y="888"/>
                      </a:lnTo>
                      <a:lnTo>
                        <a:pt x="7452" y="882"/>
                      </a:lnTo>
                      <a:lnTo>
                        <a:pt x="7470" y="864"/>
                      </a:lnTo>
                      <a:lnTo>
                        <a:pt x="7488" y="852"/>
                      </a:lnTo>
                      <a:lnTo>
                        <a:pt x="7500" y="852"/>
                      </a:lnTo>
                      <a:lnTo>
                        <a:pt x="7518" y="858"/>
                      </a:lnTo>
                      <a:lnTo>
                        <a:pt x="7530" y="864"/>
                      </a:lnTo>
                      <a:lnTo>
                        <a:pt x="7548" y="870"/>
                      </a:lnTo>
                      <a:lnTo>
                        <a:pt x="7572" y="870"/>
                      </a:lnTo>
                      <a:lnTo>
                        <a:pt x="7590" y="876"/>
                      </a:lnTo>
                      <a:lnTo>
                        <a:pt x="7614" y="882"/>
                      </a:lnTo>
                      <a:lnTo>
                        <a:pt x="7632" y="894"/>
                      </a:lnTo>
                      <a:lnTo>
                        <a:pt x="7656" y="888"/>
                      </a:lnTo>
                      <a:lnTo>
                        <a:pt x="7686" y="864"/>
                      </a:lnTo>
                      <a:lnTo>
                        <a:pt x="7716" y="840"/>
                      </a:lnTo>
                      <a:lnTo>
                        <a:pt x="7740" y="840"/>
                      </a:lnTo>
                      <a:lnTo>
                        <a:pt x="7758" y="846"/>
                      </a:lnTo>
                      <a:lnTo>
                        <a:pt x="7776" y="858"/>
                      </a:lnTo>
                      <a:lnTo>
                        <a:pt x="7794" y="858"/>
                      </a:lnTo>
                      <a:lnTo>
                        <a:pt x="7842" y="846"/>
                      </a:lnTo>
                      <a:lnTo>
                        <a:pt x="7896" y="840"/>
                      </a:lnTo>
                      <a:lnTo>
                        <a:pt x="7908" y="840"/>
                      </a:lnTo>
                      <a:lnTo>
                        <a:pt x="7914" y="840"/>
                      </a:lnTo>
                      <a:lnTo>
                        <a:pt x="7920" y="846"/>
                      </a:lnTo>
                      <a:lnTo>
                        <a:pt x="7926" y="852"/>
                      </a:lnTo>
                      <a:lnTo>
                        <a:pt x="7932" y="858"/>
                      </a:lnTo>
                      <a:lnTo>
                        <a:pt x="7938" y="864"/>
                      </a:lnTo>
                      <a:lnTo>
                        <a:pt x="7950" y="864"/>
                      </a:lnTo>
                      <a:lnTo>
                        <a:pt x="7962" y="864"/>
                      </a:lnTo>
                      <a:lnTo>
                        <a:pt x="7974" y="870"/>
                      </a:lnTo>
                      <a:lnTo>
                        <a:pt x="7980" y="882"/>
                      </a:lnTo>
                      <a:lnTo>
                        <a:pt x="7980" y="888"/>
                      </a:lnTo>
                      <a:lnTo>
                        <a:pt x="7980" y="900"/>
                      </a:lnTo>
                      <a:lnTo>
                        <a:pt x="7968" y="912"/>
                      </a:lnTo>
                      <a:lnTo>
                        <a:pt x="7950" y="924"/>
                      </a:lnTo>
                      <a:lnTo>
                        <a:pt x="7938" y="930"/>
                      </a:lnTo>
                      <a:lnTo>
                        <a:pt x="7932" y="942"/>
                      </a:lnTo>
                      <a:lnTo>
                        <a:pt x="7926" y="954"/>
                      </a:lnTo>
                      <a:lnTo>
                        <a:pt x="7914" y="972"/>
                      </a:lnTo>
                      <a:lnTo>
                        <a:pt x="7908" y="990"/>
                      </a:lnTo>
                      <a:lnTo>
                        <a:pt x="7896" y="1008"/>
                      </a:lnTo>
                      <a:lnTo>
                        <a:pt x="7878" y="1026"/>
                      </a:lnTo>
                      <a:lnTo>
                        <a:pt x="7860" y="1038"/>
                      </a:lnTo>
                      <a:lnTo>
                        <a:pt x="7848" y="1044"/>
                      </a:lnTo>
                      <a:lnTo>
                        <a:pt x="7836" y="1056"/>
                      </a:lnTo>
                      <a:lnTo>
                        <a:pt x="7824" y="1062"/>
                      </a:lnTo>
                      <a:lnTo>
                        <a:pt x="7812" y="1068"/>
                      </a:lnTo>
                      <a:lnTo>
                        <a:pt x="7806" y="1080"/>
                      </a:lnTo>
                      <a:lnTo>
                        <a:pt x="7806" y="1092"/>
                      </a:lnTo>
                      <a:lnTo>
                        <a:pt x="7812" y="1104"/>
                      </a:lnTo>
                      <a:lnTo>
                        <a:pt x="7812" y="1122"/>
                      </a:lnTo>
                      <a:lnTo>
                        <a:pt x="7806" y="1134"/>
                      </a:lnTo>
                      <a:lnTo>
                        <a:pt x="7812" y="1152"/>
                      </a:lnTo>
                      <a:lnTo>
                        <a:pt x="7812" y="1164"/>
                      </a:lnTo>
                      <a:lnTo>
                        <a:pt x="7824" y="1176"/>
                      </a:lnTo>
                      <a:lnTo>
                        <a:pt x="7836" y="1188"/>
                      </a:lnTo>
                      <a:lnTo>
                        <a:pt x="7854" y="1200"/>
                      </a:lnTo>
                      <a:lnTo>
                        <a:pt x="7866" y="1206"/>
                      </a:lnTo>
                      <a:lnTo>
                        <a:pt x="7878" y="1212"/>
                      </a:lnTo>
                      <a:lnTo>
                        <a:pt x="7890" y="1212"/>
                      </a:lnTo>
                      <a:lnTo>
                        <a:pt x="7896" y="1212"/>
                      </a:lnTo>
                      <a:lnTo>
                        <a:pt x="7896" y="1206"/>
                      </a:lnTo>
                      <a:lnTo>
                        <a:pt x="7896" y="1194"/>
                      </a:lnTo>
                      <a:lnTo>
                        <a:pt x="7890" y="1182"/>
                      </a:lnTo>
                      <a:lnTo>
                        <a:pt x="7884" y="1170"/>
                      </a:lnTo>
                      <a:lnTo>
                        <a:pt x="7878" y="1158"/>
                      </a:lnTo>
                      <a:lnTo>
                        <a:pt x="7872" y="1152"/>
                      </a:lnTo>
                      <a:lnTo>
                        <a:pt x="7866" y="1134"/>
                      </a:lnTo>
                      <a:lnTo>
                        <a:pt x="7866" y="1122"/>
                      </a:lnTo>
                      <a:lnTo>
                        <a:pt x="7878" y="1110"/>
                      </a:lnTo>
                      <a:lnTo>
                        <a:pt x="7896" y="1098"/>
                      </a:lnTo>
                      <a:lnTo>
                        <a:pt x="7902" y="1092"/>
                      </a:lnTo>
                      <a:lnTo>
                        <a:pt x="7908" y="1092"/>
                      </a:lnTo>
                      <a:lnTo>
                        <a:pt x="7914" y="1098"/>
                      </a:lnTo>
                      <a:lnTo>
                        <a:pt x="7920" y="1098"/>
                      </a:lnTo>
                      <a:lnTo>
                        <a:pt x="7926" y="1104"/>
                      </a:lnTo>
                      <a:lnTo>
                        <a:pt x="7938" y="1110"/>
                      </a:lnTo>
                      <a:lnTo>
                        <a:pt x="7950" y="1116"/>
                      </a:lnTo>
                      <a:lnTo>
                        <a:pt x="7968" y="1116"/>
                      </a:lnTo>
                      <a:lnTo>
                        <a:pt x="7986" y="1122"/>
                      </a:lnTo>
                      <a:lnTo>
                        <a:pt x="8010" y="1134"/>
                      </a:lnTo>
                      <a:lnTo>
                        <a:pt x="8046" y="1146"/>
                      </a:lnTo>
                      <a:lnTo>
                        <a:pt x="8064" y="1158"/>
                      </a:lnTo>
                      <a:lnTo>
                        <a:pt x="8082" y="1158"/>
                      </a:lnTo>
                      <a:lnTo>
                        <a:pt x="8088" y="1164"/>
                      </a:lnTo>
                      <a:lnTo>
                        <a:pt x="8094" y="1158"/>
                      </a:lnTo>
                      <a:lnTo>
                        <a:pt x="8100" y="1152"/>
                      </a:lnTo>
                      <a:lnTo>
                        <a:pt x="8100" y="1146"/>
                      </a:lnTo>
                      <a:lnTo>
                        <a:pt x="8094" y="1140"/>
                      </a:lnTo>
                      <a:lnTo>
                        <a:pt x="8094" y="1128"/>
                      </a:lnTo>
                      <a:lnTo>
                        <a:pt x="8088" y="1122"/>
                      </a:lnTo>
                      <a:lnTo>
                        <a:pt x="8088" y="1116"/>
                      </a:lnTo>
                      <a:lnTo>
                        <a:pt x="8094" y="1116"/>
                      </a:lnTo>
                      <a:lnTo>
                        <a:pt x="8106" y="1116"/>
                      </a:lnTo>
                      <a:lnTo>
                        <a:pt x="8118" y="1122"/>
                      </a:lnTo>
                      <a:lnTo>
                        <a:pt x="8130" y="1128"/>
                      </a:lnTo>
                      <a:lnTo>
                        <a:pt x="8142" y="1128"/>
                      </a:lnTo>
                      <a:lnTo>
                        <a:pt x="8160" y="1128"/>
                      </a:lnTo>
                      <a:lnTo>
                        <a:pt x="8166" y="1134"/>
                      </a:lnTo>
                      <a:lnTo>
                        <a:pt x="8178" y="1140"/>
                      </a:lnTo>
                      <a:lnTo>
                        <a:pt x="8184" y="1146"/>
                      </a:lnTo>
                      <a:lnTo>
                        <a:pt x="8178" y="1146"/>
                      </a:lnTo>
                      <a:lnTo>
                        <a:pt x="8172" y="1152"/>
                      </a:lnTo>
                      <a:lnTo>
                        <a:pt x="8160" y="1152"/>
                      </a:lnTo>
                      <a:lnTo>
                        <a:pt x="8154" y="1158"/>
                      </a:lnTo>
                      <a:lnTo>
                        <a:pt x="8154" y="1164"/>
                      </a:lnTo>
                      <a:lnTo>
                        <a:pt x="8154" y="1176"/>
                      </a:lnTo>
                      <a:lnTo>
                        <a:pt x="8160" y="1194"/>
                      </a:lnTo>
                      <a:lnTo>
                        <a:pt x="8172" y="1206"/>
                      </a:lnTo>
                      <a:lnTo>
                        <a:pt x="8184" y="1212"/>
                      </a:lnTo>
                      <a:lnTo>
                        <a:pt x="8196" y="1218"/>
                      </a:lnTo>
                      <a:lnTo>
                        <a:pt x="8214" y="1224"/>
                      </a:lnTo>
                      <a:lnTo>
                        <a:pt x="8232" y="1224"/>
                      </a:lnTo>
                      <a:lnTo>
                        <a:pt x="8256" y="1224"/>
                      </a:lnTo>
                      <a:lnTo>
                        <a:pt x="8268" y="1224"/>
                      </a:lnTo>
                      <a:lnTo>
                        <a:pt x="8280" y="1230"/>
                      </a:lnTo>
                      <a:lnTo>
                        <a:pt x="8292" y="1236"/>
                      </a:lnTo>
                      <a:lnTo>
                        <a:pt x="8298" y="1248"/>
                      </a:lnTo>
                      <a:lnTo>
                        <a:pt x="8310" y="1260"/>
                      </a:lnTo>
                      <a:lnTo>
                        <a:pt x="8322" y="1278"/>
                      </a:lnTo>
                      <a:lnTo>
                        <a:pt x="8358" y="1296"/>
                      </a:lnTo>
                      <a:lnTo>
                        <a:pt x="8406" y="1308"/>
                      </a:lnTo>
                      <a:lnTo>
                        <a:pt x="8466" y="1290"/>
                      </a:lnTo>
                      <a:lnTo>
                        <a:pt x="8484" y="1278"/>
                      </a:lnTo>
                      <a:lnTo>
                        <a:pt x="8490" y="1272"/>
                      </a:lnTo>
                      <a:lnTo>
                        <a:pt x="8496" y="1260"/>
                      </a:lnTo>
                      <a:lnTo>
                        <a:pt x="8490" y="1254"/>
                      </a:lnTo>
                      <a:lnTo>
                        <a:pt x="8484" y="1248"/>
                      </a:lnTo>
                      <a:lnTo>
                        <a:pt x="8478" y="1236"/>
                      </a:lnTo>
                      <a:lnTo>
                        <a:pt x="8466" y="1224"/>
                      </a:lnTo>
                      <a:lnTo>
                        <a:pt x="8454" y="1212"/>
                      </a:lnTo>
                      <a:lnTo>
                        <a:pt x="8448" y="1200"/>
                      </a:lnTo>
                      <a:lnTo>
                        <a:pt x="8418" y="1140"/>
                      </a:lnTo>
                      <a:lnTo>
                        <a:pt x="8400" y="1062"/>
                      </a:lnTo>
                      <a:lnTo>
                        <a:pt x="8400" y="1044"/>
                      </a:lnTo>
                      <a:lnTo>
                        <a:pt x="8400" y="1026"/>
                      </a:lnTo>
                      <a:lnTo>
                        <a:pt x="8406" y="1020"/>
                      </a:lnTo>
                      <a:lnTo>
                        <a:pt x="8412" y="1014"/>
                      </a:lnTo>
                      <a:lnTo>
                        <a:pt x="8418" y="1008"/>
                      </a:lnTo>
                      <a:lnTo>
                        <a:pt x="8430" y="1008"/>
                      </a:lnTo>
                      <a:lnTo>
                        <a:pt x="8442" y="1014"/>
                      </a:lnTo>
                      <a:lnTo>
                        <a:pt x="8448" y="1020"/>
                      </a:lnTo>
                      <a:lnTo>
                        <a:pt x="8454" y="1032"/>
                      </a:lnTo>
                      <a:lnTo>
                        <a:pt x="8466" y="1056"/>
                      </a:lnTo>
                      <a:lnTo>
                        <a:pt x="8484" y="1086"/>
                      </a:lnTo>
                      <a:lnTo>
                        <a:pt x="8508" y="1116"/>
                      </a:lnTo>
                      <a:lnTo>
                        <a:pt x="8538" y="1134"/>
                      </a:lnTo>
                      <a:lnTo>
                        <a:pt x="8574" y="1122"/>
                      </a:lnTo>
                      <a:lnTo>
                        <a:pt x="8604" y="1098"/>
                      </a:lnTo>
                      <a:lnTo>
                        <a:pt x="8628" y="1092"/>
                      </a:lnTo>
                      <a:lnTo>
                        <a:pt x="8646" y="1098"/>
                      </a:lnTo>
                      <a:lnTo>
                        <a:pt x="8664" y="1104"/>
                      </a:lnTo>
                      <a:lnTo>
                        <a:pt x="8694" y="1116"/>
                      </a:lnTo>
                      <a:lnTo>
                        <a:pt x="8712" y="1122"/>
                      </a:lnTo>
                      <a:lnTo>
                        <a:pt x="8724" y="1122"/>
                      </a:lnTo>
                      <a:lnTo>
                        <a:pt x="8736" y="1116"/>
                      </a:lnTo>
                      <a:lnTo>
                        <a:pt x="8736" y="1110"/>
                      </a:lnTo>
                      <a:lnTo>
                        <a:pt x="8742" y="1098"/>
                      </a:lnTo>
                      <a:lnTo>
                        <a:pt x="8736" y="1086"/>
                      </a:lnTo>
                      <a:lnTo>
                        <a:pt x="8730" y="1080"/>
                      </a:lnTo>
                      <a:lnTo>
                        <a:pt x="8724" y="1074"/>
                      </a:lnTo>
                      <a:lnTo>
                        <a:pt x="8706" y="1062"/>
                      </a:lnTo>
                      <a:lnTo>
                        <a:pt x="8694" y="1050"/>
                      </a:lnTo>
                      <a:lnTo>
                        <a:pt x="8694" y="1038"/>
                      </a:lnTo>
                      <a:lnTo>
                        <a:pt x="8694" y="1026"/>
                      </a:lnTo>
                      <a:lnTo>
                        <a:pt x="8700" y="1014"/>
                      </a:lnTo>
                      <a:lnTo>
                        <a:pt x="8706" y="1002"/>
                      </a:lnTo>
                      <a:lnTo>
                        <a:pt x="8712" y="996"/>
                      </a:lnTo>
                      <a:lnTo>
                        <a:pt x="8724" y="990"/>
                      </a:lnTo>
                      <a:lnTo>
                        <a:pt x="8742" y="984"/>
                      </a:lnTo>
                      <a:lnTo>
                        <a:pt x="8754" y="984"/>
                      </a:lnTo>
                      <a:lnTo>
                        <a:pt x="8766" y="984"/>
                      </a:lnTo>
                      <a:lnTo>
                        <a:pt x="8778" y="984"/>
                      </a:lnTo>
                      <a:lnTo>
                        <a:pt x="8790" y="984"/>
                      </a:lnTo>
                      <a:lnTo>
                        <a:pt x="8808" y="990"/>
                      </a:lnTo>
                      <a:lnTo>
                        <a:pt x="8826" y="1002"/>
                      </a:lnTo>
                      <a:lnTo>
                        <a:pt x="8844" y="1008"/>
                      </a:lnTo>
                      <a:lnTo>
                        <a:pt x="8856" y="1014"/>
                      </a:lnTo>
                      <a:lnTo>
                        <a:pt x="8862" y="1014"/>
                      </a:lnTo>
                      <a:lnTo>
                        <a:pt x="8874" y="1008"/>
                      </a:lnTo>
                      <a:lnTo>
                        <a:pt x="8880" y="1008"/>
                      </a:lnTo>
                      <a:lnTo>
                        <a:pt x="8886" y="1002"/>
                      </a:lnTo>
                      <a:lnTo>
                        <a:pt x="8898" y="996"/>
                      </a:lnTo>
                      <a:lnTo>
                        <a:pt x="8934" y="996"/>
                      </a:lnTo>
                      <a:lnTo>
                        <a:pt x="8964" y="1014"/>
                      </a:lnTo>
                      <a:lnTo>
                        <a:pt x="9000" y="1026"/>
                      </a:lnTo>
                      <a:lnTo>
                        <a:pt x="9006" y="1032"/>
                      </a:lnTo>
                      <a:lnTo>
                        <a:pt x="9018" y="1026"/>
                      </a:lnTo>
                      <a:lnTo>
                        <a:pt x="9018" y="1026"/>
                      </a:lnTo>
                      <a:lnTo>
                        <a:pt x="9018" y="1020"/>
                      </a:lnTo>
                      <a:lnTo>
                        <a:pt x="9018" y="1014"/>
                      </a:lnTo>
                      <a:lnTo>
                        <a:pt x="9018" y="1002"/>
                      </a:lnTo>
                      <a:lnTo>
                        <a:pt x="9012" y="996"/>
                      </a:lnTo>
                      <a:lnTo>
                        <a:pt x="9012" y="984"/>
                      </a:lnTo>
                      <a:lnTo>
                        <a:pt x="9018" y="966"/>
                      </a:lnTo>
                      <a:lnTo>
                        <a:pt x="9030" y="936"/>
                      </a:lnTo>
                      <a:lnTo>
                        <a:pt x="9048" y="906"/>
                      </a:lnTo>
                      <a:lnTo>
                        <a:pt x="9048" y="882"/>
                      </a:lnTo>
                      <a:lnTo>
                        <a:pt x="9036" y="876"/>
                      </a:lnTo>
                      <a:lnTo>
                        <a:pt x="9024" y="870"/>
                      </a:lnTo>
                      <a:lnTo>
                        <a:pt x="9018" y="864"/>
                      </a:lnTo>
                      <a:lnTo>
                        <a:pt x="9012" y="858"/>
                      </a:lnTo>
                      <a:lnTo>
                        <a:pt x="9018" y="846"/>
                      </a:lnTo>
                      <a:lnTo>
                        <a:pt x="9024" y="834"/>
                      </a:lnTo>
                      <a:lnTo>
                        <a:pt x="9030" y="822"/>
                      </a:lnTo>
                      <a:lnTo>
                        <a:pt x="9030" y="810"/>
                      </a:lnTo>
                      <a:lnTo>
                        <a:pt x="9030" y="798"/>
                      </a:lnTo>
                      <a:lnTo>
                        <a:pt x="9030" y="786"/>
                      </a:lnTo>
                      <a:lnTo>
                        <a:pt x="9024" y="780"/>
                      </a:lnTo>
                      <a:lnTo>
                        <a:pt x="9012" y="780"/>
                      </a:lnTo>
                      <a:lnTo>
                        <a:pt x="9000" y="780"/>
                      </a:lnTo>
                      <a:lnTo>
                        <a:pt x="8988" y="786"/>
                      </a:lnTo>
                      <a:lnTo>
                        <a:pt x="8976" y="792"/>
                      </a:lnTo>
                      <a:lnTo>
                        <a:pt x="8970" y="804"/>
                      </a:lnTo>
                      <a:lnTo>
                        <a:pt x="8958" y="816"/>
                      </a:lnTo>
                      <a:lnTo>
                        <a:pt x="8952" y="822"/>
                      </a:lnTo>
                      <a:lnTo>
                        <a:pt x="8940" y="822"/>
                      </a:lnTo>
                      <a:lnTo>
                        <a:pt x="8934" y="816"/>
                      </a:lnTo>
                      <a:lnTo>
                        <a:pt x="8928" y="804"/>
                      </a:lnTo>
                      <a:lnTo>
                        <a:pt x="8916" y="792"/>
                      </a:lnTo>
                      <a:lnTo>
                        <a:pt x="8904" y="774"/>
                      </a:lnTo>
                      <a:lnTo>
                        <a:pt x="8904" y="756"/>
                      </a:lnTo>
                      <a:lnTo>
                        <a:pt x="8910" y="738"/>
                      </a:lnTo>
                      <a:lnTo>
                        <a:pt x="8922" y="726"/>
                      </a:lnTo>
                      <a:lnTo>
                        <a:pt x="8940" y="714"/>
                      </a:lnTo>
                      <a:lnTo>
                        <a:pt x="8958" y="708"/>
                      </a:lnTo>
                      <a:lnTo>
                        <a:pt x="8976" y="696"/>
                      </a:lnTo>
                      <a:lnTo>
                        <a:pt x="8994" y="690"/>
                      </a:lnTo>
                      <a:lnTo>
                        <a:pt x="9012" y="684"/>
                      </a:lnTo>
                      <a:lnTo>
                        <a:pt x="9018" y="678"/>
                      </a:lnTo>
                      <a:lnTo>
                        <a:pt x="9024" y="672"/>
                      </a:lnTo>
                      <a:lnTo>
                        <a:pt x="9018" y="666"/>
                      </a:lnTo>
                      <a:lnTo>
                        <a:pt x="9000" y="660"/>
                      </a:lnTo>
                      <a:lnTo>
                        <a:pt x="8988" y="648"/>
                      </a:lnTo>
                      <a:lnTo>
                        <a:pt x="8976" y="636"/>
                      </a:lnTo>
                      <a:lnTo>
                        <a:pt x="8970" y="630"/>
                      </a:lnTo>
                      <a:lnTo>
                        <a:pt x="8970" y="618"/>
                      </a:lnTo>
                      <a:lnTo>
                        <a:pt x="8982" y="606"/>
                      </a:lnTo>
                      <a:lnTo>
                        <a:pt x="9006" y="600"/>
                      </a:lnTo>
                      <a:lnTo>
                        <a:pt x="9048" y="594"/>
                      </a:lnTo>
                      <a:lnTo>
                        <a:pt x="9084" y="582"/>
                      </a:lnTo>
                      <a:lnTo>
                        <a:pt x="9132" y="564"/>
                      </a:lnTo>
                      <a:lnTo>
                        <a:pt x="9180" y="546"/>
                      </a:lnTo>
                      <a:lnTo>
                        <a:pt x="9234" y="534"/>
                      </a:lnTo>
                      <a:lnTo>
                        <a:pt x="9288" y="534"/>
                      </a:lnTo>
                      <a:lnTo>
                        <a:pt x="9330" y="540"/>
                      </a:lnTo>
                      <a:lnTo>
                        <a:pt x="9372" y="540"/>
                      </a:lnTo>
                      <a:lnTo>
                        <a:pt x="9408" y="522"/>
                      </a:lnTo>
                      <a:lnTo>
                        <a:pt x="9450" y="510"/>
                      </a:lnTo>
                      <a:lnTo>
                        <a:pt x="9486" y="504"/>
                      </a:lnTo>
                      <a:lnTo>
                        <a:pt x="9498" y="510"/>
                      </a:lnTo>
                      <a:lnTo>
                        <a:pt x="9504" y="516"/>
                      </a:lnTo>
                      <a:lnTo>
                        <a:pt x="9504" y="522"/>
                      </a:lnTo>
                      <a:lnTo>
                        <a:pt x="9498" y="528"/>
                      </a:lnTo>
                      <a:lnTo>
                        <a:pt x="9492" y="534"/>
                      </a:lnTo>
                      <a:lnTo>
                        <a:pt x="9486" y="534"/>
                      </a:lnTo>
                      <a:lnTo>
                        <a:pt x="9468" y="540"/>
                      </a:lnTo>
                      <a:lnTo>
                        <a:pt x="9456" y="552"/>
                      </a:lnTo>
                      <a:lnTo>
                        <a:pt x="9438" y="564"/>
                      </a:lnTo>
                      <a:lnTo>
                        <a:pt x="9420" y="588"/>
                      </a:lnTo>
                      <a:lnTo>
                        <a:pt x="9414" y="606"/>
                      </a:lnTo>
                      <a:lnTo>
                        <a:pt x="9408" y="618"/>
                      </a:lnTo>
                      <a:lnTo>
                        <a:pt x="9408" y="630"/>
                      </a:lnTo>
                      <a:lnTo>
                        <a:pt x="9414" y="636"/>
                      </a:lnTo>
                      <a:lnTo>
                        <a:pt x="9426" y="642"/>
                      </a:lnTo>
                      <a:lnTo>
                        <a:pt x="9438" y="642"/>
                      </a:lnTo>
                      <a:lnTo>
                        <a:pt x="9468" y="618"/>
                      </a:lnTo>
                      <a:lnTo>
                        <a:pt x="9510" y="588"/>
                      </a:lnTo>
                      <a:lnTo>
                        <a:pt x="9552" y="558"/>
                      </a:lnTo>
                      <a:lnTo>
                        <a:pt x="9564" y="552"/>
                      </a:lnTo>
                      <a:lnTo>
                        <a:pt x="9570" y="552"/>
                      </a:lnTo>
                      <a:lnTo>
                        <a:pt x="9576" y="558"/>
                      </a:lnTo>
                      <a:lnTo>
                        <a:pt x="9576" y="564"/>
                      </a:lnTo>
                      <a:lnTo>
                        <a:pt x="9576" y="570"/>
                      </a:lnTo>
                      <a:lnTo>
                        <a:pt x="9576" y="582"/>
                      </a:lnTo>
                      <a:lnTo>
                        <a:pt x="9576" y="588"/>
                      </a:lnTo>
                      <a:lnTo>
                        <a:pt x="9570" y="594"/>
                      </a:lnTo>
                      <a:lnTo>
                        <a:pt x="9564" y="600"/>
                      </a:lnTo>
                      <a:lnTo>
                        <a:pt x="9564" y="612"/>
                      </a:lnTo>
                      <a:lnTo>
                        <a:pt x="9564" y="618"/>
                      </a:lnTo>
                      <a:lnTo>
                        <a:pt x="9570" y="630"/>
                      </a:lnTo>
                      <a:lnTo>
                        <a:pt x="9576" y="636"/>
                      </a:lnTo>
                      <a:lnTo>
                        <a:pt x="9582" y="642"/>
                      </a:lnTo>
                      <a:lnTo>
                        <a:pt x="9588" y="648"/>
                      </a:lnTo>
                      <a:lnTo>
                        <a:pt x="9582" y="660"/>
                      </a:lnTo>
                      <a:lnTo>
                        <a:pt x="9576" y="666"/>
                      </a:lnTo>
                      <a:lnTo>
                        <a:pt x="9564" y="666"/>
                      </a:lnTo>
                      <a:lnTo>
                        <a:pt x="9546" y="666"/>
                      </a:lnTo>
                      <a:lnTo>
                        <a:pt x="9540" y="666"/>
                      </a:lnTo>
                      <a:lnTo>
                        <a:pt x="9534" y="666"/>
                      </a:lnTo>
                      <a:lnTo>
                        <a:pt x="9534" y="672"/>
                      </a:lnTo>
                      <a:lnTo>
                        <a:pt x="9534" y="684"/>
                      </a:lnTo>
                      <a:lnTo>
                        <a:pt x="9534" y="696"/>
                      </a:lnTo>
                      <a:lnTo>
                        <a:pt x="9540" y="702"/>
                      </a:lnTo>
                      <a:lnTo>
                        <a:pt x="9546" y="714"/>
                      </a:lnTo>
                      <a:lnTo>
                        <a:pt x="9552" y="720"/>
                      </a:lnTo>
                      <a:lnTo>
                        <a:pt x="9564" y="720"/>
                      </a:lnTo>
                      <a:lnTo>
                        <a:pt x="9570" y="726"/>
                      </a:lnTo>
                      <a:lnTo>
                        <a:pt x="9576" y="732"/>
                      </a:lnTo>
                      <a:lnTo>
                        <a:pt x="9588" y="738"/>
                      </a:lnTo>
                      <a:lnTo>
                        <a:pt x="9600" y="738"/>
                      </a:lnTo>
                      <a:lnTo>
                        <a:pt x="9618" y="738"/>
                      </a:lnTo>
                      <a:lnTo>
                        <a:pt x="9630" y="726"/>
                      </a:lnTo>
                      <a:lnTo>
                        <a:pt x="9642" y="720"/>
                      </a:lnTo>
                      <a:lnTo>
                        <a:pt x="9648" y="714"/>
                      </a:lnTo>
                      <a:lnTo>
                        <a:pt x="9654" y="702"/>
                      </a:lnTo>
                      <a:lnTo>
                        <a:pt x="9660" y="690"/>
                      </a:lnTo>
                      <a:lnTo>
                        <a:pt x="9660" y="684"/>
                      </a:lnTo>
                      <a:lnTo>
                        <a:pt x="9660" y="678"/>
                      </a:lnTo>
                      <a:lnTo>
                        <a:pt x="9660" y="672"/>
                      </a:lnTo>
                      <a:lnTo>
                        <a:pt x="9660" y="666"/>
                      </a:lnTo>
                      <a:lnTo>
                        <a:pt x="9654" y="648"/>
                      </a:lnTo>
                      <a:lnTo>
                        <a:pt x="9642" y="594"/>
                      </a:lnTo>
                      <a:lnTo>
                        <a:pt x="9648" y="522"/>
                      </a:lnTo>
                      <a:lnTo>
                        <a:pt x="9660" y="492"/>
                      </a:lnTo>
                      <a:lnTo>
                        <a:pt x="9690" y="474"/>
                      </a:lnTo>
                      <a:lnTo>
                        <a:pt x="9732" y="462"/>
                      </a:lnTo>
                      <a:lnTo>
                        <a:pt x="9768" y="456"/>
                      </a:lnTo>
                      <a:lnTo>
                        <a:pt x="9822" y="468"/>
                      </a:lnTo>
                      <a:lnTo>
                        <a:pt x="9876" y="486"/>
                      </a:lnTo>
                      <a:lnTo>
                        <a:pt x="9918" y="504"/>
                      </a:lnTo>
                      <a:lnTo>
                        <a:pt x="9930" y="510"/>
                      </a:lnTo>
                      <a:lnTo>
                        <a:pt x="9930" y="522"/>
                      </a:lnTo>
                      <a:lnTo>
                        <a:pt x="9930" y="528"/>
                      </a:lnTo>
                      <a:lnTo>
                        <a:pt x="9918" y="534"/>
                      </a:lnTo>
                      <a:lnTo>
                        <a:pt x="9906" y="540"/>
                      </a:lnTo>
                      <a:lnTo>
                        <a:pt x="9894" y="540"/>
                      </a:lnTo>
                      <a:lnTo>
                        <a:pt x="9882" y="540"/>
                      </a:lnTo>
                      <a:lnTo>
                        <a:pt x="9870" y="546"/>
                      </a:lnTo>
                      <a:lnTo>
                        <a:pt x="9864" y="552"/>
                      </a:lnTo>
                      <a:lnTo>
                        <a:pt x="9858" y="564"/>
                      </a:lnTo>
                      <a:lnTo>
                        <a:pt x="9858" y="576"/>
                      </a:lnTo>
                      <a:lnTo>
                        <a:pt x="9864" y="588"/>
                      </a:lnTo>
                      <a:lnTo>
                        <a:pt x="9870" y="594"/>
                      </a:lnTo>
                      <a:lnTo>
                        <a:pt x="9876" y="594"/>
                      </a:lnTo>
                      <a:lnTo>
                        <a:pt x="9930" y="588"/>
                      </a:lnTo>
                      <a:lnTo>
                        <a:pt x="9984" y="582"/>
                      </a:lnTo>
                      <a:lnTo>
                        <a:pt x="9996" y="582"/>
                      </a:lnTo>
                      <a:lnTo>
                        <a:pt x="10002" y="588"/>
                      </a:lnTo>
                      <a:lnTo>
                        <a:pt x="10002" y="594"/>
                      </a:lnTo>
                      <a:lnTo>
                        <a:pt x="10008" y="606"/>
                      </a:lnTo>
                      <a:lnTo>
                        <a:pt x="10008" y="612"/>
                      </a:lnTo>
                      <a:lnTo>
                        <a:pt x="10014" y="612"/>
                      </a:lnTo>
                      <a:lnTo>
                        <a:pt x="10026" y="612"/>
                      </a:lnTo>
                      <a:lnTo>
                        <a:pt x="10038" y="606"/>
                      </a:lnTo>
                      <a:lnTo>
                        <a:pt x="10050" y="600"/>
                      </a:lnTo>
                      <a:lnTo>
                        <a:pt x="10062" y="600"/>
                      </a:lnTo>
                      <a:lnTo>
                        <a:pt x="10074" y="594"/>
                      </a:lnTo>
                      <a:lnTo>
                        <a:pt x="10092" y="594"/>
                      </a:lnTo>
                      <a:lnTo>
                        <a:pt x="10110" y="600"/>
                      </a:lnTo>
                      <a:lnTo>
                        <a:pt x="10128" y="606"/>
                      </a:lnTo>
                      <a:lnTo>
                        <a:pt x="10140" y="612"/>
                      </a:lnTo>
                      <a:lnTo>
                        <a:pt x="10152" y="618"/>
                      </a:lnTo>
                      <a:lnTo>
                        <a:pt x="10158" y="624"/>
                      </a:lnTo>
                      <a:lnTo>
                        <a:pt x="10170" y="630"/>
                      </a:lnTo>
                      <a:lnTo>
                        <a:pt x="10182" y="630"/>
                      </a:lnTo>
                      <a:lnTo>
                        <a:pt x="10200" y="630"/>
                      </a:lnTo>
                      <a:lnTo>
                        <a:pt x="10218" y="624"/>
                      </a:lnTo>
                      <a:lnTo>
                        <a:pt x="10236" y="618"/>
                      </a:lnTo>
                      <a:lnTo>
                        <a:pt x="10248" y="618"/>
                      </a:lnTo>
                      <a:lnTo>
                        <a:pt x="10266" y="624"/>
                      </a:lnTo>
                      <a:lnTo>
                        <a:pt x="10284" y="630"/>
                      </a:lnTo>
                      <a:lnTo>
                        <a:pt x="10296" y="636"/>
                      </a:lnTo>
                      <a:lnTo>
                        <a:pt x="10308" y="642"/>
                      </a:lnTo>
                      <a:lnTo>
                        <a:pt x="10320" y="648"/>
                      </a:lnTo>
                      <a:lnTo>
                        <a:pt x="10326" y="654"/>
                      </a:lnTo>
                      <a:lnTo>
                        <a:pt x="10332" y="654"/>
                      </a:lnTo>
                      <a:lnTo>
                        <a:pt x="10338" y="654"/>
                      </a:lnTo>
                      <a:lnTo>
                        <a:pt x="10338" y="648"/>
                      </a:lnTo>
                      <a:lnTo>
                        <a:pt x="10338" y="636"/>
                      </a:lnTo>
                      <a:lnTo>
                        <a:pt x="10332" y="630"/>
                      </a:lnTo>
                      <a:lnTo>
                        <a:pt x="10332" y="618"/>
                      </a:lnTo>
                      <a:lnTo>
                        <a:pt x="10332" y="606"/>
                      </a:lnTo>
                      <a:lnTo>
                        <a:pt x="10344" y="594"/>
                      </a:lnTo>
                      <a:lnTo>
                        <a:pt x="10350" y="582"/>
                      </a:lnTo>
                      <a:lnTo>
                        <a:pt x="10362" y="570"/>
                      </a:lnTo>
                      <a:lnTo>
                        <a:pt x="10374" y="558"/>
                      </a:lnTo>
                      <a:lnTo>
                        <a:pt x="10386" y="546"/>
                      </a:lnTo>
                      <a:lnTo>
                        <a:pt x="10410" y="528"/>
                      </a:lnTo>
                      <a:lnTo>
                        <a:pt x="10446" y="504"/>
                      </a:lnTo>
                      <a:lnTo>
                        <a:pt x="10500" y="480"/>
                      </a:lnTo>
                      <a:lnTo>
                        <a:pt x="10548" y="450"/>
                      </a:lnTo>
                      <a:lnTo>
                        <a:pt x="10578" y="432"/>
                      </a:lnTo>
                      <a:lnTo>
                        <a:pt x="10590" y="414"/>
                      </a:lnTo>
                      <a:lnTo>
                        <a:pt x="10608" y="408"/>
                      </a:lnTo>
                      <a:lnTo>
                        <a:pt x="10626" y="408"/>
                      </a:lnTo>
                      <a:lnTo>
                        <a:pt x="10644" y="414"/>
                      </a:lnTo>
                      <a:lnTo>
                        <a:pt x="10656" y="420"/>
                      </a:lnTo>
                      <a:lnTo>
                        <a:pt x="10662" y="426"/>
                      </a:lnTo>
                      <a:lnTo>
                        <a:pt x="10668" y="420"/>
                      </a:lnTo>
                      <a:lnTo>
                        <a:pt x="10674" y="414"/>
                      </a:lnTo>
                      <a:lnTo>
                        <a:pt x="10680" y="402"/>
                      </a:lnTo>
                      <a:lnTo>
                        <a:pt x="10686" y="390"/>
                      </a:lnTo>
                      <a:lnTo>
                        <a:pt x="10692" y="384"/>
                      </a:lnTo>
                      <a:lnTo>
                        <a:pt x="10704" y="384"/>
                      </a:lnTo>
                      <a:lnTo>
                        <a:pt x="10716" y="384"/>
                      </a:lnTo>
                      <a:lnTo>
                        <a:pt x="10734" y="384"/>
                      </a:lnTo>
                      <a:lnTo>
                        <a:pt x="10752" y="384"/>
                      </a:lnTo>
                      <a:lnTo>
                        <a:pt x="10770" y="384"/>
                      </a:lnTo>
                      <a:lnTo>
                        <a:pt x="10776" y="384"/>
                      </a:lnTo>
                      <a:lnTo>
                        <a:pt x="10788" y="384"/>
                      </a:lnTo>
                      <a:lnTo>
                        <a:pt x="10794" y="390"/>
                      </a:lnTo>
                      <a:lnTo>
                        <a:pt x="10800" y="390"/>
                      </a:lnTo>
                      <a:lnTo>
                        <a:pt x="10800" y="396"/>
                      </a:lnTo>
                      <a:lnTo>
                        <a:pt x="10812" y="396"/>
                      </a:lnTo>
                      <a:lnTo>
                        <a:pt x="10818" y="396"/>
                      </a:lnTo>
                      <a:lnTo>
                        <a:pt x="10830" y="396"/>
                      </a:lnTo>
                      <a:lnTo>
                        <a:pt x="10848" y="390"/>
                      </a:lnTo>
                      <a:lnTo>
                        <a:pt x="10890" y="390"/>
                      </a:lnTo>
                      <a:lnTo>
                        <a:pt x="10926" y="396"/>
                      </a:lnTo>
                      <a:lnTo>
                        <a:pt x="10950" y="420"/>
                      </a:lnTo>
                      <a:lnTo>
                        <a:pt x="10968" y="438"/>
                      </a:lnTo>
                      <a:lnTo>
                        <a:pt x="10974" y="450"/>
                      </a:lnTo>
                      <a:lnTo>
                        <a:pt x="10980" y="462"/>
                      </a:lnTo>
                      <a:lnTo>
                        <a:pt x="10980" y="474"/>
                      </a:lnTo>
                      <a:lnTo>
                        <a:pt x="10980" y="486"/>
                      </a:lnTo>
                      <a:lnTo>
                        <a:pt x="10974" y="510"/>
                      </a:lnTo>
                      <a:lnTo>
                        <a:pt x="10974" y="528"/>
                      </a:lnTo>
                      <a:lnTo>
                        <a:pt x="10980" y="546"/>
                      </a:lnTo>
                      <a:lnTo>
                        <a:pt x="10986" y="558"/>
                      </a:lnTo>
                      <a:lnTo>
                        <a:pt x="10998" y="576"/>
                      </a:lnTo>
                      <a:lnTo>
                        <a:pt x="11010" y="594"/>
                      </a:lnTo>
                      <a:lnTo>
                        <a:pt x="11022" y="600"/>
                      </a:lnTo>
                      <a:lnTo>
                        <a:pt x="11028" y="606"/>
                      </a:lnTo>
                      <a:lnTo>
                        <a:pt x="11034" y="612"/>
                      </a:lnTo>
                      <a:lnTo>
                        <a:pt x="11040" y="612"/>
                      </a:lnTo>
                      <a:lnTo>
                        <a:pt x="11046" y="612"/>
                      </a:lnTo>
                      <a:lnTo>
                        <a:pt x="11052" y="606"/>
                      </a:lnTo>
                      <a:lnTo>
                        <a:pt x="11058" y="612"/>
                      </a:lnTo>
                      <a:lnTo>
                        <a:pt x="11070" y="612"/>
                      </a:lnTo>
                      <a:lnTo>
                        <a:pt x="11082" y="624"/>
                      </a:lnTo>
                      <a:lnTo>
                        <a:pt x="11088" y="630"/>
                      </a:lnTo>
                      <a:lnTo>
                        <a:pt x="11094" y="636"/>
                      </a:lnTo>
                      <a:lnTo>
                        <a:pt x="11094" y="642"/>
                      </a:lnTo>
                      <a:lnTo>
                        <a:pt x="11100" y="642"/>
                      </a:lnTo>
                      <a:lnTo>
                        <a:pt x="11106" y="648"/>
                      </a:lnTo>
                      <a:lnTo>
                        <a:pt x="11118" y="642"/>
                      </a:lnTo>
                      <a:lnTo>
                        <a:pt x="11124" y="636"/>
                      </a:lnTo>
                      <a:lnTo>
                        <a:pt x="11130" y="636"/>
                      </a:lnTo>
                      <a:lnTo>
                        <a:pt x="11136" y="636"/>
                      </a:lnTo>
                      <a:lnTo>
                        <a:pt x="11142" y="642"/>
                      </a:lnTo>
                      <a:lnTo>
                        <a:pt x="11148" y="648"/>
                      </a:lnTo>
                      <a:lnTo>
                        <a:pt x="11160" y="654"/>
                      </a:lnTo>
                      <a:lnTo>
                        <a:pt x="11178" y="666"/>
                      </a:lnTo>
                      <a:lnTo>
                        <a:pt x="11184" y="672"/>
                      </a:lnTo>
                      <a:lnTo>
                        <a:pt x="11190" y="678"/>
                      </a:lnTo>
                      <a:lnTo>
                        <a:pt x="11196" y="672"/>
                      </a:lnTo>
                      <a:lnTo>
                        <a:pt x="11202" y="660"/>
                      </a:lnTo>
                      <a:lnTo>
                        <a:pt x="11202" y="642"/>
                      </a:lnTo>
                      <a:lnTo>
                        <a:pt x="11208" y="618"/>
                      </a:lnTo>
                      <a:lnTo>
                        <a:pt x="11214" y="600"/>
                      </a:lnTo>
                      <a:lnTo>
                        <a:pt x="11226" y="588"/>
                      </a:lnTo>
                      <a:lnTo>
                        <a:pt x="11238" y="570"/>
                      </a:lnTo>
                      <a:lnTo>
                        <a:pt x="11256" y="558"/>
                      </a:lnTo>
                      <a:lnTo>
                        <a:pt x="11304" y="534"/>
                      </a:lnTo>
                      <a:lnTo>
                        <a:pt x="11364" y="516"/>
                      </a:lnTo>
                      <a:lnTo>
                        <a:pt x="11382" y="504"/>
                      </a:lnTo>
                      <a:lnTo>
                        <a:pt x="11400" y="492"/>
                      </a:lnTo>
                      <a:lnTo>
                        <a:pt x="11418" y="480"/>
                      </a:lnTo>
                      <a:lnTo>
                        <a:pt x="11466" y="480"/>
                      </a:lnTo>
                      <a:lnTo>
                        <a:pt x="11508" y="474"/>
                      </a:lnTo>
                      <a:lnTo>
                        <a:pt x="11544" y="468"/>
                      </a:lnTo>
                      <a:lnTo>
                        <a:pt x="11574" y="456"/>
                      </a:lnTo>
                      <a:lnTo>
                        <a:pt x="11622" y="450"/>
                      </a:lnTo>
                      <a:lnTo>
                        <a:pt x="11646" y="444"/>
                      </a:lnTo>
                      <a:lnTo>
                        <a:pt x="11664" y="444"/>
                      </a:lnTo>
                      <a:lnTo>
                        <a:pt x="11676" y="438"/>
                      </a:lnTo>
                      <a:lnTo>
                        <a:pt x="11676" y="426"/>
                      </a:lnTo>
                      <a:lnTo>
                        <a:pt x="11676" y="420"/>
                      </a:lnTo>
                      <a:lnTo>
                        <a:pt x="11670" y="408"/>
                      </a:lnTo>
                      <a:lnTo>
                        <a:pt x="11664" y="396"/>
                      </a:lnTo>
                      <a:lnTo>
                        <a:pt x="11658" y="384"/>
                      </a:lnTo>
                      <a:lnTo>
                        <a:pt x="11658" y="378"/>
                      </a:lnTo>
                      <a:lnTo>
                        <a:pt x="11664" y="372"/>
                      </a:lnTo>
                      <a:lnTo>
                        <a:pt x="11676" y="366"/>
                      </a:lnTo>
                      <a:lnTo>
                        <a:pt x="11694" y="372"/>
                      </a:lnTo>
                      <a:lnTo>
                        <a:pt x="11712" y="378"/>
                      </a:lnTo>
                      <a:lnTo>
                        <a:pt x="11724" y="384"/>
                      </a:lnTo>
                      <a:lnTo>
                        <a:pt x="11742" y="390"/>
                      </a:lnTo>
                      <a:lnTo>
                        <a:pt x="11748" y="390"/>
                      </a:lnTo>
                      <a:lnTo>
                        <a:pt x="11760" y="396"/>
                      </a:lnTo>
                      <a:lnTo>
                        <a:pt x="11766" y="408"/>
                      </a:lnTo>
                      <a:lnTo>
                        <a:pt x="11772" y="426"/>
                      </a:lnTo>
                      <a:lnTo>
                        <a:pt x="11784" y="444"/>
                      </a:lnTo>
                      <a:lnTo>
                        <a:pt x="11814" y="450"/>
                      </a:lnTo>
                      <a:lnTo>
                        <a:pt x="11844" y="450"/>
                      </a:lnTo>
                      <a:lnTo>
                        <a:pt x="11880" y="444"/>
                      </a:lnTo>
                      <a:lnTo>
                        <a:pt x="11916" y="450"/>
                      </a:lnTo>
                      <a:lnTo>
                        <a:pt x="11940" y="462"/>
                      </a:lnTo>
                      <a:lnTo>
                        <a:pt x="11976" y="480"/>
                      </a:lnTo>
                      <a:lnTo>
                        <a:pt x="11994" y="486"/>
                      </a:lnTo>
                      <a:lnTo>
                        <a:pt x="12012" y="486"/>
                      </a:lnTo>
                      <a:lnTo>
                        <a:pt x="12024" y="486"/>
                      </a:lnTo>
                      <a:lnTo>
                        <a:pt x="12030" y="474"/>
                      </a:lnTo>
                      <a:lnTo>
                        <a:pt x="12036" y="462"/>
                      </a:lnTo>
                      <a:lnTo>
                        <a:pt x="12048" y="438"/>
                      </a:lnTo>
                      <a:lnTo>
                        <a:pt x="12054" y="408"/>
                      </a:lnTo>
                      <a:lnTo>
                        <a:pt x="12048" y="384"/>
                      </a:lnTo>
                      <a:lnTo>
                        <a:pt x="12036" y="366"/>
                      </a:lnTo>
                      <a:lnTo>
                        <a:pt x="12018" y="342"/>
                      </a:lnTo>
                      <a:lnTo>
                        <a:pt x="11982" y="312"/>
                      </a:lnTo>
                      <a:lnTo>
                        <a:pt x="11934" y="276"/>
                      </a:lnTo>
                      <a:lnTo>
                        <a:pt x="11898" y="240"/>
                      </a:lnTo>
                      <a:lnTo>
                        <a:pt x="11880" y="216"/>
                      </a:lnTo>
                      <a:lnTo>
                        <a:pt x="11868" y="198"/>
                      </a:lnTo>
                      <a:lnTo>
                        <a:pt x="11868" y="180"/>
                      </a:lnTo>
                      <a:lnTo>
                        <a:pt x="11868" y="168"/>
                      </a:lnTo>
                      <a:lnTo>
                        <a:pt x="11880" y="156"/>
                      </a:lnTo>
                      <a:lnTo>
                        <a:pt x="11910" y="144"/>
                      </a:lnTo>
                      <a:lnTo>
                        <a:pt x="11940" y="132"/>
                      </a:lnTo>
                      <a:lnTo>
                        <a:pt x="11970" y="120"/>
                      </a:lnTo>
                      <a:lnTo>
                        <a:pt x="11988" y="114"/>
                      </a:lnTo>
                      <a:lnTo>
                        <a:pt x="12000" y="108"/>
                      </a:lnTo>
                      <a:lnTo>
                        <a:pt x="12012" y="108"/>
                      </a:lnTo>
                      <a:lnTo>
                        <a:pt x="12024" y="108"/>
                      </a:lnTo>
                      <a:lnTo>
                        <a:pt x="12042" y="108"/>
                      </a:lnTo>
                      <a:lnTo>
                        <a:pt x="12072" y="120"/>
                      </a:lnTo>
                      <a:lnTo>
                        <a:pt x="12108" y="126"/>
                      </a:lnTo>
                      <a:lnTo>
                        <a:pt x="12156" y="114"/>
                      </a:lnTo>
                      <a:lnTo>
                        <a:pt x="12192" y="102"/>
                      </a:lnTo>
                      <a:lnTo>
                        <a:pt x="12228" y="96"/>
                      </a:lnTo>
                      <a:lnTo>
                        <a:pt x="12270" y="84"/>
                      </a:lnTo>
                      <a:lnTo>
                        <a:pt x="12288" y="72"/>
                      </a:lnTo>
                      <a:lnTo>
                        <a:pt x="12300" y="60"/>
                      </a:lnTo>
                      <a:lnTo>
                        <a:pt x="12306" y="48"/>
                      </a:lnTo>
                      <a:lnTo>
                        <a:pt x="12318" y="42"/>
                      </a:lnTo>
                      <a:lnTo>
                        <a:pt x="12330" y="36"/>
                      </a:lnTo>
                      <a:lnTo>
                        <a:pt x="12354" y="30"/>
                      </a:lnTo>
                      <a:lnTo>
                        <a:pt x="12372" y="24"/>
                      </a:lnTo>
                      <a:lnTo>
                        <a:pt x="12384" y="24"/>
                      </a:lnTo>
                      <a:lnTo>
                        <a:pt x="12390" y="24"/>
                      </a:lnTo>
                      <a:lnTo>
                        <a:pt x="12396" y="24"/>
                      </a:lnTo>
                      <a:lnTo>
                        <a:pt x="12402" y="18"/>
                      </a:lnTo>
                      <a:lnTo>
                        <a:pt x="12414" y="12"/>
                      </a:lnTo>
                      <a:lnTo>
                        <a:pt x="12450" y="6"/>
                      </a:lnTo>
                      <a:lnTo>
                        <a:pt x="12492" y="12"/>
                      </a:lnTo>
                      <a:lnTo>
                        <a:pt x="12528" y="24"/>
                      </a:lnTo>
                      <a:lnTo>
                        <a:pt x="12564" y="36"/>
                      </a:lnTo>
                      <a:lnTo>
                        <a:pt x="12612" y="30"/>
                      </a:lnTo>
                      <a:lnTo>
                        <a:pt x="12648" y="18"/>
                      </a:lnTo>
                      <a:lnTo>
                        <a:pt x="12684" y="6"/>
                      </a:lnTo>
                      <a:lnTo>
                        <a:pt x="1273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7" name="Freeform 88">
                  <a:extLst>
                    <a:ext uri="{FF2B5EF4-FFF2-40B4-BE49-F238E27FC236}">
                      <a16:creationId xmlns:a16="http://schemas.microsoft.com/office/drawing/2014/main" id="{3C8A55CA-1A1B-427A-A516-273163C07D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5" y="-1836"/>
                  <a:ext cx="732" cy="324"/>
                </a:xfrm>
                <a:custGeom>
                  <a:avLst/>
                  <a:gdLst>
                    <a:gd name="T0" fmla="*/ 0 w 732"/>
                    <a:gd name="T1" fmla="*/ 36 h 324"/>
                    <a:gd name="T2" fmla="*/ 0 w 732"/>
                    <a:gd name="T3" fmla="*/ 36 h 324"/>
                    <a:gd name="T4" fmla="*/ 0 w 732"/>
                    <a:gd name="T5" fmla="*/ 36 h 324"/>
                    <a:gd name="T6" fmla="*/ 0 w 732"/>
                    <a:gd name="T7" fmla="*/ 36 h 324"/>
                    <a:gd name="T8" fmla="*/ 90 w 732"/>
                    <a:gd name="T9" fmla="*/ 0 h 324"/>
                    <a:gd name="T10" fmla="*/ 186 w 732"/>
                    <a:gd name="T11" fmla="*/ 12 h 324"/>
                    <a:gd name="T12" fmla="*/ 240 w 732"/>
                    <a:gd name="T13" fmla="*/ 36 h 324"/>
                    <a:gd name="T14" fmla="*/ 318 w 732"/>
                    <a:gd name="T15" fmla="*/ 36 h 324"/>
                    <a:gd name="T16" fmla="*/ 420 w 732"/>
                    <a:gd name="T17" fmla="*/ 36 h 324"/>
                    <a:gd name="T18" fmla="*/ 480 w 732"/>
                    <a:gd name="T19" fmla="*/ 90 h 324"/>
                    <a:gd name="T20" fmla="*/ 552 w 732"/>
                    <a:gd name="T21" fmla="*/ 132 h 324"/>
                    <a:gd name="T22" fmla="*/ 630 w 732"/>
                    <a:gd name="T23" fmla="*/ 132 h 324"/>
                    <a:gd name="T24" fmla="*/ 696 w 732"/>
                    <a:gd name="T25" fmla="*/ 192 h 324"/>
                    <a:gd name="T26" fmla="*/ 732 w 732"/>
                    <a:gd name="T27" fmla="*/ 252 h 324"/>
                    <a:gd name="T28" fmla="*/ 702 w 732"/>
                    <a:gd name="T29" fmla="*/ 282 h 324"/>
                    <a:gd name="T30" fmla="*/ 636 w 732"/>
                    <a:gd name="T31" fmla="*/ 270 h 324"/>
                    <a:gd name="T32" fmla="*/ 570 w 732"/>
                    <a:gd name="T33" fmla="*/ 294 h 324"/>
                    <a:gd name="T34" fmla="*/ 486 w 732"/>
                    <a:gd name="T35" fmla="*/ 294 h 324"/>
                    <a:gd name="T36" fmla="*/ 426 w 732"/>
                    <a:gd name="T37" fmla="*/ 324 h 324"/>
                    <a:gd name="T38" fmla="*/ 360 w 732"/>
                    <a:gd name="T39" fmla="*/ 294 h 324"/>
                    <a:gd name="T40" fmla="*/ 330 w 732"/>
                    <a:gd name="T41" fmla="*/ 258 h 324"/>
                    <a:gd name="T42" fmla="*/ 186 w 732"/>
                    <a:gd name="T43" fmla="*/ 270 h 324"/>
                    <a:gd name="T44" fmla="*/ 186 w 732"/>
                    <a:gd name="T45" fmla="*/ 252 h 324"/>
                    <a:gd name="T46" fmla="*/ 180 w 732"/>
                    <a:gd name="T47" fmla="*/ 234 h 324"/>
                    <a:gd name="T48" fmla="*/ 168 w 732"/>
                    <a:gd name="T49" fmla="*/ 216 h 324"/>
                    <a:gd name="T50" fmla="*/ 156 w 732"/>
                    <a:gd name="T51" fmla="*/ 204 h 324"/>
                    <a:gd name="T52" fmla="*/ 144 w 732"/>
                    <a:gd name="T53" fmla="*/ 186 h 324"/>
                    <a:gd name="T54" fmla="*/ 132 w 732"/>
                    <a:gd name="T55" fmla="*/ 174 h 324"/>
                    <a:gd name="T56" fmla="*/ 120 w 732"/>
                    <a:gd name="T57" fmla="*/ 156 h 324"/>
                    <a:gd name="T58" fmla="*/ 114 w 732"/>
                    <a:gd name="T59" fmla="*/ 144 h 324"/>
                    <a:gd name="T60" fmla="*/ 120 w 732"/>
                    <a:gd name="T61" fmla="*/ 126 h 324"/>
                    <a:gd name="T62" fmla="*/ 114 w 732"/>
                    <a:gd name="T63" fmla="*/ 108 h 324"/>
                    <a:gd name="T64" fmla="*/ 108 w 732"/>
                    <a:gd name="T65" fmla="*/ 96 h 324"/>
                    <a:gd name="T66" fmla="*/ 96 w 732"/>
                    <a:gd name="T67" fmla="*/ 90 h 324"/>
                    <a:gd name="T68" fmla="*/ 84 w 732"/>
                    <a:gd name="T69" fmla="*/ 78 h 324"/>
                    <a:gd name="T70" fmla="*/ 66 w 732"/>
                    <a:gd name="T71" fmla="*/ 72 h 324"/>
                    <a:gd name="T72" fmla="*/ 42 w 732"/>
                    <a:gd name="T73" fmla="*/ 60 h 324"/>
                    <a:gd name="T74" fmla="*/ 24 w 732"/>
                    <a:gd name="T75" fmla="*/ 48 h 324"/>
                    <a:gd name="T76" fmla="*/ 0 w 732"/>
                    <a:gd name="T77" fmla="*/ 36 h 324"/>
                    <a:gd name="T78" fmla="*/ 90 w 732"/>
                    <a:gd name="T79" fmla="*/ 0 h 3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732" h="324">
                      <a:moveTo>
                        <a:pt x="0" y="36"/>
                      </a:move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close/>
                      <a:moveTo>
                        <a:pt x="90" y="0"/>
                      </a:moveTo>
                      <a:lnTo>
                        <a:pt x="186" y="12"/>
                      </a:lnTo>
                      <a:lnTo>
                        <a:pt x="240" y="36"/>
                      </a:lnTo>
                      <a:lnTo>
                        <a:pt x="318" y="36"/>
                      </a:lnTo>
                      <a:lnTo>
                        <a:pt x="420" y="36"/>
                      </a:lnTo>
                      <a:lnTo>
                        <a:pt x="480" y="90"/>
                      </a:lnTo>
                      <a:lnTo>
                        <a:pt x="552" y="132"/>
                      </a:lnTo>
                      <a:lnTo>
                        <a:pt x="630" y="132"/>
                      </a:lnTo>
                      <a:lnTo>
                        <a:pt x="696" y="192"/>
                      </a:lnTo>
                      <a:lnTo>
                        <a:pt x="732" y="252"/>
                      </a:lnTo>
                      <a:lnTo>
                        <a:pt x="702" y="282"/>
                      </a:lnTo>
                      <a:lnTo>
                        <a:pt x="636" y="270"/>
                      </a:lnTo>
                      <a:lnTo>
                        <a:pt x="570" y="294"/>
                      </a:lnTo>
                      <a:lnTo>
                        <a:pt x="486" y="294"/>
                      </a:lnTo>
                      <a:lnTo>
                        <a:pt x="426" y="324"/>
                      </a:lnTo>
                      <a:lnTo>
                        <a:pt x="360" y="294"/>
                      </a:lnTo>
                      <a:lnTo>
                        <a:pt x="330" y="258"/>
                      </a:lnTo>
                      <a:lnTo>
                        <a:pt x="186" y="270"/>
                      </a:lnTo>
                      <a:lnTo>
                        <a:pt x="186" y="252"/>
                      </a:lnTo>
                      <a:lnTo>
                        <a:pt x="180" y="234"/>
                      </a:lnTo>
                      <a:lnTo>
                        <a:pt x="168" y="216"/>
                      </a:lnTo>
                      <a:lnTo>
                        <a:pt x="156" y="204"/>
                      </a:lnTo>
                      <a:lnTo>
                        <a:pt x="144" y="186"/>
                      </a:lnTo>
                      <a:lnTo>
                        <a:pt x="132" y="174"/>
                      </a:lnTo>
                      <a:lnTo>
                        <a:pt x="120" y="156"/>
                      </a:lnTo>
                      <a:lnTo>
                        <a:pt x="114" y="144"/>
                      </a:lnTo>
                      <a:lnTo>
                        <a:pt x="120" y="126"/>
                      </a:lnTo>
                      <a:lnTo>
                        <a:pt x="114" y="108"/>
                      </a:lnTo>
                      <a:lnTo>
                        <a:pt x="108" y="96"/>
                      </a:lnTo>
                      <a:lnTo>
                        <a:pt x="96" y="90"/>
                      </a:lnTo>
                      <a:lnTo>
                        <a:pt x="84" y="78"/>
                      </a:lnTo>
                      <a:lnTo>
                        <a:pt x="66" y="72"/>
                      </a:lnTo>
                      <a:lnTo>
                        <a:pt x="42" y="60"/>
                      </a:lnTo>
                      <a:lnTo>
                        <a:pt x="24" y="48"/>
                      </a:lnTo>
                      <a:lnTo>
                        <a:pt x="0" y="36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8" name="Freeform 89">
                  <a:extLst>
                    <a:ext uri="{FF2B5EF4-FFF2-40B4-BE49-F238E27FC236}">
                      <a16:creationId xmlns:a16="http://schemas.microsoft.com/office/drawing/2014/main" id="{2F5AF1CB-64ED-426F-B652-CF68A2B03E7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23" y="-648"/>
                  <a:ext cx="180" cy="180"/>
                </a:xfrm>
                <a:custGeom>
                  <a:avLst/>
                  <a:gdLst>
                    <a:gd name="T0" fmla="*/ 0 w 180"/>
                    <a:gd name="T1" fmla="*/ 180 h 180"/>
                    <a:gd name="T2" fmla="*/ 0 w 180"/>
                    <a:gd name="T3" fmla="*/ 180 h 180"/>
                    <a:gd name="T4" fmla="*/ 0 w 180"/>
                    <a:gd name="T5" fmla="*/ 180 h 180"/>
                    <a:gd name="T6" fmla="*/ 0 w 180"/>
                    <a:gd name="T7" fmla="*/ 180 h 180"/>
                    <a:gd name="T8" fmla="*/ 120 w 180"/>
                    <a:gd name="T9" fmla="*/ 0 h 180"/>
                    <a:gd name="T10" fmla="*/ 162 w 180"/>
                    <a:gd name="T11" fmla="*/ 18 h 180"/>
                    <a:gd name="T12" fmla="*/ 180 w 180"/>
                    <a:gd name="T13" fmla="*/ 66 h 180"/>
                    <a:gd name="T14" fmla="*/ 156 w 180"/>
                    <a:gd name="T15" fmla="*/ 102 h 180"/>
                    <a:gd name="T16" fmla="*/ 108 w 180"/>
                    <a:gd name="T17" fmla="*/ 156 h 180"/>
                    <a:gd name="T18" fmla="*/ 72 w 180"/>
                    <a:gd name="T19" fmla="*/ 180 h 180"/>
                    <a:gd name="T20" fmla="*/ 0 w 180"/>
                    <a:gd name="T21" fmla="*/ 180 h 180"/>
                    <a:gd name="T22" fmla="*/ 12 w 180"/>
                    <a:gd name="T23" fmla="*/ 126 h 180"/>
                    <a:gd name="T24" fmla="*/ 30 w 180"/>
                    <a:gd name="T25" fmla="*/ 78 h 180"/>
                    <a:gd name="T26" fmla="*/ 48 w 180"/>
                    <a:gd name="T27" fmla="*/ 36 h 180"/>
                    <a:gd name="T28" fmla="*/ 60 w 180"/>
                    <a:gd name="T29" fmla="*/ 24 h 180"/>
                    <a:gd name="T30" fmla="*/ 66 w 180"/>
                    <a:gd name="T31" fmla="*/ 6 h 180"/>
                    <a:gd name="T32" fmla="*/ 120 w 180"/>
                    <a:gd name="T33" fmla="*/ 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80" h="180">
                      <a:moveTo>
                        <a:pt x="0" y="180"/>
                      </a:moveTo>
                      <a:lnTo>
                        <a:pt x="0" y="180"/>
                      </a:lnTo>
                      <a:lnTo>
                        <a:pt x="0" y="180"/>
                      </a:lnTo>
                      <a:lnTo>
                        <a:pt x="0" y="180"/>
                      </a:lnTo>
                      <a:close/>
                      <a:moveTo>
                        <a:pt x="120" y="0"/>
                      </a:moveTo>
                      <a:lnTo>
                        <a:pt x="162" y="18"/>
                      </a:lnTo>
                      <a:lnTo>
                        <a:pt x="180" y="66"/>
                      </a:lnTo>
                      <a:lnTo>
                        <a:pt x="156" y="102"/>
                      </a:lnTo>
                      <a:lnTo>
                        <a:pt x="108" y="156"/>
                      </a:lnTo>
                      <a:lnTo>
                        <a:pt x="72" y="180"/>
                      </a:lnTo>
                      <a:lnTo>
                        <a:pt x="0" y="180"/>
                      </a:lnTo>
                      <a:lnTo>
                        <a:pt x="12" y="126"/>
                      </a:lnTo>
                      <a:lnTo>
                        <a:pt x="30" y="78"/>
                      </a:lnTo>
                      <a:lnTo>
                        <a:pt x="48" y="36"/>
                      </a:lnTo>
                      <a:lnTo>
                        <a:pt x="60" y="24"/>
                      </a:lnTo>
                      <a:lnTo>
                        <a:pt x="66" y="6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29" name="Freeform 90">
                  <a:extLst>
                    <a:ext uri="{FF2B5EF4-FFF2-40B4-BE49-F238E27FC236}">
                      <a16:creationId xmlns:a16="http://schemas.microsoft.com/office/drawing/2014/main" id="{815B9840-4326-4FAF-9D8D-C3526148DA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7" y="-1590"/>
                  <a:ext cx="2052" cy="816"/>
                </a:xfrm>
                <a:custGeom>
                  <a:avLst/>
                  <a:gdLst>
                    <a:gd name="T0" fmla="*/ 906 w 2052"/>
                    <a:gd name="T1" fmla="*/ 6 h 816"/>
                    <a:gd name="T2" fmla="*/ 960 w 2052"/>
                    <a:gd name="T3" fmla="*/ 36 h 816"/>
                    <a:gd name="T4" fmla="*/ 1086 w 2052"/>
                    <a:gd name="T5" fmla="*/ 84 h 816"/>
                    <a:gd name="T6" fmla="*/ 1296 w 2052"/>
                    <a:gd name="T7" fmla="*/ 90 h 816"/>
                    <a:gd name="T8" fmla="*/ 1476 w 2052"/>
                    <a:gd name="T9" fmla="*/ 96 h 816"/>
                    <a:gd name="T10" fmla="*/ 1578 w 2052"/>
                    <a:gd name="T11" fmla="*/ 42 h 816"/>
                    <a:gd name="T12" fmla="*/ 1758 w 2052"/>
                    <a:gd name="T13" fmla="*/ 54 h 816"/>
                    <a:gd name="T14" fmla="*/ 1902 w 2052"/>
                    <a:gd name="T15" fmla="*/ 204 h 816"/>
                    <a:gd name="T16" fmla="*/ 1998 w 2052"/>
                    <a:gd name="T17" fmla="*/ 504 h 816"/>
                    <a:gd name="T18" fmla="*/ 1884 w 2052"/>
                    <a:gd name="T19" fmla="*/ 582 h 816"/>
                    <a:gd name="T20" fmla="*/ 1506 w 2052"/>
                    <a:gd name="T21" fmla="*/ 630 h 816"/>
                    <a:gd name="T22" fmla="*/ 1248 w 2052"/>
                    <a:gd name="T23" fmla="*/ 708 h 816"/>
                    <a:gd name="T24" fmla="*/ 1182 w 2052"/>
                    <a:gd name="T25" fmla="*/ 798 h 816"/>
                    <a:gd name="T26" fmla="*/ 1086 w 2052"/>
                    <a:gd name="T27" fmla="*/ 792 h 816"/>
                    <a:gd name="T28" fmla="*/ 1110 w 2052"/>
                    <a:gd name="T29" fmla="*/ 750 h 816"/>
                    <a:gd name="T30" fmla="*/ 1116 w 2052"/>
                    <a:gd name="T31" fmla="*/ 696 h 816"/>
                    <a:gd name="T32" fmla="*/ 1038 w 2052"/>
                    <a:gd name="T33" fmla="*/ 726 h 816"/>
                    <a:gd name="T34" fmla="*/ 882 w 2052"/>
                    <a:gd name="T35" fmla="*/ 774 h 816"/>
                    <a:gd name="T36" fmla="*/ 684 w 2052"/>
                    <a:gd name="T37" fmla="*/ 750 h 816"/>
                    <a:gd name="T38" fmla="*/ 540 w 2052"/>
                    <a:gd name="T39" fmla="*/ 726 h 816"/>
                    <a:gd name="T40" fmla="*/ 498 w 2052"/>
                    <a:gd name="T41" fmla="*/ 768 h 816"/>
                    <a:gd name="T42" fmla="*/ 438 w 2052"/>
                    <a:gd name="T43" fmla="*/ 816 h 816"/>
                    <a:gd name="T44" fmla="*/ 300 w 2052"/>
                    <a:gd name="T45" fmla="*/ 768 h 816"/>
                    <a:gd name="T46" fmla="*/ 246 w 2052"/>
                    <a:gd name="T47" fmla="*/ 762 h 816"/>
                    <a:gd name="T48" fmla="*/ 192 w 2052"/>
                    <a:gd name="T49" fmla="*/ 762 h 816"/>
                    <a:gd name="T50" fmla="*/ 180 w 2052"/>
                    <a:gd name="T51" fmla="*/ 738 h 816"/>
                    <a:gd name="T52" fmla="*/ 228 w 2052"/>
                    <a:gd name="T53" fmla="*/ 720 h 816"/>
                    <a:gd name="T54" fmla="*/ 198 w 2052"/>
                    <a:gd name="T55" fmla="*/ 696 h 816"/>
                    <a:gd name="T56" fmla="*/ 138 w 2052"/>
                    <a:gd name="T57" fmla="*/ 672 h 816"/>
                    <a:gd name="T58" fmla="*/ 138 w 2052"/>
                    <a:gd name="T59" fmla="*/ 612 h 816"/>
                    <a:gd name="T60" fmla="*/ 102 w 2052"/>
                    <a:gd name="T61" fmla="*/ 582 h 816"/>
                    <a:gd name="T62" fmla="*/ 54 w 2052"/>
                    <a:gd name="T63" fmla="*/ 558 h 816"/>
                    <a:gd name="T64" fmla="*/ 78 w 2052"/>
                    <a:gd name="T65" fmla="*/ 516 h 816"/>
                    <a:gd name="T66" fmla="*/ 90 w 2052"/>
                    <a:gd name="T67" fmla="*/ 474 h 816"/>
                    <a:gd name="T68" fmla="*/ 42 w 2052"/>
                    <a:gd name="T69" fmla="*/ 456 h 816"/>
                    <a:gd name="T70" fmla="*/ 54 w 2052"/>
                    <a:gd name="T71" fmla="*/ 426 h 816"/>
                    <a:gd name="T72" fmla="*/ 54 w 2052"/>
                    <a:gd name="T73" fmla="*/ 408 h 816"/>
                    <a:gd name="T74" fmla="*/ 6 w 2052"/>
                    <a:gd name="T75" fmla="*/ 402 h 816"/>
                    <a:gd name="T76" fmla="*/ 6 w 2052"/>
                    <a:gd name="T77" fmla="*/ 360 h 816"/>
                    <a:gd name="T78" fmla="*/ 84 w 2052"/>
                    <a:gd name="T79" fmla="*/ 300 h 816"/>
                    <a:gd name="T80" fmla="*/ 222 w 2052"/>
                    <a:gd name="T81" fmla="*/ 282 h 816"/>
                    <a:gd name="T82" fmla="*/ 264 w 2052"/>
                    <a:gd name="T83" fmla="*/ 276 h 816"/>
                    <a:gd name="T84" fmla="*/ 276 w 2052"/>
                    <a:gd name="T85" fmla="*/ 246 h 816"/>
                    <a:gd name="T86" fmla="*/ 330 w 2052"/>
                    <a:gd name="T87" fmla="*/ 240 h 816"/>
                    <a:gd name="T88" fmla="*/ 330 w 2052"/>
                    <a:gd name="T89" fmla="*/ 210 h 816"/>
                    <a:gd name="T90" fmla="*/ 306 w 2052"/>
                    <a:gd name="T91" fmla="*/ 174 h 816"/>
                    <a:gd name="T92" fmla="*/ 360 w 2052"/>
                    <a:gd name="T93" fmla="*/ 162 h 816"/>
                    <a:gd name="T94" fmla="*/ 432 w 2052"/>
                    <a:gd name="T95" fmla="*/ 162 h 816"/>
                    <a:gd name="T96" fmla="*/ 480 w 2052"/>
                    <a:gd name="T97" fmla="*/ 150 h 816"/>
                    <a:gd name="T98" fmla="*/ 552 w 2052"/>
                    <a:gd name="T99" fmla="*/ 114 h 816"/>
                    <a:gd name="T100" fmla="*/ 714 w 2052"/>
                    <a:gd name="T101" fmla="*/ 48 h 816"/>
                    <a:gd name="T102" fmla="*/ 852 w 2052"/>
                    <a:gd name="T103" fmla="*/ 0 h 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052" h="816">
                      <a:moveTo>
                        <a:pt x="882" y="0"/>
                      </a:moveTo>
                      <a:lnTo>
                        <a:pt x="894" y="0"/>
                      </a:lnTo>
                      <a:lnTo>
                        <a:pt x="900" y="0"/>
                      </a:lnTo>
                      <a:lnTo>
                        <a:pt x="906" y="6"/>
                      </a:lnTo>
                      <a:lnTo>
                        <a:pt x="906" y="18"/>
                      </a:lnTo>
                      <a:lnTo>
                        <a:pt x="918" y="24"/>
                      </a:lnTo>
                      <a:lnTo>
                        <a:pt x="936" y="30"/>
                      </a:lnTo>
                      <a:lnTo>
                        <a:pt x="960" y="36"/>
                      </a:lnTo>
                      <a:lnTo>
                        <a:pt x="990" y="42"/>
                      </a:lnTo>
                      <a:lnTo>
                        <a:pt x="1020" y="54"/>
                      </a:lnTo>
                      <a:lnTo>
                        <a:pt x="1050" y="72"/>
                      </a:lnTo>
                      <a:lnTo>
                        <a:pt x="1086" y="84"/>
                      </a:lnTo>
                      <a:lnTo>
                        <a:pt x="1134" y="96"/>
                      </a:lnTo>
                      <a:lnTo>
                        <a:pt x="1200" y="102"/>
                      </a:lnTo>
                      <a:lnTo>
                        <a:pt x="1254" y="102"/>
                      </a:lnTo>
                      <a:lnTo>
                        <a:pt x="1296" y="90"/>
                      </a:lnTo>
                      <a:lnTo>
                        <a:pt x="1338" y="84"/>
                      </a:lnTo>
                      <a:lnTo>
                        <a:pt x="1380" y="84"/>
                      </a:lnTo>
                      <a:lnTo>
                        <a:pt x="1428" y="96"/>
                      </a:lnTo>
                      <a:lnTo>
                        <a:pt x="1476" y="96"/>
                      </a:lnTo>
                      <a:lnTo>
                        <a:pt x="1512" y="84"/>
                      </a:lnTo>
                      <a:lnTo>
                        <a:pt x="1554" y="60"/>
                      </a:lnTo>
                      <a:lnTo>
                        <a:pt x="1566" y="54"/>
                      </a:lnTo>
                      <a:lnTo>
                        <a:pt x="1578" y="42"/>
                      </a:lnTo>
                      <a:lnTo>
                        <a:pt x="1584" y="36"/>
                      </a:lnTo>
                      <a:lnTo>
                        <a:pt x="1584" y="24"/>
                      </a:lnTo>
                      <a:lnTo>
                        <a:pt x="1728" y="12"/>
                      </a:lnTo>
                      <a:lnTo>
                        <a:pt x="1758" y="54"/>
                      </a:lnTo>
                      <a:lnTo>
                        <a:pt x="1824" y="84"/>
                      </a:lnTo>
                      <a:lnTo>
                        <a:pt x="1824" y="114"/>
                      </a:lnTo>
                      <a:lnTo>
                        <a:pt x="1866" y="162"/>
                      </a:lnTo>
                      <a:lnTo>
                        <a:pt x="1902" y="204"/>
                      </a:lnTo>
                      <a:lnTo>
                        <a:pt x="1944" y="288"/>
                      </a:lnTo>
                      <a:lnTo>
                        <a:pt x="1968" y="396"/>
                      </a:lnTo>
                      <a:lnTo>
                        <a:pt x="1956" y="480"/>
                      </a:lnTo>
                      <a:lnTo>
                        <a:pt x="1998" y="504"/>
                      </a:lnTo>
                      <a:lnTo>
                        <a:pt x="2040" y="558"/>
                      </a:lnTo>
                      <a:lnTo>
                        <a:pt x="2052" y="606"/>
                      </a:lnTo>
                      <a:lnTo>
                        <a:pt x="1974" y="594"/>
                      </a:lnTo>
                      <a:lnTo>
                        <a:pt x="1884" y="582"/>
                      </a:lnTo>
                      <a:lnTo>
                        <a:pt x="1794" y="594"/>
                      </a:lnTo>
                      <a:lnTo>
                        <a:pt x="1650" y="594"/>
                      </a:lnTo>
                      <a:lnTo>
                        <a:pt x="1560" y="612"/>
                      </a:lnTo>
                      <a:lnTo>
                        <a:pt x="1506" y="630"/>
                      </a:lnTo>
                      <a:lnTo>
                        <a:pt x="1446" y="654"/>
                      </a:lnTo>
                      <a:lnTo>
                        <a:pt x="1326" y="654"/>
                      </a:lnTo>
                      <a:lnTo>
                        <a:pt x="1302" y="678"/>
                      </a:lnTo>
                      <a:lnTo>
                        <a:pt x="1248" y="708"/>
                      </a:lnTo>
                      <a:lnTo>
                        <a:pt x="1224" y="684"/>
                      </a:lnTo>
                      <a:lnTo>
                        <a:pt x="1188" y="684"/>
                      </a:lnTo>
                      <a:lnTo>
                        <a:pt x="1182" y="714"/>
                      </a:lnTo>
                      <a:lnTo>
                        <a:pt x="1182" y="798"/>
                      </a:lnTo>
                      <a:lnTo>
                        <a:pt x="1122" y="816"/>
                      </a:lnTo>
                      <a:lnTo>
                        <a:pt x="1074" y="798"/>
                      </a:lnTo>
                      <a:lnTo>
                        <a:pt x="1080" y="804"/>
                      </a:lnTo>
                      <a:lnTo>
                        <a:pt x="1086" y="792"/>
                      </a:lnTo>
                      <a:lnTo>
                        <a:pt x="1092" y="780"/>
                      </a:lnTo>
                      <a:lnTo>
                        <a:pt x="1104" y="768"/>
                      </a:lnTo>
                      <a:lnTo>
                        <a:pt x="1104" y="762"/>
                      </a:lnTo>
                      <a:lnTo>
                        <a:pt x="1110" y="750"/>
                      </a:lnTo>
                      <a:lnTo>
                        <a:pt x="1116" y="732"/>
                      </a:lnTo>
                      <a:lnTo>
                        <a:pt x="1122" y="720"/>
                      </a:lnTo>
                      <a:lnTo>
                        <a:pt x="1122" y="708"/>
                      </a:lnTo>
                      <a:lnTo>
                        <a:pt x="1116" y="696"/>
                      </a:lnTo>
                      <a:lnTo>
                        <a:pt x="1110" y="684"/>
                      </a:lnTo>
                      <a:lnTo>
                        <a:pt x="1086" y="690"/>
                      </a:lnTo>
                      <a:lnTo>
                        <a:pt x="1062" y="708"/>
                      </a:lnTo>
                      <a:lnTo>
                        <a:pt x="1038" y="726"/>
                      </a:lnTo>
                      <a:lnTo>
                        <a:pt x="1014" y="726"/>
                      </a:lnTo>
                      <a:lnTo>
                        <a:pt x="984" y="726"/>
                      </a:lnTo>
                      <a:lnTo>
                        <a:pt x="942" y="744"/>
                      </a:lnTo>
                      <a:lnTo>
                        <a:pt x="882" y="774"/>
                      </a:lnTo>
                      <a:lnTo>
                        <a:pt x="828" y="786"/>
                      </a:lnTo>
                      <a:lnTo>
                        <a:pt x="774" y="786"/>
                      </a:lnTo>
                      <a:lnTo>
                        <a:pt x="720" y="774"/>
                      </a:lnTo>
                      <a:lnTo>
                        <a:pt x="684" y="750"/>
                      </a:lnTo>
                      <a:lnTo>
                        <a:pt x="648" y="726"/>
                      </a:lnTo>
                      <a:lnTo>
                        <a:pt x="606" y="720"/>
                      </a:lnTo>
                      <a:lnTo>
                        <a:pt x="558" y="720"/>
                      </a:lnTo>
                      <a:lnTo>
                        <a:pt x="540" y="726"/>
                      </a:lnTo>
                      <a:lnTo>
                        <a:pt x="522" y="732"/>
                      </a:lnTo>
                      <a:lnTo>
                        <a:pt x="516" y="744"/>
                      </a:lnTo>
                      <a:lnTo>
                        <a:pt x="504" y="756"/>
                      </a:lnTo>
                      <a:lnTo>
                        <a:pt x="498" y="768"/>
                      </a:lnTo>
                      <a:lnTo>
                        <a:pt x="492" y="780"/>
                      </a:lnTo>
                      <a:lnTo>
                        <a:pt x="480" y="792"/>
                      </a:lnTo>
                      <a:lnTo>
                        <a:pt x="468" y="804"/>
                      </a:lnTo>
                      <a:lnTo>
                        <a:pt x="438" y="816"/>
                      </a:lnTo>
                      <a:lnTo>
                        <a:pt x="396" y="810"/>
                      </a:lnTo>
                      <a:lnTo>
                        <a:pt x="354" y="798"/>
                      </a:lnTo>
                      <a:lnTo>
                        <a:pt x="318" y="786"/>
                      </a:lnTo>
                      <a:lnTo>
                        <a:pt x="300" y="768"/>
                      </a:lnTo>
                      <a:lnTo>
                        <a:pt x="288" y="762"/>
                      </a:lnTo>
                      <a:lnTo>
                        <a:pt x="270" y="762"/>
                      </a:lnTo>
                      <a:lnTo>
                        <a:pt x="258" y="762"/>
                      </a:lnTo>
                      <a:lnTo>
                        <a:pt x="246" y="762"/>
                      </a:lnTo>
                      <a:lnTo>
                        <a:pt x="228" y="768"/>
                      </a:lnTo>
                      <a:lnTo>
                        <a:pt x="216" y="768"/>
                      </a:lnTo>
                      <a:lnTo>
                        <a:pt x="204" y="768"/>
                      </a:lnTo>
                      <a:lnTo>
                        <a:pt x="192" y="762"/>
                      </a:lnTo>
                      <a:lnTo>
                        <a:pt x="186" y="756"/>
                      </a:lnTo>
                      <a:lnTo>
                        <a:pt x="180" y="750"/>
                      </a:lnTo>
                      <a:lnTo>
                        <a:pt x="174" y="744"/>
                      </a:lnTo>
                      <a:lnTo>
                        <a:pt x="180" y="738"/>
                      </a:lnTo>
                      <a:lnTo>
                        <a:pt x="192" y="732"/>
                      </a:lnTo>
                      <a:lnTo>
                        <a:pt x="210" y="726"/>
                      </a:lnTo>
                      <a:lnTo>
                        <a:pt x="222" y="720"/>
                      </a:lnTo>
                      <a:lnTo>
                        <a:pt x="228" y="720"/>
                      </a:lnTo>
                      <a:lnTo>
                        <a:pt x="228" y="708"/>
                      </a:lnTo>
                      <a:lnTo>
                        <a:pt x="222" y="702"/>
                      </a:lnTo>
                      <a:lnTo>
                        <a:pt x="210" y="696"/>
                      </a:lnTo>
                      <a:lnTo>
                        <a:pt x="198" y="696"/>
                      </a:lnTo>
                      <a:lnTo>
                        <a:pt x="186" y="690"/>
                      </a:lnTo>
                      <a:lnTo>
                        <a:pt x="174" y="690"/>
                      </a:lnTo>
                      <a:lnTo>
                        <a:pt x="150" y="684"/>
                      </a:lnTo>
                      <a:lnTo>
                        <a:pt x="138" y="672"/>
                      </a:lnTo>
                      <a:lnTo>
                        <a:pt x="132" y="660"/>
                      </a:lnTo>
                      <a:lnTo>
                        <a:pt x="132" y="642"/>
                      </a:lnTo>
                      <a:lnTo>
                        <a:pt x="138" y="624"/>
                      </a:lnTo>
                      <a:lnTo>
                        <a:pt x="138" y="612"/>
                      </a:lnTo>
                      <a:lnTo>
                        <a:pt x="138" y="600"/>
                      </a:lnTo>
                      <a:lnTo>
                        <a:pt x="132" y="594"/>
                      </a:lnTo>
                      <a:lnTo>
                        <a:pt x="120" y="588"/>
                      </a:lnTo>
                      <a:lnTo>
                        <a:pt x="102" y="582"/>
                      </a:lnTo>
                      <a:lnTo>
                        <a:pt x="84" y="576"/>
                      </a:lnTo>
                      <a:lnTo>
                        <a:pt x="66" y="570"/>
                      </a:lnTo>
                      <a:lnTo>
                        <a:pt x="60" y="564"/>
                      </a:lnTo>
                      <a:lnTo>
                        <a:pt x="54" y="558"/>
                      </a:lnTo>
                      <a:lnTo>
                        <a:pt x="60" y="546"/>
                      </a:lnTo>
                      <a:lnTo>
                        <a:pt x="60" y="534"/>
                      </a:lnTo>
                      <a:lnTo>
                        <a:pt x="72" y="528"/>
                      </a:lnTo>
                      <a:lnTo>
                        <a:pt x="78" y="516"/>
                      </a:lnTo>
                      <a:lnTo>
                        <a:pt x="90" y="504"/>
                      </a:lnTo>
                      <a:lnTo>
                        <a:pt x="96" y="492"/>
                      </a:lnTo>
                      <a:lnTo>
                        <a:pt x="96" y="486"/>
                      </a:lnTo>
                      <a:lnTo>
                        <a:pt x="90" y="474"/>
                      </a:lnTo>
                      <a:lnTo>
                        <a:pt x="78" y="468"/>
                      </a:lnTo>
                      <a:lnTo>
                        <a:pt x="66" y="462"/>
                      </a:lnTo>
                      <a:lnTo>
                        <a:pt x="48" y="462"/>
                      </a:lnTo>
                      <a:lnTo>
                        <a:pt x="42" y="456"/>
                      </a:lnTo>
                      <a:lnTo>
                        <a:pt x="42" y="450"/>
                      </a:lnTo>
                      <a:lnTo>
                        <a:pt x="42" y="444"/>
                      </a:lnTo>
                      <a:lnTo>
                        <a:pt x="48" y="432"/>
                      </a:lnTo>
                      <a:lnTo>
                        <a:pt x="54" y="426"/>
                      </a:lnTo>
                      <a:lnTo>
                        <a:pt x="60" y="420"/>
                      </a:lnTo>
                      <a:lnTo>
                        <a:pt x="60" y="414"/>
                      </a:lnTo>
                      <a:lnTo>
                        <a:pt x="60" y="414"/>
                      </a:lnTo>
                      <a:lnTo>
                        <a:pt x="54" y="408"/>
                      </a:lnTo>
                      <a:lnTo>
                        <a:pt x="42" y="408"/>
                      </a:lnTo>
                      <a:lnTo>
                        <a:pt x="30" y="408"/>
                      </a:lnTo>
                      <a:lnTo>
                        <a:pt x="12" y="408"/>
                      </a:lnTo>
                      <a:lnTo>
                        <a:pt x="6" y="402"/>
                      </a:lnTo>
                      <a:lnTo>
                        <a:pt x="0" y="396"/>
                      </a:lnTo>
                      <a:lnTo>
                        <a:pt x="0" y="384"/>
                      </a:lnTo>
                      <a:lnTo>
                        <a:pt x="0" y="372"/>
                      </a:lnTo>
                      <a:lnTo>
                        <a:pt x="6" y="360"/>
                      </a:lnTo>
                      <a:lnTo>
                        <a:pt x="12" y="348"/>
                      </a:lnTo>
                      <a:lnTo>
                        <a:pt x="30" y="330"/>
                      </a:lnTo>
                      <a:lnTo>
                        <a:pt x="54" y="312"/>
                      </a:lnTo>
                      <a:lnTo>
                        <a:pt x="84" y="300"/>
                      </a:lnTo>
                      <a:lnTo>
                        <a:pt x="126" y="288"/>
                      </a:lnTo>
                      <a:lnTo>
                        <a:pt x="168" y="288"/>
                      </a:lnTo>
                      <a:lnTo>
                        <a:pt x="204" y="282"/>
                      </a:lnTo>
                      <a:lnTo>
                        <a:pt x="222" y="282"/>
                      </a:lnTo>
                      <a:lnTo>
                        <a:pt x="234" y="282"/>
                      </a:lnTo>
                      <a:lnTo>
                        <a:pt x="246" y="282"/>
                      </a:lnTo>
                      <a:lnTo>
                        <a:pt x="258" y="282"/>
                      </a:lnTo>
                      <a:lnTo>
                        <a:pt x="264" y="276"/>
                      </a:lnTo>
                      <a:lnTo>
                        <a:pt x="270" y="270"/>
                      </a:lnTo>
                      <a:lnTo>
                        <a:pt x="270" y="258"/>
                      </a:lnTo>
                      <a:lnTo>
                        <a:pt x="270" y="252"/>
                      </a:lnTo>
                      <a:lnTo>
                        <a:pt x="276" y="246"/>
                      </a:lnTo>
                      <a:lnTo>
                        <a:pt x="288" y="240"/>
                      </a:lnTo>
                      <a:lnTo>
                        <a:pt x="306" y="240"/>
                      </a:lnTo>
                      <a:lnTo>
                        <a:pt x="318" y="240"/>
                      </a:lnTo>
                      <a:lnTo>
                        <a:pt x="330" y="240"/>
                      </a:lnTo>
                      <a:lnTo>
                        <a:pt x="336" y="234"/>
                      </a:lnTo>
                      <a:lnTo>
                        <a:pt x="342" y="228"/>
                      </a:lnTo>
                      <a:lnTo>
                        <a:pt x="342" y="216"/>
                      </a:lnTo>
                      <a:lnTo>
                        <a:pt x="330" y="210"/>
                      </a:lnTo>
                      <a:lnTo>
                        <a:pt x="318" y="198"/>
                      </a:lnTo>
                      <a:lnTo>
                        <a:pt x="306" y="186"/>
                      </a:lnTo>
                      <a:lnTo>
                        <a:pt x="300" y="180"/>
                      </a:lnTo>
                      <a:lnTo>
                        <a:pt x="306" y="174"/>
                      </a:lnTo>
                      <a:lnTo>
                        <a:pt x="312" y="168"/>
                      </a:lnTo>
                      <a:lnTo>
                        <a:pt x="324" y="168"/>
                      </a:lnTo>
                      <a:lnTo>
                        <a:pt x="342" y="162"/>
                      </a:lnTo>
                      <a:lnTo>
                        <a:pt x="360" y="162"/>
                      </a:lnTo>
                      <a:lnTo>
                        <a:pt x="378" y="162"/>
                      </a:lnTo>
                      <a:lnTo>
                        <a:pt x="396" y="162"/>
                      </a:lnTo>
                      <a:lnTo>
                        <a:pt x="420" y="162"/>
                      </a:lnTo>
                      <a:lnTo>
                        <a:pt x="432" y="162"/>
                      </a:lnTo>
                      <a:lnTo>
                        <a:pt x="450" y="162"/>
                      </a:lnTo>
                      <a:lnTo>
                        <a:pt x="456" y="156"/>
                      </a:lnTo>
                      <a:lnTo>
                        <a:pt x="468" y="156"/>
                      </a:lnTo>
                      <a:lnTo>
                        <a:pt x="480" y="150"/>
                      </a:lnTo>
                      <a:lnTo>
                        <a:pt x="492" y="144"/>
                      </a:lnTo>
                      <a:lnTo>
                        <a:pt x="510" y="132"/>
                      </a:lnTo>
                      <a:lnTo>
                        <a:pt x="528" y="126"/>
                      </a:lnTo>
                      <a:lnTo>
                        <a:pt x="552" y="114"/>
                      </a:lnTo>
                      <a:lnTo>
                        <a:pt x="588" y="102"/>
                      </a:lnTo>
                      <a:lnTo>
                        <a:pt x="624" y="96"/>
                      </a:lnTo>
                      <a:lnTo>
                        <a:pt x="666" y="72"/>
                      </a:lnTo>
                      <a:lnTo>
                        <a:pt x="714" y="48"/>
                      </a:lnTo>
                      <a:lnTo>
                        <a:pt x="768" y="24"/>
                      </a:lnTo>
                      <a:lnTo>
                        <a:pt x="816" y="12"/>
                      </a:lnTo>
                      <a:lnTo>
                        <a:pt x="834" y="6"/>
                      </a:lnTo>
                      <a:lnTo>
                        <a:pt x="852" y="0"/>
                      </a:lnTo>
                      <a:lnTo>
                        <a:pt x="864" y="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solidFill>
                  <a:srgbClr val="7FD5F3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0" name="Freeform 91">
                  <a:extLst>
                    <a:ext uri="{FF2B5EF4-FFF2-40B4-BE49-F238E27FC236}">
                      <a16:creationId xmlns:a16="http://schemas.microsoft.com/office/drawing/2014/main" id="{123FE0E0-0EC5-4886-9819-B0A8D6C221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9" y="-492"/>
                  <a:ext cx="204" cy="534"/>
                </a:xfrm>
                <a:custGeom>
                  <a:avLst/>
                  <a:gdLst>
                    <a:gd name="T0" fmla="*/ 192 w 204"/>
                    <a:gd name="T1" fmla="*/ 0 h 534"/>
                    <a:gd name="T2" fmla="*/ 204 w 204"/>
                    <a:gd name="T3" fmla="*/ 126 h 534"/>
                    <a:gd name="T4" fmla="*/ 192 w 204"/>
                    <a:gd name="T5" fmla="*/ 210 h 534"/>
                    <a:gd name="T6" fmla="*/ 174 w 204"/>
                    <a:gd name="T7" fmla="*/ 294 h 534"/>
                    <a:gd name="T8" fmla="*/ 174 w 204"/>
                    <a:gd name="T9" fmla="*/ 354 h 534"/>
                    <a:gd name="T10" fmla="*/ 156 w 204"/>
                    <a:gd name="T11" fmla="*/ 438 h 534"/>
                    <a:gd name="T12" fmla="*/ 138 w 204"/>
                    <a:gd name="T13" fmla="*/ 534 h 534"/>
                    <a:gd name="T14" fmla="*/ 108 w 204"/>
                    <a:gd name="T15" fmla="*/ 444 h 534"/>
                    <a:gd name="T16" fmla="*/ 96 w 204"/>
                    <a:gd name="T17" fmla="*/ 372 h 534"/>
                    <a:gd name="T18" fmla="*/ 54 w 204"/>
                    <a:gd name="T19" fmla="*/ 306 h 534"/>
                    <a:gd name="T20" fmla="*/ 0 w 204"/>
                    <a:gd name="T21" fmla="*/ 288 h 534"/>
                    <a:gd name="T22" fmla="*/ 6 w 204"/>
                    <a:gd name="T23" fmla="*/ 288 h 534"/>
                    <a:gd name="T24" fmla="*/ 6 w 204"/>
                    <a:gd name="T25" fmla="*/ 282 h 534"/>
                    <a:gd name="T26" fmla="*/ 6 w 204"/>
                    <a:gd name="T27" fmla="*/ 276 h 534"/>
                    <a:gd name="T28" fmla="*/ 12 w 204"/>
                    <a:gd name="T29" fmla="*/ 264 h 534"/>
                    <a:gd name="T30" fmla="*/ 18 w 204"/>
                    <a:gd name="T31" fmla="*/ 246 h 534"/>
                    <a:gd name="T32" fmla="*/ 30 w 204"/>
                    <a:gd name="T33" fmla="*/ 234 h 534"/>
                    <a:gd name="T34" fmla="*/ 42 w 204"/>
                    <a:gd name="T35" fmla="*/ 222 h 534"/>
                    <a:gd name="T36" fmla="*/ 48 w 204"/>
                    <a:gd name="T37" fmla="*/ 204 h 534"/>
                    <a:gd name="T38" fmla="*/ 54 w 204"/>
                    <a:gd name="T39" fmla="*/ 180 h 534"/>
                    <a:gd name="T40" fmla="*/ 60 w 204"/>
                    <a:gd name="T41" fmla="*/ 120 h 534"/>
                    <a:gd name="T42" fmla="*/ 78 w 204"/>
                    <a:gd name="T43" fmla="*/ 60 h 534"/>
                    <a:gd name="T44" fmla="*/ 78 w 204"/>
                    <a:gd name="T45" fmla="*/ 48 h 534"/>
                    <a:gd name="T46" fmla="*/ 84 w 204"/>
                    <a:gd name="T47" fmla="*/ 24 h 534"/>
                    <a:gd name="T48" fmla="*/ 84 w 204"/>
                    <a:gd name="T49" fmla="*/ 24 h 534"/>
                    <a:gd name="T50" fmla="*/ 156 w 204"/>
                    <a:gd name="T51" fmla="*/ 24 h 534"/>
                    <a:gd name="T52" fmla="*/ 192 w 204"/>
                    <a:gd name="T53" fmla="*/ 0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4" h="534">
                      <a:moveTo>
                        <a:pt x="192" y="0"/>
                      </a:moveTo>
                      <a:lnTo>
                        <a:pt x="204" y="126"/>
                      </a:lnTo>
                      <a:lnTo>
                        <a:pt x="192" y="210"/>
                      </a:lnTo>
                      <a:lnTo>
                        <a:pt x="174" y="294"/>
                      </a:lnTo>
                      <a:lnTo>
                        <a:pt x="174" y="354"/>
                      </a:lnTo>
                      <a:lnTo>
                        <a:pt x="156" y="438"/>
                      </a:lnTo>
                      <a:lnTo>
                        <a:pt x="138" y="534"/>
                      </a:lnTo>
                      <a:lnTo>
                        <a:pt x="108" y="444"/>
                      </a:lnTo>
                      <a:lnTo>
                        <a:pt x="96" y="372"/>
                      </a:lnTo>
                      <a:lnTo>
                        <a:pt x="54" y="306"/>
                      </a:lnTo>
                      <a:lnTo>
                        <a:pt x="0" y="288"/>
                      </a:lnTo>
                      <a:lnTo>
                        <a:pt x="6" y="288"/>
                      </a:lnTo>
                      <a:lnTo>
                        <a:pt x="6" y="282"/>
                      </a:lnTo>
                      <a:lnTo>
                        <a:pt x="6" y="276"/>
                      </a:lnTo>
                      <a:lnTo>
                        <a:pt x="12" y="264"/>
                      </a:lnTo>
                      <a:lnTo>
                        <a:pt x="18" y="246"/>
                      </a:lnTo>
                      <a:lnTo>
                        <a:pt x="30" y="234"/>
                      </a:lnTo>
                      <a:lnTo>
                        <a:pt x="42" y="222"/>
                      </a:lnTo>
                      <a:lnTo>
                        <a:pt x="48" y="204"/>
                      </a:lnTo>
                      <a:lnTo>
                        <a:pt x="54" y="180"/>
                      </a:lnTo>
                      <a:lnTo>
                        <a:pt x="60" y="120"/>
                      </a:lnTo>
                      <a:lnTo>
                        <a:pt x="78" y="60"/>
                      </a:lnTo>
                      <a:lnTo>
                        <a:pt x="78" y="48"/>
                      </a:lnTo>
                      <a:lnTo>
                        <a:pt x="84" y="24"/>
                      </a:lnTo>
                      <a:lnTo>
                        <a:pt x="84" y="24"/>
                      </a:lnTo>
                      <a:lnTo>
                        <a:pt x="156" y="24"/>
                      </a:lnTo>
                      <a:lnTo>
                        <a:pt x="19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1" name="Freeform 92">
                  <a:extLst>
                    <a:ext uri="{FF2B5EF4-FFF2-40B4-BE49-F238E27FC236}">
                      <a16:creationId xmlns:a16="http://schemas.microsoft.com/office/drawing/2014/main" id="{3731C9E0-61BF-455D-8938-E6B3E59859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21" y="-1542"/>
                  <a:ext cx="378" cy="300"/>
                </a:xfrm>
                <a:custGeom>
                  <a:avLst/>
                  <a:gdLst>
                    <a:gd name="T0" fmla="*/ 120 w 378"/>
                    <a:gd name="T1" fmla="*/ 240 h 300"/>
                    <a:gd name="T2" fmla="*/ 120 w 378"/>
                    <a:gd name="T3" fmla="*/ 240 h 300"/>
                    <a:gd name="T4" fmla="*/ 120 w 378"/>
                    <a:gd name="T5" fmla="*/ 240 h 300"/>
                    <a:gd name="T6" fmla="*/ 120 w 378"/>
                    <a:gd name="T7" fmla="*/ 240 h 300"/>
                    <a:gd name="T8" fmla="*/ 60 w 378"/>
                    <a:gd name="T9" fmla="*/ 0 h 300"/>
                    <a:gd name="T10" fmla="*/ 144 w 378"/>
                    <a:gd name="T11" fmla="*/ 0 h 300"/>
                    <a:gd name="T12" fmla="*/ 204 w 378"/>
                    <a:gd name="T13" fmla="*/ 54 h 300"/>
                    <a:gd name="T14" fmla="*/ 246 w 378"/>
                    <a:gd name="T15" fmla="*/ 84 h 300"/>
                    <a:gd name="T16" fmla="*/ 264 w 378"/>
                    <a:gd name="T17" fmla="*/ 180 h 300"/>
                    <a:gd name="T18" fmla="*/ 324 w 378"/>
                    <a:gd name="T19" fmla="*/ 216 h 300"/>
                    <a:gd name="T20" fmla="*/ 378 w 378"/>
                    <a:gd name="T21" fmla="*/ 252 h 300"/>
                    <a:gd name="T22" fmla="*/ 324 w 378"/>
                    <a:gd name="T23" fmla="*/ 300 h 300"/>
                    <a:gd name="T24" fmla="*/ 246 w 378"/>
                    <a:gd name="T25" fmla="*/ 294 h 300"/>
                    <a:gd name="T26" fmla="*/ 180 w 378"/>
                    <a:gd name="T27" fmla="*/ 240 h 300"/>
                    <a:gd name="T28" fmla="*/ 120 w 378"/>
                    <a:gd name="T29" fmla="*/ 240 h 300"/>
                    <a:gd name="T30" fmla="*/ 78 w 378"/>
                    <a:gd name="T31" fmla="*/ 156 h 300"/>
                    <a:gd name="T32" fmla="*/ 42 w 378"/>
                    <a:gd name="T33" fmla="*/ 114 h 300"/>
                    <a:gd name="T34" fmla="*/ 0 w 378"/>
                    <a:gd name="T35" fmla="*/ 66 h 300"/>
                    <a:gd name="T36" fmla="*/ 0 w 378"/>
                    <a:gd name="T37" fmla="*/ 30 h 300"/>
                    <a:gd name="T38" fmla="*/ 60 w 378"/>
                    <a:gd name="T39" fmla="*/ 0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78" h="300">
                      <a:moveTo>
                        <a:pt x="120" y="240"/>
                      </a:moveTo>
                      <a:lnTo>
                        <a:pt x="120" y="240"/>
                      </a:lnTo>
                      <a:lnTo>
                        <a:pt x="120" y="240"/>
                      </a:lnTo>
                      <a:lnTo>
                        <a:pt x="120" y="240"/>
                      </a:lnTo>
                      <a:close/>
                      <a:moveTo>
                        <a:pt x="60" y="0"/>
                      </a:moveTo>
                      <a:lnTo>
                        <a:pt x="144" y="0"/>
                      </a:lnTo>
                      <a:lnTo>
                        <a:pt x="204" y="54"/>
                      </a:lnTo>
                      <a:lnTo>
                        <a:pt x="246" y="84"/>
                      </a:lnTo>
                      <a:lnTo>
                        <a:pt x="264" y="180"/>
                      </a:lnTo>
                      <a:lnTo>
                        <a:pt x="324" y="216"/>
                      </a:lnTo>
                      <a:lnTo>
                        <a:pt x="378" y="252"/>
                      </a:lnTo>
                      <a:lnTo>
                        <a:pt x="324" y="300"/>
                      </a:lnTo>
                      <a:lnTo>
                        <a:pt x="246" y="294"/>
                      </a:lnTo>
                      <a:lnTo>
                        <a:pt x="180" y="240"/>
                      </a:lnTo>
                      <a:lnTo>
                        <a:pt x="120" y="240"/>
                      </a:lnTo>
                      <a:lnTo>
                        <a:pt x="78" y="156"/>
                      </a:lnTo>
                      <a:lnTo>
                        <a:pt x="42" y="114"/>
                      </a:lnTo>
                      <a:lnTo>
                        <a:pt x="0" y="66"/>
                      </a:lnTo>
                      <a:lnTo>
                        <a:pt x="0" y="30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2" name="Freeform 93">
                  <a:extLst>
                    <a:ext uri="{FF2B5EF4-FFF2-40B4-BE49-F238E27FC236}">
                      <a16:creationId xmlns:a16="http://schemas.microsoft.com/office/drawing/2014/main" id="{C238312A-7E51-4A10-AB95-0992822779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71" y="-996"/>
                  <a:ext cx="720" cy="642"/>
                </a:xfrm>
                <a:custGeom>
                  <a:avLst/>
                  <a:gdLst>
                    <a:gd name="T0" fmla="*/ 0 w 720"/>
                    <a:gd name="T1" fmla="*/ 204 h 642"/>
                    <a:gd name="T2" fmla="*/ 6 w 720"/>
                    <a:gd name="T3" fmla="*/ 210 h 642"/>
                    <a:gd name="T4" fmla="*/ 6 w 720"/>
                    <a:gd name="T5" fmla="*/ 210 h 642"/>
                    <a:gd name="T6" fmla="*/ 0 w 720"/>
                    <a:gd name="T7" fmla="*/ 204 h 642"/>
                    <a:gd name="T8" fmla="*/ 576 w 720"/>
                    <a:gd name="T9" fmla="*/ 0 h 642"/>
                    <a:gd name="T10" fmla="*/ 720 w 720"/>
                    <a:gd name="T11" fmla="*/ 0 h 642"/>
                    <a:gd name="T12" fmla="*/ 690 w 720"/>
                    <a:gd name="T13" fmla="*/ 78 h 642"/>
                    <a:gd name="T14" fmla="*/ 630 w 720"/>
                    <a:gd name="T15" fmla="*/ 126 h 642"/>
                    <a:gd name="T16" fmla="*/ 612 w 720"/>
                    <a:gd name="T17" fmla="*/ 180 h 642"/>
                    <a:gd name="T18" fmla="*/ 630 w 720"/>
                    <a:gd name="T19" fmla="*/ 276 h 642"/>
                    <a:gd name="T20" fmla="*/ 618 w 720"/>
                    <a:gd name="T21" fmla="*/ 360 h 642"/>
                    <a:gd name="T22" fmla="*/ 600 w 720"/>
                    <a:gd name="T23" fmla="*/ 408 h 642"/>
                    <a:gd name="T24" fmla="*/ 540 w 720"/>
                    <a:gd name="T25" fmla="*/ 444 h 642"/>
                    <a:gd name="T26" fmla="*/ 480 w 720"/>
                    <a:gd name="T27" fmla="*/ 474 h 642"/>
                    <a:gd name="T28" fmla="*/ 426 w 720"/>
                    <a:gd name="T29" fmla="*/ 510 h 642"/>
                    <a:gd name="T30" fmla="*/ 366 w 720"/>
                    <a:gd name="T31" fmla="*/ 564 h 642"/>
                    <a:gd name="T32" fmla="*/ 294 w 720"/>
                    <a:gd name="T33" fmla="*/ 582 h 642"/>
                    <a:gd name="T34" fmla="*/ 234 w 720"/>
                    <a:gd name="T35" fmla="*/ 618 h 642"/>
                    <a:gd name="T36" fmla="*/ 186 w 720"/>
                    <a:gd name="T37" fmla="*/ 642 h 642"/>
                    <a:gd name="T38" fmla="*/ 132 w 720"/>
                    <a:gd name="T39" fmla="*/ 642 h 642"/>
                    <a:gd name="T40" fmla="*/ 72 w 720"/>
                    <a:gd name="T41" fmla="*/ 630 h 642"/>
                    <a:gd name="T42" fmla="*/ 60 w 720"/>
                    <a:gd name="T43" fmla="*/ 504 h 642"/>
                    <a:gd name="T44" fmla="*/ 108 w 720"/>
                    <a:gd name="T45" fmla="*/ 450 h 642"/>
                    <a:gd name="T46" fmla="*/ 132 w 720"/>
                    <a:gd name="T47" fmla="*/ 414 h 642"/>
                    <a:gd name="T48" fmla="*/ 114 w 720"/>
                    <a:gd name="T49" fmla="*/ 366 h 642"/>
                    <a:gd name="T50" fmla="*/ 72 w 720"/>
                    <a:gd name="T51" fmla="*/ 348 h 642"/>
                    <a:gd name="T52" fmla="*/ 18 w 720"/>
                    <a:gd name="T53" fmla="*/ 354 h 642"/>
                    <a:gd name="T54" fmla="*/ 18 w 720"/>
                    <a:gd name="T55" fmla="*/ 336 h 642"/>
                    <a:gd name="T56" fmla="*/ 18 w 720"/>
                    <a:gd name="T57" fmla="*/ 318 h 642"/>
                    <a:gd name="T58" fmla="*/ 12 w 720"/>
                    <a:gd name="T59" fmla="*/ 294 h 642"/>
                    <a:gd name="T60" fmla="*/ 6 w 720"/>
                    <a:gd name="T61" fmla="*/ 264 h 642"/>
                    <a:gd name="T62" fmla="*/ 0 w 720"/>
                    <a:gd name="T63" fmla="*/ 246 h 642"/>
                    <a:gd name="T64" fmla="*/ 0 w 720"/>
                    <a:gd name="T65" fmla="*/ 228 h 642"/>
                    <a:gd name="T66" fmla="*/ 0 w 720"/>
                    <a:gd name="T67" fmla="*/ 216 h 642"/>
                    <a:gd name="T68" fmla="*/ 6 w 720"/>
                    <a:gd name="T69" fmla="*/ 210 h 642"/>
                    <a:gd name="T70" fmla="*/ 48 w 720"/>
                    <a:gd name="T71" fmla="*/ 222 h 642"/>
                    <a:gd name="T72" fmla="*/ 108 w 720"/>
                    <a:gd name="T73" fmla="*/ 204 h 642"/>
                    <a:gd name="T74" fmla="*/ 108 w 720"/>
                    <a:gd name="T75" fmla="*/ 120 h 642"/>
                    <a:gd name="T76" fmla="*/ 114 w 720"/>
                    <a:gd name="T77" fmla="*/ 90 h 642"/>
                    <a:gd name="T78" fmla="*/ 150 w 720"/>
                    <a:gd name="T79" fmla="*/ 90 h 642"/>
                    <a:gd name="T80" fmla="*/ 174 w 720"/>
                    <a:gd name="T81" fmla="*/ 114 h 642"/>
                    <a:gd name="T82" fmla="*/ 228 w 720"/>
                    <a:gd name="T83" fmla="*/ 84 h 642"/>
                    <a:gd name="T84" fmla="*/ 252 w 720"/>
                    <a:gd name="T85" fmla="*/ 60 h 642"/>
                    <a:gd name="T86" fmla="*/ 372 w 720"/>
                    <a:gd name="T87" fmla="*/ 60 h 642"/>
                    <a:gd name="T88" fmla="*/ 432 w 720"/>
                    <a:gd name="T89" fmla="*/ 36 h 642"/>
                    <a:gd name="T90" fmla="*/ 486 w 720"/>
                    <a:gd name="T91" fmla="*/ 18 h 642"/>
                    <a:gd name="T92" fmla="*/ 576 w 720"/>
                    <a:gd name="T93" fmla="*/ 0 h 6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20" h="642">
                      <a:moveTo>
                        <a:pt x="0" y="204"/>
                      </a:moveTo>
                      <a:lnTo>
                        <a:pt x="6" y="210"/>
                      </a:lnTo>
                      <a:lnTo>
                        <a:pt x="6" y="210"/>
                      </a:lnTo>
                      <a:lnTo>
                        <a:pt x="0" y="204"/>
                      </a:lnTo>
                      <a:close/>
                      <a:moveTo>
                        <a:pt x="576" y="0"/>
                      </a:moveTo>
                      <a:lnTo>
                        <a:pt x="720" y="0"/>
                      </a:lnTo>
                      <a:lnTo>
                        <a:pt x="690" y="78"/>
                      </a:lnTo>
                      <a:lnTo>
                        <a:pt x="630" y="126"/>
                      </a:lnTo>
                      <a:lnTo>
                        <a:pt x="612" y="180"/>
                      </a:lnTo>
                      <a:lnTo>
                        <a:pt x="630" y="276"/>
                      </a:lnTo>
                      <a:lnTo>
                        <a:pt x="618" y="360"/>
                      </a:lnTo>
                      <a:lnTo>
                        <a:pt x="600" y="408"/>
                      </a:lnTo>
                      <a:lnTo>
                        <a:pt x="540" y="444"/>
                      </a:lnTo>
                      <a:lnTo>
                        <a:pt x="480" y="474"/>
                      </a:lnTo>
                      <a:lnTo>
                        <a:pt x="426" y="510"/>
                      </a:lnTo>
                      <a:lnTo>
                        <a:pt x="366" y="564"/>
                      </a:lnTo>
                      <a:lnTo>
                        <a:pt x="294" y="582"/>
                      </a:lnTo>
                      <a:lnTo>
                        <a:pt x="234" y="618"/>
                      </a:lnTo>
                      <a:lnTo>
                        <a:pt x="186" y="642"/>
                      </a:lnTo>
                      <a:lnTo>
                        <a:pt x="132" y="642"/>
                      </a:lnTo>
                      <a:lnTo>
                        <a:pt x="72" y="630"/>
                      </a:lnTo>
                      <a:lnTo>
                        <a:pt x="60" y="504"/>
                      </a:lnTo>
                      <a:lnTo>
                        <a:pt x="108" y="450"/>
                      </a:lnTo>
                      <a:lnTo>
                        <a:pt x="132" y="414"/>
                      </a:lnTo>
                      <a:lnTo>
                        <a:pt x="114" y="366"/>
                      </a:lnTo>
                      <a:lnTo>
                        <a:pt x="72" y="348"/>
                      </a:lnTo>
                      <a:lnTo>
                        <a:pt x="18" y="354"/>
                      </a:lnTo>
                      <a:lnTo>
                        <a:pt x="18" y="336"/>
                      </a:lnTo>
                      <a:lnTo>
                        <a:pt x="18" y="318"/>
                      </a:lnTo>
                      <a:lnTo>
                        <a:pt x="12" y="294"/>
                      </a:lnTo>
                      <a:lnTo>
                        <a:pt x="6" y="264"/>
                      </a:lnTo>
                      <a:lnTo>
                        <a:pt x="0" y="246"/>
                      </a:lnTo>
                      <a:lnTo>
                        <a:pt x="0" y="228"/>
                      </a:lnTo>
                      <a:lnTo>
                        <a:pt x="0" y="216"/>
                      </a:lnTo>
                      <a:lnTo>
                        <a:pt x="6" y="210"/>
                      </a:lnTo>
                      <a:lnTo>
                        <a:pt x="48" y="222"/>
                      </a:lnTo>
                      <a:lnTo>
                        <a:pt x="108" y="204"/>
                      </a:lnTo>
                      <a:lnTo>
                        <a:pt x="108" y="120"/>
                      </a:lnTo>
                      <a:lnTo>
                        <a:pt x="114" y="90"/>
                      </a:lnTo>
                      <a:lnTo>
                        <a:pt x="150" y="90"/>
                      </a:lnTo>
                      <a:lnTo>
                        <a:pt x="174" y="114"/>
                      </a:lnTo>
                      <a:lnTo>
                        <a:pt x="228" y="84"/>
                      </a:lnTo>
                      <a:lnTo>
                        <a:pt x="252" y="60"/>
                      </a:lnTo>
                      <a:lnTo>
                        <a:pt x="372" y="60"/>
                      </a:lnTo>
                      <a:lnTo>
                        <a:pt x="432" y="36"/>
                      </a:lnTo>
                      <a:lnTo>
                        <a:pt x="486" y="18"/>
                      </a:lnTo>
                      <a:lnTo>
                        <a:pt x="57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3" name="Freeform 94">
                  <a:extLst>
                    <a:ext uri="{FF2B5EF4-FFF2-40B4-BE49-F238E27FC236}">
                      <a16:creationId xmlns:a16="http://schemas.microsoft.com/office/drawing/2014/main" id="{03D8402F-8F50-4A45-A6ED-ECD8D60056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77" y="-432"/>
                  <a:ext cx="420" cy="492"/>
                </a:xfrm>
                <a:custGeom>
                  <a:avLst/>
                  <a:gdLst>
                    <a:gd name="T0" fmla="*/ 0 w 420"/>
                    <a:gd name="T1" fmla="*/ 468 h 492"/>
                    <a:gd name="T2" fmla="*/ 0 w 420"/>
                    <a:gd name="T3" fmla="*/ 468 h 492"/>
                    <a:gd name="T4" fmla="*/ 0 w 420"/>
                    <a:gd name="T5" fmla="*/ 474 h 492"/>
                    <a:gd name="T6" fmla="*/ 0 w 420"/>
                    <a:gd name="T7" fmla="*/ 468 h 492"/>
                    <a:gd name="T8" fmla="*/ 366 w 420"/>
                    <a:gd name="T9" fmla="*/ 0 h 492"/>
                    <a:gd name="T10" fmla="*/ 366 w 420"/>
                    <a:gd name="T11" fmla="*/ 0 h 492"/>
                    <a:gd name="T12" fmla="*/ 390 w 420"/>
                    <a:gd name="T13" fmla="*/ 24 h 492"/>
                    <a:gd name="T14" fmla="*/ 420 w 420"/>
                    <a:gd name="T15" fmla="*/ 84 h 492"/>
                    <a:gd name="T16" fmla="*/ 420 w 420"/>
                    <a:gd name="T17" fmla="*/ 132 h 492"/>
                    <a:gd name="T18" fmla="*/ 360 w 420"/>
                    <a:gd name="T19" fmla="*/ 150 h 492"/>
                    <a:gd name="T20" fmla="*/ 288 w 420"/>
                    <a:gd name="T21" fmla="*/ 168 h 492"/>
                    <a:gd name="T22" fmla="*/ 282 w 420"/>
                    <a:gd name="T23" fmla="*/ 204 h 492"/>
                    <a:gd name="T24" fmla="*/ 318 w 420"/>
                    <a:gd name="T25" fmla="*/ 264 h 492"/>
                    <a:gd name="T26" fmla="*/ 330 w 420"/>
                    <a:gd name="T27" fmla="*/ 342 h 492"/>
                    <a:gd name="T28" fmla="*/ 300 w 420"/>
                    <a:gd name="T29" fmla="*/ 402 h 492"/>
                    <a:gd name="T30" fmla="*/ 216 w 420"/>
                    <a:gd name="T31" fmla="*/ 402 h 492"/>
                    <a:gd name="T32" fmla="*/ 174 w 420"/>
                    <a:gd name="T33" fmla="*/ 462 h 492"/>
                    <a:gd name="T34" fmla="*/ 132 w 420"/>
                    <a:gd name="T35" fmla="*/ 492 h 492"/>
                    <a:gd name="T36" fmla="*/ 54 w 420"/>
                    <a:gd name="T37" fmla="*/ 492 h 492"/>
                    <a:gd name="T38" fmla="*/ 0 w 420"/>
                    <a:gd name="T39" fmla="*/ 468 h 492"/>
                    <a:gd name="T40" fmla="*/ 18 w 420"/>
                    <a:gd name="T41" fmla="*/ 378 h 492"/>
                    <a:gd name="T42" fmla="*/ 36 w 420"/>
                    <a:gd name="T43" fmla="*/ 294 h 492"/>
                    <a:gd name="T44" fmla="*/ 36 w 420"/>
                    <a:gd name="T45" fmla="*/ 234 h 492"/>
                    <a:gd name="T46" fmla="*/ 54 w 420"/>
                    <a:gd name="T47" fmla="*/ 150 h 492"/>
                    <a:gd name="T48" fmla="*/ 66 w 420"/>
                    <a:gd name="T49" fmla="*/ 66 h 492"/>
                    <a:gd name="T50" fmla="*/ 66 w 420"/>
                    <a:gd name="T51" fmla="*/ 66 h 492"/>
                    <a:gd name="T52" fmla="*/ 126 w 420"/>
                    <a:gd name="T53" fmla="*/ 84 h 492"/>
                    <a:gd name="T54" fmla="*/ 180 w 420"/>
                    <a:gd name="T55" fmla="*/ 78 h 492"/>
                    <a:gd name="T56" fmla="*/ 228 w 420"/>
                    <a:gd name="T57" fmla="*/ 54 h 492"/>
                    <a:gd name="T58" fmla="*/ 288 w 420"/>
                    <a:gd name="T59" fmla="*/ 18 h 492"/>
                    <a:gd name="T60" fmla="*/ 366 w 420"/>
                    <a:gd name="T61" fmla="*/ 0 h 4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20" h="492">
                      <a:moveTo>
                        <a:pt x="0" y="468"/>
                      </a:moveTo>
                      <a:lnTo>
                        <a:pt x="0" y="468"/>
                      </a:lnTo>
                      <a:lnTo>
                        <a:pt x="0" y="474"/>
                      </a:lnTo>
                      <a:lnTo>
                        <a:pt x="0" y="468"/>
                      </a:lnTo>
                      <a:close/>
                      <a:moveTo>
                        <a:pt x="366" y="0"/>
                      </a:moveTo>
                      <a:lnTo>
                        <a:pt x="366" y="0"/>
                      </a:lnTo>
                      <a:lnTo>
                        <a:pt x="390" y="24"/>
                      </a:lnTo>
                      <a:lnTo>
                        <a:pt x="420" y="84"/>
                      </a:lnTo>
                      <a:lnTo>
                        <a:pt x="420" y="132"/>
                      </a:lnTo>
                      <a:lnTo>
                        <a:pt x="360" y="150"/>
                      </a:lnTo>
                      <a:lnTo>
                        <a:pt x="288" y="168"/>
                      </a:lnTo>
                      <a:lnTo>
                        <a:pt x="282" y="204"/>
                      </a:lnTo>
                      <a:lnTo>
                        <a:pt x="318" y="264"/>
                      </a:lnTo>
                      <a:lnTo>
                        <a:pt x="330" y="342"/>
                      </a:lnTo>
                      <a:lnTo>
                        <a:pt x="300" y="402"/>
                      </a:lnTo>
                      <a:lnTo>
                        <a:pt x="216" y="402"/>
                      </a:lnTo>
                      <a:lnTo>
                        <a:pt x="174" y="462"/>
                      </a:lnTo>
                      <a:lnTo>
                        <a:pt x="132" y="492"/>
                      </a:lnTo>
                      <a:lnTo>
                        <a:pt x="54" y="492"/>
                      </a:lnTo>
                      <a:lnTo>
                        <a:pt x="0" y="468"/>
                      </a:lnTo>
                      <a:lnTo>
                        <a:pt x="18" y="378"/>
                      </a:lnTo>
                      <a:lnTo>
                        <a:pt x="36" y="294"/>
                      </a:lnTo>
                      <a:lnTo>
                        <a:pt x="36" y="234"/>
                      </a:lnTo>
                      <a:lnTo>
                        <a:pt x="54" y="150"/>
                      </a:lnTo>
                      <a:lnTo>
                        <a:pt x="66" y="66"/>
                      </a:lnTo>
                      <a:lnTo>
                        <a:pt x="66" y="66"/>
                      </a:lnTo>
                      <a:lnTo>
                        <a:pt x="126" y="84"/>
                      </a:lnTo>
                      <a:lnTo>
                        <a:pt x="180" y="78"/>
                      </a:lnTo>
                      <a:lnTo>
                        <a:pt x="228" y="54"/>
                      </a:lnTo>
                      <a:lnTo>
                        <a:pt x="288" y="18"/>
                      </a:lnTo>
                      <a:lnTo>
                        <a:pt x="36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4" name="Freeform 95">
                  <a:extLst>
                    <a:ext uri="{FF2B5EF4-FFF2-40B4-BE49-F238E27FC236}">
                      <a16:creationId xmlns:a16="http://schemas.microsoft.com/office/drawing/2014/main" id="{289C4B10-376E-4194-8D90-3BFF933F94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5" y="-1644"/>
                  <a:ext cx="720" cy="450"/>
                </a:xfrm>
                <a:custGeom>
                  <a:avLst/>
                  <a:gdLst>
                    <a:gd name="T0" fmla="*/ 126 w 720"/>
                    <a:gd name="T1" fmla="*/ 0 h 450"/>
                    <a:gd name="T2" fmla="*/ 216 w 720"/>
                    <a:gd name="T3" fmla="*/ 0 h 450"/>
                    <a:gd name="T4" fmla="*/ 264 w 720"/>
                    <a:gd name="T5" fmla="*/ 66 h 450"/>
                    <a:gd name="T6" fmla="*/ 312 w 720"/>
                    <a:gd name="T7" fmla="*/ 84 h 450"/>
                    <a:gd name="T8" fmla="*/ 342 w 720"/>
                    <a:gd name="T9" fmla="*/ 54 h 450"/>
                    <a:gd name="T10" fmla="*/ 558 w 720"/>
                    <a:gd name="T11" fmla="*/ 18 h 450"/>
                    <a:gd name="T12" fmla="*/ 720 w 720"/>
                    <a:gd name="T13" fmla="*/ 228 h 450"/>
                    <a:gd name="T14" fmla="*/ 552 w 720"/>
                    <a:gd name="T15" fmla="*/ 420 h 450"/>
                    <a:gd name="T16" fmla="*/ 438 w 720"/>
                    <a:gd name="T17" fmla="*/ 450 h 450"/>
                    <a:gd name="T18" fmla="*/ 372 w 720"/>
                    <a:gd name="T19" fmla="*/ 426 h 450"/>
                    <a:gd name="T20" fmla="*/ 330 w 720"/>
                    <a:gd name="T21" fmla="*/ 366 h 450"/>
                    <a:gd name="T22" fmla="*/ 342 w 720"/>
                    <a:gd name="T23" fmla="*/ 306 h 450"/>
                    <a:gd name="T24" fmla="*/ 282 w 720"/>
                    <a:gd name="T25" fmla="*/ 300 h 450"/>
                    <a:gd name="T26" fmla="*/ 270 w 720"/>
                    <a:gd name="T27" fmla="*/ 336 h 450"/>
                    <a:gd name="T28" fmla="*/ 234 w 720"/>
                    <a:gd name="T29" fmla="*/ 354 h 450"/>
                    <a:gd name="T30" fmla="*/ 180 w 720"/>
                    <a:gd name="T31" fmla="*/ 318 h 450"/>
                    <a:gd name="T32" fmla="*/ 120 w 720"/>
                    <a:gd name="T33" fmla="*/ 282 h 450"/>
                    <a:gd name="T34" fmla="*/ 102 w 720"/>
                    <a:gd name="T35" fmla="*/ 186 h 450"/>
                    <a:gd name="T36" fmla="*/ 60 w 720"/>
                    <a:gd name="T37" fmla="*/ 156 h 450"/>
                    <a:gd name="T38" fmla="*/ 0 w 720"/>
                    <a:gd name="T39" fmla="*/ 102 h 450"/>
                    <a:gd name="T40" fmla="*/ 66 w 720"/>
                    <a:gd name="T41" fmla="*/ 78 h 450"/>
                    <a:gd name="T42" fmla="*/ 132 w 720"/>
                    <a:gd name="T43" fmla="*/ 90 h 450"/>
                    <a:gd name="T44" fmla="*/ 162 w 720"/>
                    <a:gd name="T45" fmla="*/ 60 h 450"/>
                    <a:gd name="T46" fmla="*/ 126 w 720"/>
                    <a:gd name="T47" fmla="*/ 0 h 4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0" h="450">
                      <a:moveTo>
                        <a:pt x="126" y="0"/>
                      </a:moveTo>
                      <a:lnTo>
                        <a:pt x="216" y="0"/>
                      </a:lnTo>
                      <a:lnTo>
                        <a:pt x="264" y="66"/>
                      </a:lnTo>
                      <a:lnTo>
                        <a:pt x="312" y="84"/>
                      </a:lnTo>
                      <a:lnTo>
                        <a:pt x="342" y="54"/>
                      </a:lnTo>
                      <a:lnTo>
                        <a:pt x="558" y="18"/>
                      </a:lnTo>
                      <a:lnTo>
                        <a:pt x="720" y="228"/>
                      </a:lnTo>
                      <a:lnTo>
                        <a:pt x="552" y="420"/>
                      </a:lnTo>
                      <a:lnTo>
                        <a:pt x="438" y="450"/>
                      </a:lnTo>
                      <a:lnTo>
                        <a:pt x="372" y="426"/>
                      </a:lnTo>
                      <a:lnTo>
                        <a:pt x="330" y="366"/>
                      </a:lnTo>
                      <a:lnTo>
                        <a:pt x="342" y="306"/>
                      </a:lnTo>
                      <a:lnTo>
                        <a:pt x="282" y="300"/>
                      </a:lnTo>
                      <a:lnTo>
                        <a:pt x="270" y="336"/>
                      </a:lnTo>
                      <a:lnTo>
                        <a:pt x="234" y="354"/>
                      </a:lnTo>
                      <a:lnTo>
                        <a:pt x="180" y="318"/>
                      </a:lnTo>
                      <a:lnTo>
                        <a:pt x="120" y="282"/>
                      </a:lnTo>
                      <a:lnTo>
                        <a:pt x="102" y="186"/>
                      </a:lnTo>
                      <a:lnTo>
                        <a:pt x="60" y="156"/>
                      </a:lnTo>
                      <a:lnTo>
                        <a:pt x="0" y="102"/>
                      </a:lnTo>
                      <a:lnTo>
                        <a:pt x="66" y="78"/>
                      </a:lnTo>
                      <a:lnTo>
                        <a:pt x="132" y="90"/>
                      </a:lnTo>
                      <a:lnTo>
                        <a:pt x="162" y="60"/>
                      </a:lnTo>
                      <a:lnTo>
                        <a:pt x="126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5" name="Freeform 96">
                  <a:extLst>
                    <a:ext uri="{FF2B5EF4-FFF2-40B4-BE49-F238E27FC236}">
                      <a16:creationId xmlns:a16="http://schemas.microsoft.com/office/drawing/2014/main" id="{567B9AE7-A1C7-47F3-B85C-A6E90ADD93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43" y="-1008"/>
                  <a:ext cx="1104" cy="1026"/>
                </a:xfrm>
                <a:custGeom>
                  <a:avLst/>
                  <a:gdLst>
                    <a:gd name="T0" fmla="*/ 438 w 1104"/>
                    <a:gd name="T1" fmla="*/ 0 h 1026"/>
                    <a:gd name="T2" fmla="*/ 528 w 1104"/>
                    <a:gd name="T3" fmla="*/ 12 h 1026"/>
                    <a:gd name="T4" fmla="*/ 606 w 1104"/>
                    <a:gd name="T5" fmla="*/ 24 h 1026"/>
                    <a:gd name="T6" fmla="*/ 642 w 1104"/>
                    <a:gd name="T7" fmla="*/ 108 h 1026"/>
                    <a:gd name="T8" fmla="*/ 684 w 1104"/>
                    <a:gd name="T9" fmla="*/ 150 h 1026"/>
                    <a:gd name="T10" fmla="*/ 756 w 1104"/>
                    <a:gd name="T11" fmla="*/ 222 h 1026"/>
                    <a:gd name="T12" fmla="*/ 750 w 1104"/>
                    <a:gd name="T13" fmla="*/ 306 h 1026"/>
                    <a:gd name="T14" fmla="*/ 708 w 1104"/>
                    <a:gd name="T15" fmla="*/ 396 h 1026"/>
                    <a:gd name="T16" fmla="*/ 762 w 1104"/>
                    <a:gd name="T17" fmla="*/ 450 h 1026"/>
                    <a:gd name="T18" fmla="*/ 816 w 1104"/>
                    <a:gd name="T19" fmla="*/ 528 h 1026"/>
                    <a:gd name="T20" fmla="*/ 876 w 1104"/>
                    <a:gd name="T21" fmla="*/ 600 h 1026"/>
                    <a:gd name="T22" fmla="*/ 930 w 1104"/>
                    <a:gd name="T23" fmla="*/ 600 h 1026"/>
                    <a:gd name="T24" fmla="*/ 936 w 1104"/>
                    <a:gd name="T25" fmla="*/ 642 h 1026"/>
                    <a:gd name="T26" fmla="*/ 996 w 1104"/>
                    <a:gd name="T27" fmla="*/ 708 h 1026"/>
                    <a:gd name="T28" fmla="*/ 1020 w 1104"/>
                    <a:gd name="T29" fmla="*/ 780 h 1026"/>
                    <a:gd name="T30" fmla="*/ 1062 w 1104"/>
                    <a:gd name="T31" fmla="*/ 822 h 1026"/>
                    <a:gd name="T32" fmla="*/ 1104 w 1104"/>
                    <a:gd name="T33" fmla="*/ 840 h 1026"/>
                    <a:gd name="T34" fmla="*/ 1104 w 1104"/>
                    <a:gd name="T35" fmla="*/ 876 h 1026"/>
                    <a:gd name="T36" fmla="*/ 1104 w 1104"/>
                    <a:gd name="T37" fmla="*/ 876 h 1026"/>
                    <a:gd name="T38" fmla="*/ 1074 w 1104"/>
                    <a:gd name="T39" fmla="*/ 900 h 1026"/>
                    <a:gd name="T40" fmla="*/ 1032 w 1104"/>
                    <a:gd name="T41" fmla="*/ 900 h 1026"/>
                    <a:gd name="T42" fmla="*/ 984 w 1104"/>
                    <a:gd name="T43" fmla="*/ 918 h 1026"/>
                    <a:gd name="T44" fmla="*/ 954 w 1104"/>
                    <a:gd name="T45" fmla="*/ 954 h 1026"/>
                    <a:gd name="T46" fmla="*/ 936 w 1104"/>
                    <a:gd name="T47" fmla="*/ 1008 h 1026"/>
                    <a:gd name="T48" fmla="*/ 936 w 1104"/>
                    <a:gd name="T49" fmla="*/ 1008 h 1026"/>
                    <a:gd name="T50" fmla="*/ 858 w 1104"/>
                    <a:gd name="T51" fmla="*/ 1014 h 1026"/>
                    <a:gd name="T52" fmla="*/ 672 w 1104"/>
                    <a:gd name="T53" fmla="*/ 1026 h 1026"/>
                    <a:gd name="T54" fmla="*/ 636 w 1104"/>
                    <a:gd name="T55" fmla="*/ 1002 h 1026"/>
                    <a:gd name="T56" fmla="*/ 330 w 1104"/>
                    <a:gd name="T57" fmla="*/ 756 h 1026"/>
                    <a:gd name="T58" fmla="*/ 240 w 1104"/>
                    <a:gd name="T59" fmla="*/ 714 h 1026"/>
                    <a:gd name="T60" fmla="*/ 138 w 1104"/>
                    <a:gd name="T61" fmla="*/ 720 h 1026"/>
                    <a:gd name="T62" fmla="*/ 54 w 1104"/>
                    <a:gd name="T63" fmla="*/ 708 h 1026"/>
                    <a:gd name="T64" fmla="*/ 54 w 1104"/>
                    <a:gd name="T65" fmla="*/ 660 h 1026"/>
                    <a:gd name="T66" fmla="*/ 24 w 1104"/>
                    <a:gd name="T67" fmla="*/ 600 h 1026"/>
                    <a:gd name="T68" fmla="*/ 0 w 1104"/>
                    <a:gd name="T69" fmla="*/ 576 h 1026"/>
                    <a:gd name="T70" fmla="*/ 0 w 1104"/>
                    <a:gd name="T71" fmla="*/ 576 h 1026"/>
                    <a:gd name="T72" fmla="*/ 54 w 1104"/>
                    <a:gd name="T73" fmla="*/ 522 h 1026"/>
                    <a:gd name="T74" fmla="*/ 108 w 1104"/>
                    <a:gd name="T75" fmla="*/ 486 h 1026"/>
                    <a:gd name="T76" fmla="*/ 168 w 1104"/>
                    <a:gd name="T77" fmla="*/ 456 h 1026"/>
                    <a:gd name="T78" fmla="*/ 228 w 1104"/>
                    <a:gd name="T79" fmla="*/ 420 h 1026"/>
                    <a:gd name="T80" fmla="*/ 246 w 1104"/>
                    <a:gd name="T81" fmla="*/ 372 h 1026"/>
                    <a:gd name="T82" fmla="*/ 258 w 1104"/>
                    <a:gd name="T83" fmla="*/ 288 h 1026"/>
                    <a:gd name="T84" fmla="*/ 240 w 1104"/>
                    <a:gd name="T85" fmla="*/ 192 h 1026"/>
                    <a:gd name="T86" fmla="*/ 258 w 1104"/>
                    <a:gd name="T87" fmla="*/ 138 h 1026"/>
                    <a:gd name="T88" fmla="*/ 318 w 1104"/>
                    <a:gd name="T89" fmla="*/ 90 h 1026"/>
                    <a:gd name="T90" fmla="*/ 348 w 1104"/>
                    <a:gd name="T91" fmla="*/ 12 h 1026"/>
                    <a:gd name="T92" fmla="*/ 438 w 1104"/>
                    <a:gd name="T93" fmla="*/ 0 h 10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104" h="1026">
                      <a:moveTo>
                        <a:pt x="438" y="0"/>
                      </a:moveTo>
                      <a:lnTo>
                        <a:pt x="528" y="12"/>
                      </a:lnTo>
                      <a:lnTo>
                        <a:pt x="606" y="24"/>
                      </a:lnTo>
                      <a:lnTo>
                        <a:pt x="642" y="108"/>
                      </a:lnTo>
                      <a:lnTo>
                        <a:pt x="684" y="150"/>
                      </a:lnTo>
                      <a:lnTo>
                        <a:pt x="756" y="222"/>
                      </a:lnTo>
                      <a:lnTo>
                        <a:pt x="750" y="306"/>
                      </a:lnTo>
                      <a:lnTo>
                        <a:pt x="708" y="396"/>
                      </a:lnTo>
                      <a:lnTo>
                        <a:pt x="762" y="450"/>
                      </a:lnTo>
                      <a:lnTo>
                        <a:pt x="816" y="528"/>
                      </a:lnTo>
                      <a:lnTo>
                        <a:pt x="876" y="600"/>
                      </a:lnTo>
                      <a:lnTo>
                        <a:pt x="930" y="600"/>
                      </a:lnTo>
                      <a:lnTo>
                        <a:pt x="936" y="642"/>
                      </a:lnTo>
                      <a:lnTo>
                        <a:pt x="996" y="708"/>
                      </a:lnTo>
                      <a:lnTo>
                        <a:pt x="1020" y="780"/>
                      </a:lnTo>
                      <a:lnTo>
                        <a:pt x="1062" y="822"/>
                      </a:lnTo>
                      <a:lnTo>
                        <a:pt x="1104" y="840"/>
                      </a:lnTo>
                      <a:lnTo>
                        <a:pt x="1104" y="876"/>
                      </a:lnTo>
                      <a:lnTo>
                        <a:pt x="1104" y="876"/>
                      </a:lnTo>
                      <a:lnTo>
                        <a:pt x="1074" y="900"/>
                      </a:lnTo>
                      <a:lnTo>
                        <a:pt x="1032" y="900"/>
                      </a:lnTo>
                      <a:lnTo>
                        <a:pt x="984" y="918"/>
                      </a:lnTo>
                      <a:lnTo>
                        <a:pt x="954" y="954"/>
                      </a:lnTo>
                      <a:lnTo>
                        <a:pt x="936" y="1008"/>
                      </a:lnTo>
                      <a:lnTo>
                        <a:pt x="936" y="1008"/>
                      </a:lnTo>
                      <a:lnTo>
                        <a:pt x="858" y="1014"/>
                      </a:lnTo>
                      <a:lnTo>
                        <a:pt x="672" y="1026"/>
                      </a:lnTo>
                      <a:lnTo>
                        <a:pt x="636" y="1002"/>
                      </a:lnTo>
                      <a:lnTo>
                        <a:pt x="330" y="756"/>
                      </a:lnTo>
                      <a:lnTo>
                        <a:pt x="240" y="714"/>
                      </a:lnTo>
                      <a:lnTo>
                        <a:pt x="138" y="720"/>
                      </a:lnTo>
                      <a:lnTo>
                        <a:pt x="54" y="708"/>
                      </a:lnTo>
                      <a:lnTo>
                        <a:pt x="54" y="660"/>
                      </a:lnTo>
                      <a:lnTo>
                        <a:pt x="24" y="600"/>
                      </a:lnTo>
                      <a:lnTo>
                        <a:pt x="0" y="576"/>
                      </a:lnTo>
                      <a:lnTo>
                        <a:pt x="0" y="576"/>
                      </a:lnTo>
                      <a:lnTo>
                        <a:pt x="54" y="522"/>
                      </a:lnTo>
                      <a:lnTo>
                        <a:pt x="108" y="486"/>
                      </a:lnTo>
                      <a:lnTo>
                        <a:pt x="168" y="456"/>
                      </a:lnTo>
                      <a:lnTo>
                        <a:pt x="228" y="420"/>
                      </a:lnTo>
                      <a:lnTo>
                        <a:pt x="246" y="372"/>
                      </a:lnTo>
                      <a:lnTo>
                        <a:pt x="258" y="288"/>
                      </a:lnTo>
                      <a:lnTo>
                        <a:pt x="240" y="192"/>
                      </a:lnTo>
                      <a:lnTo>
                        <a:pt x="258" y="138"/>
                      </a:lnTo>
                      <a:lnTo>
                        <a:pt x="318" y="90"/>
                      </a:lnTo>
                      <a:lnTo>
                        <a:pt x="348" y="12"/>
                      </a:lnTo>
                      <a:lnTo>
                        <a:pt x="43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6" name="Freeform 97">
                  <a:extLst>
                    <a:ext uri="{FF2B5EF4-FFF2-40B4-BE49-F238E27FC236}">
                      <a16:creationId xmlns:a16="http://schemas.microsoft.com/office/drawing/2014/main" id="{82E4F4FA-80F8-4599-A63E-89ECC9E247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1" y="360"/>
                  <a:ext cx="120" cy="228"/>
                </a:xfrm>
                <a:custGeom>
                  <a:avLst/>
                  <a:gdLst>
                    <a:gd name="T0" fmla="*/ 54 w 120"/>
                    <a:gd name="T1" fmla="*/ 0 h 228"/>
                    <a:gd name="T2" fmla="*/ 66 w 120"/>
                    <a:gd name="T3" fmla="*/ 6 h 228"/>
                    <a:gd name="T4" fmla="*/ 78 w 120"/>
                    <a:gd name="T5" fmla="*/ 6 h 228"/>
                    <a:gd name="T6" fmla="*/ 84 w 120"/>
                    <a:gd name="T7" fmla="*/ 18 h 228"/>
                    <a:gd name="T8" fmla="*/ 96 w 120"/>
                    <a:gd name="T9" fmla="*/ 30 h 228"/>
                    <a:gd name="T10" fmla="*/ 102 w 120"/>
                    <a:gd name="T11" fmla="*/ 42 h 228"/>
                    <a:gd name="T12" fmla="*/ 114 w 120"/>
                    <a:gd name="T13" fmla="*/ 72 h 228"/>
                    <a:gd name="T14" fmla="*/ 120 w 120"/>
                    <a:gd name="T15" fmla="*/ 114 h 228"/>
                    <a:gd name="T16" fmla="*/ 114 w 120"/>
                    <a:gd name="T17" fmla="*/ 156 h 228"/>
                    <a:gd name="T18" fmla="*/ 96 w 120"/>
                    <a:gd name="T19" fmla="*/ 192 h 228"/>
                    <a:gd name="T20" fmla="*/ 78 w 120"/>
                    <a:gd name="T21" fmla="*/ 210 h 228"/>
                    <a:gd name="T22" fmla="*/ 72 w 120"/>
                    <a:gd name="T23" fmla="*/ 228 h 228"/>
                    <a:gd name="T24" fmla="*/ 18 w 120"/>
                    <a:gd name="T25" fmla="*/ 228 h 228"/>
                    <a:gd name="T26" fmla="*/ 0 w 120"/>
                    <a:gd name="T27" fmla="*/ 180 h 228"/>
                    <a:gd name="T28" fmla="*/ 0 w 120"/>
                    <a:gd name="T29" fmla="*/ 174 h 228"/>
                    <a:gd name="T30" fmla="*/ 6 w 120"/>
                    <a:gd name="T31" fmla="*/ 174 h 228"/>
                    <a:gd name="T32" fmla="*/ 18 w 120"/>
                    <a:gd name="T33" fmla="*/ 168 h 228"/>
                    <a:gd name="T34" fmla="*/ 24 w 120"/>
                    <a:gd name="T35" fmla="*/ 156 h 228"/>
                    <a:gd name="T36" fmla="*/ 24 w 120"/>
                    <a:gd name="T37" fmla="*/ 150 h 228"/>
                    <a:gd name="T38" fmla="*/ 24 w 120"/>
                    <a:gd name="T39" fmla="*/ 138 h 228"/>
                    <a:gd name="T40" fmla="*/ 18 w 120"/>
                    <a:gd name="T41" fmla="*/ 126 h 228"/>
                    <a:gd name="T42" fmla="*/ 12 w 120"/>
                    <a:gd name="T43" fmla="*/ 108 h 228"/>
                    <a:gd name="T44" fmla="*/ 18 w 120"/>
                    <a:gd name="T45" fmla="*/ 78 h 228"/>
                    <a:gd name="T46" fmla="*/ 24 w 120"/>
                    <a:gd name="T47" fmla="*/ 36 h 228"/>
                    <a:gd name="T48" fmla="*/ 36 w 120"/>
                    <a:gd name="T49" fmla="*/ 18 h 228"/>
                    <a:gd name="T50" fmla="*/ 42 w 120"/>
                    <a:gd name="T51" fmla="*/ 6 h 228"/>
                    <a:gd name="T52" fmla="*/ 54 w 120"/>
                    <a:gd name="T53" fmla="*/ 0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20" h="228">
                      <a:moveTo>
                        <a:pt x="54" y="0"/>
                      </a:moveTo>
                      <a:lnTo>
                        <a:pt x="66" y="6"/>
                      </a:lnTo>
                      <a:lnTo>
                        <a:pt x="78" y="6"/>
                      </a:lnTo>
                      <a:lnTo>
                        <a:pt x="84" y="18"/>
                      </a:lnTo>
                      <a:lnTo>
                        <a:pt x="96" y="30"/>
                      </a:lnTo>
                      <a:lnTo>
                        <a:pt x="102" y="42"/>
                      </a:lnTo>
                      <a:lnTo>
                        <a:pt x="114" y="72"/>
                      </a:lnTo>
                      <a:lnTo>
                        <a:pt x="120" y="114"/>
                      </a:lnTo>
                      <a:lnTo>
                        <a:pt x="114" y="156"/>
                      </a:lnTo>
                      <a:lnTo>
                        <a:pt x="96" y="192"/>
                      </a:lnTo>
                      <a:lnTo>
                        <a:pt x="78" y="210"/>
                      </a:lnTo>
                      <a:lnTo>
                        <a:pt x="72" y="228"/>
                      </a:lnTo>
                      <a:lnTo>
                        <a:pt x="18" y="228"/>
                      </a:lnTo>
                      <a:lnTo>
                        <a:pt x="0" y="180"/>
                      </a:lnTo>
                      <a:lnTo>
                        <a:pt x="0" y="174"/>
                      </a:lnTo>
                      <a:lnTo>
                        <a:pt x="6" y="174"/>
                      </a:lnTo>
                      <a:lnTo>
                        <a:pt x="18" y="168"/>
                      </a:lnTo>
                      <a:lnTo>
                        <a:pt x="24" y="156"/>
                      </a:lnTo>
                      <a:lnTo>
                        <a:pt x="24" y="150"/>
                      </a:lnTo>
                      <a:lnTo>
                        <a:pt x="24" y="138"/>
                      </a:lnTo>
                      <a:lnTo>
                        <a:pt x="18" y="126"/>
                      </a:lnTo>
                      <a:lnTo>
                        <a:pt x="12" y="108"/>
                      </a:lnTo>
                      <a:lnTo>
                        <a:pt x="18" y="78"/>
                      </a:lnTo>
                      <a:lnTo>
                        <a:pt x="24" y="36"/>
                      </a:lnTo>
                      <a:lnTo>
                        <a:pt x="36" y="18"/>
                      </a:lnTo>
                      <a:lnTo>
                        <a:pt x="42" y="6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7" name="Freeform 98">
                  <a:extLst>
                    <a:ext uri="{FF2B5EF4-FFF2-40B4-BE49-F238E27FC236}">
                      <a16:creationId xmlns:a16="http://schemas.microsoft.com/office/drawing/2014/main" id="{60C836CC-0662-4149-BF9C-821CDA8DB3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87" y="312"/>
                  <a:ext cx="78" cy="90"/>
                </a:xfrm>
                <a:custGeom>
                  <a:avLst/>
                  <a:gdLst>
                    <a:gd name="T0" fmla="*/ 48 w 78"/>
                    <a:gd name="T1" fmla="*/ 0 h 90"/>
                    <a:gd name="T2" fmla="*/ 54 w 78"/>
                    <a:gd name="T3" fmla="*/ 0 h 90"/>
                    <a:gd name="T4" fmla="*/ 60 w 78"/>
                    <a:gd name="T5" fmla="*/ 6 h 90"/>
                    <a:gd name="T6" fmla="*/ 66 w 78"/>
                    <a:gd name="T7" fmla="*/ 18 h 90"/>
                    <a:gd name="T8" fmla="*/ 72 w 78"/>
                    <a:gd name="T9" fmla="*/ 30 h 90"/>
                    <a:gd name="T10" fmla="*/ 78 w 78"/>
                    <a:gd name="T11" fmla="*/ 42 h 90"/>
                    <a:gd name="T12" fmla="*/ 78 w 78"/>
                    <a:gd name="T13" fmla="*/ 66 h 90"/>
                    <a:gd name="T14" fmla="*/ 78 w 78"/>
                    <a:gd name="T15" fmla="*/ 90 h 90"/>
                    <a:gd name="T16" fmla="*/ 0 w 78"/>
                    <a:gd name="T17" fmla="*/ 78 h 90"/>
                    <a:gd name="T18" fmla="*/ 0 w 78"/>
                    <a:gd name="T19" fmla="*/ 78 h 90"/>
                    <a:gd name="T20" fmla="*/ 12 w 78"/>
                    <a:gd name="T21" fmla="*/ 60 h 90"/>
                    <a:gd name="T22" fmla="*/ 18 w 78"/>
                    <a:gd name="T23" fmla="*/ 36 h 90"/>
                    <a:gd name="T24" fmla="*/ 24 w 78"/>
                    <a:gd name="T25" fmla="*/ 18 h 90"/>
                    <a:gd name="T26" fmla="*/ 36 w 78"/>
                    <a:gd name="T27" fmla="*/ 6 h 90"/>
                    <a:gd name="T28" fmla="*/ 48 w 78"/>
                    <a:gd name="T29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8" h="90">
                      <a:moveTo>
                        <a:pt x="48" y="0"/>
                      </a:moveTo>
                      <a:lnTo>
                        <a:pt x="54" y="0"/>
                      </a:lnTo>
                      <a:lnTo>
                        <a:pt x="60" y="6"/>
                      </a:lnTo>
                      <a:lnTo>
                        <a:pt x="66" y="18"/>
                      </a:lnTo>
                      <a:lnTo>
                        <a:pt x="72" y="30"/>
                      </a:lnTo>
                      <a:lnTo>
                        <a:pt x="78" y="42"/>
                      </a:lnTo>
                      <a:lnTo>
                        <a:pt x="78" y="66"/>
                      </a:lnTo>
                      <a:lnTo>
                        <a:pt x="78" y="90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12" y="60"/>
                      </a:lnTo>
                      <a:lnTo>
                        <a:pt x="18" y="36"/>
                      </a:lnTo>
                      <a:lnTo>
                        <a:pt x="24" y="18"/>
                      </a:lnTo>
                      <a:lnTo>
                        <a:pt x="36" y="6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BFEAF9"/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8" name="Freeform 99">
                  <a:extLst>
                    <a:ext uri="{FF2B5EF4-FFF2-40B4-BE49-F238E27FC236}">
                      <a16:creationId xmlns:a16="http://schemas.microsoft.com/office/drawing/2014/main" id="{518E150B-87DF-4663-9616-E926ED72ED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9" y="-132"/>
                  <a:ext cx="240" cy="258"/>
                </a:xfrm>
                <a:custGeom>
                  <a:avLst/>
                  <a:gdLst>
                    <a:gd name="T0" fmla="*/ 168 w 240"/>
                    <a:gd name="T1" fmla="*/ 0 h 258"/>
                    <a:gd name="T2" fmla="*/ 234 w 240"/>
                    <a:gd name="T3" fmla="*/ 42 h 258"/>
                    <a:gd name="T4" fmla="*/ 240 w 240"/>
                    <a:gd name="T5" fmla="*/ 48 h 258"/>
                    <a:gd name="T6" fmla="*/ 240 w 240"/>
                    <a:gd name="T7" fmla="*/ 60 h 258"/>
                    <a:gd name="T8" fmla="*/ 234 w 240"/>
                    <a:gd name="T9" fmla="*/ 66 h 258"/>
                    <a:gd name="T10" fmla="*/ 228 w 240"/>
                    <a:gd name="T11" fmla="*/ 72 h 258"/>
                    <a:gd name="T12" fmla="*/ 222 w 240"/>
                    <a:gd name="T13" fmla="*/ 72 h 258"/>
                    <a:gd name="T14" fmla="*/ 210 w 240"/>
                    <a:gd name="T15" fmla="*/ 72 h 258"/>
                    <a:gd name="T16" fmla="*/ 192 w 240"/>
                    <a:gd name="T17" fmla="*/ 72 h 258"/>
                    <a:gd name="T18" fmla="*/ 180 w 240"/>
                    <a:gd name="T19" fmla="*/ 72 h 258"/>
                    <a:gd name="T20" fmla="*/ 174 w 240"/>
                    <a:gd name="T21" fmla="*/ 72 h 258"/>
                    <a:gd name="T22" fmla="*/ 168 w 240"/>
                    <a:gd name="T23" fmla="*/ 78 h 258"/>
                    <a:gd name="T24" fmla="*/ 168 w 240"/>
                    <a:gd name="T25" fmla="*/ 84 h 258"/>
                    <a:gd name="T26" fmla="*/ 168 w 240"/>
                    <a:gd name="T27" fmla="*/ 90 h 258"/>
                    <a:gd name="T28" fmla="*/ 168 w 240"/>
                    <a:gd name="T29" fmla="*/ 102 h 258"/>
                    <a:gd name="T30" fmla="*/ 168 w 240"/>
                    <a:gd name="T31" fmla="*/ 108 h 258"/>
                    <a:gd name="T32" fmla="*/ 162 w 240"/>
                    <a:gd name="T33" fmla="*/ 114 h 258"/>
                    <a:gd name="T34" fmla="*/ 156 w 240"/>
                    <a:gd name="T35" fmla="*/ 114 h 258"/>
                    <a:gd name="T36" fmla="*/ 150 w 240"/>
                    <a:gd name="T37" fmla="*/ 108 h 258"/>
                    <a:gd name="T38" fmla="*/ 138 w 240"/>
                    <a:gd name="T39" fmla="*/ 108 h 258"/>
                    <a:gd name="T40" fmla="*/ 132 w 240"/>
                    <a:gd name="T41" fmla="*/ 114 h 258"/>
                    <a:gd name="T42" fmla="*/ 126 w 240"/>
                    <a:gd name="T43" fmla="*/ 120 h 258"/>
                    <a:gd name="T44" fmla="*/ 126 w 240"/>
                    <a:gd name="T45" fmla="*/ 132 h 258"/>
                    <a:gd name="T46" fmla="*/ 126 w 240"/>
                    <a:gd name="T47" fmla="*/ 144 h 258"/>
                    <a:gd name="T48" fmla="*/ 138 w 240"/>
                    <a:gd name="T49" fmla="*/ 162 h 258"/>
                    <a:gd name="T50" fmla="*/ 156 w 240"/>
                    <a:gd name="T51" fmla="*/ 174 h 258"/>
                    <a:gd name="T52" fmla="*/ 174 w 240"/>
                    <a:gd name="T53" fmla="*/ 192 h 258"/>
                    <a:gd name="T54" fmla="*/ 192 w 240"/>
                    <a:gd name="T55" fmla="*/ 204 h 258"/>
                    <a:gd name="T56" fmla="*/ 198 w 240"/>
                    <a:gd name="T57" fmla="*/ 216 h 258"/>
                    <a:gd name="T58" fmla="*/ 198 w 240"/>
                    <a:gd name="T59" fmla="*/ 228 h 258"/>
                    <a:gd name="T60" fmla="*/ 204 w 240"/>
                    <a:gd name="T61" fmla="*/ 240 h 258"/>
                    <a:gd name="T62" fmla="*/ 210 w 240"/>
                    <a:gd name="T63" fmla="*/ 258 h 258"/>
                    <a:gd name="T64" fmla="*/ 96 w 240"/>
                    <a:gd name="T65" fmla="*/ 228 h 258"/>
                    <a:gd name="T66" fmla="*/ 48 w 240"/>
                    <a:gd name="T67" fmla="*/ 186 h 258"/>
                    <a:gd name="T68" fmla="*/ 0 w 240"/>
                    <a:gd name="T69" fmla="*/ 132 h 258"/>
                    <a:gd name="T70" fmla="*/ 0 w 240"/>
                    <a:gd name="T71" fmla="*/ 132 h 258"/>
                    <a:gd name="T72" fmla="*/ 18 w 240"/>
                    <a:gd name="T73" fmla="*/ 78 h 258"/>
                    <a:gd name="T74" fmla="*/ 48 w 240"/>
                    <a:gd name="T75" fmla="*/ 42 h 258"/>
                    <a:gd name="T76" fmla="*/ 96 w 240"/>
                    <a:gd name="T77" fmla="*/ 24 h 258"/>
                    <a:gd name="T78" fmla="*/ 138 w 240"/>
                    <a:gd name="T79" fmla="*/ 24 h 258"/>
                    <a:gd name="T80" fmla="*/ 168 w 240"/>
                    <a:gd name="T81" fmla="*/ 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40" h="258">
                      <a:moveTo>
                        <a:pt x="168" y="0"/>
                      </a:moveTo>
                      <a:lnTo>
                        <a:pt x="234" y="42"/>
                      </a:lnTo>
                      <a:lnTo>
                        <a:pt x="240" y="48"/>
                      </a:lnTo>
                      <a:lnTo>
                        <a:pt x="240" y="60"/>
                      </a:lnTo>
                      <a:lnTo>
                        <a:pt x="234" y="66"/>
                      </a:lnTo>
                      <a:lnTo>
                        <a:pt x="228" y="72"/>
                      </a:lnTo>
                      <a:lnTo>
                        <a:pt x="222" y="72"/>
                      </a:lnTo>
                      <a:lnTo>
                        <a:pt x="210" y="72"/>
                      </a:lnTo>
                      <a:lnTo>
                        <a:pt x="192" y="72"/>
                      </a:lnTo>
                      <a:lnTo>
                        <a:pt x="180" y="72"/>
                      </a:lnTo>
                      <a:lnTo>
                        <a:pt x="174" y="72"/>
                      </a:lnTo>
                      <a:lnTo>
                        <a:pt x="168" y="78"/>
                      </a:lnTo>
                      <a:lnTo>
                        <a:pt x="168" y="84"/>
                      </a:lnTo>
                      <a:lnTo>
                        <a:pt x="168" y="90"/>
                      </a:lnTo>
                      <a:lnTo>
                        <a:pt x="168" y="102"/>
                      </a:lnTo>
                      <a:lnTo>
                        <a:pt x="168" y="108"/>
                      </a:lnTo>
                      <a:lnTo>
                        <a:pt x="162" y="114"/>
                      </a:lnTo>
                      <a:lnTo>
                        <a:pt x="156" y="114"/>
                      </a:lnTo>
                      <a:lnTo>
                        <a:pt x="150" y="108"/>
                      </a:lnTo>
                      <a:lnTo>
                        <a:pt x="138" y="108"/>
                      </a:lnTo>
                      <a:lnTo>
                        <a:pt x="132" y="114"/>
                      </a:lnTo>
                      <a:lnTo>
                        <a:pt x="126" y="120"/>
                      </a:lnTo>
                      <a:lnTo>
                        <a:pt x="126" y="132"/>
                      </a:lnTo>
                      <a:lnTo>
                        <a:pt x="126" y="144"/>
                      </a:lnTo>
                      <a:lnTo>
                        <a:pt x="138" y="162"/>
                      </a:lnTo>
                      <a:lnTo>
                        <a:pt x="156" y="174"/>
                      </a:lnTo>
                      <a:lnTo>
                        <a:pt x="174" y="192"/>
                      </a:lnTo>
                      <a:lnTo>
                        <a:pt x="192" y="204"/>
                      </a:lnTo>
                      <a:lnTo>
                        <a:pt x="198" y="216"/>
                      </a:lnTo>
                      <a:lnTo>
                        <a:pt x="198" y="228"/>
                      </a:lnTo>
                      <a:lnTo>
                        <a:pt x="204" y="240"/>
                      </a:lnTo>
                      <a:lnTo>
                        <a:pt x="210" y="258"/>
                      </a:lnTo>
                      <a:lnTo>
                        <a:pt x="96" y="228"/>
                      </a:lnTo>
                      <a:lnTo>
                        <a:pt x="48" y="186"/>
                      </a:lnTo>
                      <a:lnTo>
                        <a:pt x="0" y="132"/>
                      </a:lnTo>
                      <a:lnTo>
                        <a:pt x="0" y="132"/>
                      </a:lnTo>
                      <a:lnTo>
                        <a:pt x="18" y="78"/>
                      </a:lnTo>
                      <a:lnTo>
                        <a:pt x="48" y="42"/>
                      </a:lnTo>
                      <a:lnTo>
                        <a:pt x="96" y="24"/>
                      </a:lnTo>
                      <a:lnTo>
                        <a:pt x="138" y="24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39" name="Freeform 100">
                  <a:extLst>
                    <a:ext uri="{FF2B5EF4-FFF2-40B4-BE49-F238E27FC236}">
                      <a16:creationId xmlns:a16="http://schemas.microsoft.com/office/drawing/2014/main" id="{80576268-6327-49B7-B0BD-501CDA1BD4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77" y="-300"/>
                  <a:ext cx="2376" cy="1896"/>
                </a:xfrm>
                <a:custGeom>
                  <a:avLst/>
                  <a:gdLst>
                    <a:gd name="T0" fmla="*/ 0 w 2376"/>
                    <a:gd name="T1" fmla="*/ 342 h 1896"/>
                    <a:gd name="T2" fmla="*/ 12 w 2376"/>
                    <a:gd name="T3" fmla="*/ 336 h 1896"/>
                    <a:gd name="T4" fmla="*/ 0 w 2376"/>
                    <a:gd name="T5" fmla="*/ 342 h 1896"/>
                    <a:gd name="T6" fmla="*/ 504 w 2376"/>
                    <a:gd name="T7" fmla="*/ 12 h 1896"/>
                    <a:gd name="T8" fmla="*/ 1002 w 2376"/>
                    <a:gd name="T9" fmla="*/ 294 h 1896"/>
                    <a:gd name="T10" fmla="*/ 1302 w 2376"/>
                    <a:gd name="T11" fmla="*/ 300 h 1896"/>
                    <a:gd name="T12" fmla="*/ 1512 w 2376"/>
                    <a:gd name="T13" fmla="*/ 426 h 1896"/>
                    <a:gd name="T14" fmla="*/ 1524 w 2376"/>
                    <a:gd name="T15" fmla="*/ 438 h 1896"/>
                    <a:gd name="T16" fmla="*/ 1542 w 2376"/>
                    <a:gd name="T17" fmla="*/ 522 h 1896"/>
                    <a:gd name="T18" fmla="*/ 1680 w 2376"/>
                    <a:gd name="T19" fmla="*/ 618 h 1896"/>
                    <a:gd name="T20" fmla="*/ 1686 w 2376"/>
                    <a:gd name="T21" fmla="*/ 654 h 1896"/>
                    <a:gd name="T22" fmla="*/ 1674 w 2376"/>
                    <a:gd name="T23" fmla="*/ 672 h 1896"/>
                    <a:gd name="T24" fmla="*/ 1698 w 2376"/>
                    <a:gd name="T25" fmla="*/ 702 h 1896"/>
                    <a:gd name="T26" fmla="*/ 1740 w 2376"/>
                    <a:gd name="T27" fmla="*/ 756 h 1896"/>
                    <a:gd name="T28" fmla="*/ 1770 w 2376"/>
                    <a:gd name="T29" fmla="*/ 810 h 1896"/>
                    <a:gd name="T30" fmla="*/ 1794 w 2376"/>
                    <a:gd name="T31" fmla="*/ 834 h 1896"/>
                    <a:gd name="T32" fmla="*/ 1866 w 2376"/>
                    <a:gd name="T33" fmla="*/ 888 h 1896"/>
                    <a:gd name="T34" fmla="*/ 1884 w 2376"/>
                    <a:gd name="T35" fmla="*/ 924 h 1896"/>
                    <a:gd name="T36" fmla="*/ 1938 w 2376"/>
                    <a:gd name="T37" fmla="*/ 1056 h 1896"/>
                    <a:gd name="T38" fmla="*/ 2178 w 2376"/>
                    <a:gd name="T39" fmla="*/ 1104 h 1896"/>
                    <a:gd name="T40" fmla="*/ 2364 w 2376"/>
                    <a:gd name="T41" fmla="*/ 1194 h 1896"/>
                    <a:gd name="T42" fmla="*/ 2238 w 2376"/>
                    <a:gd name="T43" fmla="*/ 1452 h 1896"/>
                    <a:gd name="T44" fmla="*/ 1914 w 2376"/>
                    <a:gd name="T45" fmla="*/ 1584 h 1896"/>
                    <a:gd name="T46" fmla="*/ 1536 w 2376"/>
                    <a:gd name="T47" fmla="*/ 1806 h 1896"/>
                    <a:gd name="T48" fmla="*/ 1398 w 2376"/>
                    <a:gd name="T49" fmla="*/ 1854 h 1896"/>
                    <a:gd name="T50" fmla="*/ 1194 w 2376"/>
                    <a:gd name="T51" fmla="*/ 1752 h 1896"/>
                    <a:gd name="T52" fmla="*/ 1038 w 2376"/>
                    <a:gd name="T53" fmla="*/ 1854 h 1896"/>
                    <a:gd name="T54" fmla="*/ 990 w 2376"/>
                    <a:gd name="T55" fmla="*/ 1860 h 1896"/>
                    <a:gd name="T56" fmla="*/ 906 w 2376"/>
                    <a:gd name="T57" fmla="*/ 1728 h 1896"/>
                    <a:gd name="T58" fmla="*/ 798 w 2376"/>
                    <a:gd name="T59" fmla="*/ 1548 h 1896"/>
                    <a:gd name="T60" fmla="*/ 708 w 2376"/>
                    <a:gd name="T61" fmla="*/ 1458 h 1896"/>
                    <a:gd name="T62" fmla="*/ 618 w 2376"/>
                    <a:gd name="T63" fmla="*/ 1416 h 1896"/>
                    <a:gd name="T64" fmla="*/ 564 w 2376"/>
                    <a:gd name="T65" fmla="*/ 1290 h 1896"/>
                    <a:gd name="T66" fmla="*/ 480 w 2376"/>
                    <a:gd name="T67" fmla="*/ 1050 h 1896"/>
                    <a:gd name="T68" fmla="*/ 390 w 2376"/>
                    <a:gd name="T69" fmla="*/ 1008 h 1896"/>
                    <a:gd name="T70" fmla="*/ 312 w 2376"/>
                    <a:gd name="T71" fmla="*/ 912 h 1896"/>
                    <a:gd name="T72" fmla="*/ 174 w 2376"/>
                    <a:gd name="T73" fmla="*/ 744 h 1896"/>
                    <a:gd name="T74" fmla="*/ 108 w 2376"/>
                    <a:gd name="T75" fmla="*/ 612 h 1896"/>
                    <a:gd name="T76" fmla="*/ 24 w 2376"/>
                    <a:gd name="T77" fmla="*/ 558 h 1896"/>
                    <a:gd name="T78" fmla="*/ 18 w 2376"/>
                    <a:gd name="T79" fmla="*/ 372 h 1896"/>
                    <a:gd name="T80" fmla="*/ 54 w 2376"/>
                    <a:gd name="T81" fmla="*/ 360 h 1896"/>
                    <a:gd name="T82" fmla="*/ 216 w 2376"/>
                    <a:gd name="T83" fmla="*/ 270 h 1896"/>
                    <a:gd name="T84" fmla="*/ 318 w 2376"/>
                    <a:gd name="T85" fmla="*/ 132 h 1896"/>
                    <a:gd name="T86" fmla="*/ 360 w 2376"/>
                    <a:gd name="T87" fmla="*/ 18 h 18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376" h="1896">
                      <a:moveTo>
                        <a:pt x="0" y="336"/>
                      </a:moveTo>
                      <a:lnTo>
                        <a:pt x="0" y="342"/>
                      </a:lnTo>
                      <a:lnTo>
                        <a:pt x="0" y="342"/>
                      </a:lnTo>
                      <a:lnTo>
                        <a:pt x="0" y="336"/>
                      </a:lnTo>
                      <a:close/>
                      <a:moveTo>
                        <a:pt x="6" y="336"/>
                      </a:moveTo>
                      <a:lnTo>
                        <a:pt x="12" y="336"/>
                      </a:lnTo>
                      <a:lnTo>
                        <a:pt x="18" y="342"/>
                      </a:lnTo>
                      <a:lnTo>
                        <a:pt x="18" y="342"/>
                      </a:lnTo>
                      <a:lnTo>
                        <a:pt x="0" y="342"/>
                      </a:lnTo>
                      <a:lnTo>
                        <a:pt x="6" y="336"/>
                      </a:lnTo>
                      <a:close/>
                      <a:moveTo>
                        <a:pt x="420" y="0"/>
                      </a:moveTo>
                      <a:lnTo>
                        <a:pt x="504" y="12"/>
                      </a:lnTo>
                      <a:lnTo>
                        <a:pt x="606" y="6"/>
                      </a:lnTo>
                      <a:lnTo>
                        <a:pt x="696" y="48"/>
                      </a:lnTo>
                      <a:lnTo>
                        <a:pt x="1002" y="294"/>
                      </a:lnTo>
                      <a:lnTo>
                        <a:pt x="1038" y="318"/>
                      </a:lnTo>
                      <a:lnTo>
                        <a:pt x="1224" y="306"/>
                      </a:lnTo>
                      <a:lnTo>
                        <a:pt x="1302" y="300"/>
                      </a:lnTo>
                      <a:lnTo>
                        <a:pt x="1350" y="354"/>
                      </a:lnTo>
                      <a:lnTo>
                        <a:pt x="1398" y="396"/>
                      </a:lnTo>
                      <a:lnTo>
                        <a:pt x="1512" y="426"/>
                      </a:lnTo>
                      <a:lnTo>
                        <a:pt x="1512" y="426"/>
                      </a:lnTo>
                      <a:lnTo>
                        <a:pt x="1518" y="432"/>
                      </a:lnTo>
                      <a:lnTo>
                        <a:pt x="1524" y="438"/>
                      </a:lnTo>
                      <a:lnTo>
                        <a:pt x="1536" y="468"/>
                      </a:lnTo>
                      <a:lnTo>
                        <a:pt x="1542" y="498"/>
                      </a:lnTo>
                      <a:lnTo>
                        <a:pt x="1542" y="522"/>
                      </a:lnTo>
                      <a:lnTo>
                        <a:pt x="1566" y="540"/>
                      </a:lnTo>
                      <a:lnTo>
                        <a:pt x="1626" y="576"/>
                      </a:lnTo>
                      <a:lnTo>
                        <a:pt x="1680" y="618"/>
                      </a:lnTo>
                      <a:lnTo>
                        <a:pt x="1692" y="630"/>
                      </a:lnTo>
                      <a:lnTo>
                        <a:pt x="1692" y="642"/>
                      </a:lnTo>
                      <a:lnTo>
                        <a:pt x="1686" y="654"/>
                      </a:lnTo>
                      <a:lnTo>
                        <a:pt x="1680" y="660"/>
                      </a:lnTo>
                      <a:lnTo>
                        <a:pt x="1674" y="666"/>
                      </a:lnTo>
                      <a:lnTo>
                        <a:pt x="1674" y="672"/>
                      </a:lnTo>
                      <a:lnTo>
                        <a:pt x="1674" y="678"/>
                      </a:lnTo>
                      <a:lnTo>
                        <a:pt x="1686" y="690"/>
                      </a:lnTo>
                      <a:lnTo>
                        <a:pt x="1698" y="702"/>
                      </a:lnTo>
                      <a:lnTo>
                        <a:pt x="1710" y="720"/>
                      </a:lnTo>
                      <a:lnTo>
                        <a:pt x="1728" y="738"/>
                      </a:lnTo>
                      <a:lnTo>
                        <a:pt x="1740" y="756"/>
                      </a:lnTo>
                      <a:lnTo>
                        <a:pt x="1752" y="774"/>
                      </a:lnTo>
                      <a:lnTo>
                        <a:pt x="1764" y="792"/>
                      </a:lnTo>
                      <a:lnTo>
                        <a:pt x="1770" y="810"/>
                      </a:lnTo>
                      <a:lnTo>
                        <a:pt x="1782" y="828"/>
                      </a:lnTo>
                      <a:lnTo>
                        <a:pt x="1782" y="834"/>
                      </a:lnTo>
                      <a:lnTo>
                        <a:pt x="1794" y="834"/>
                      </a:lnTo>
                      <a:lnTo>
                        <a:pt x="1794" y="840"/>
                      </a:lnTo>
                      <a:lnTo>
                        <a:pt x="1812" y="888"/>
                      </a:lnTo>
                      <a:lnTo>
                        <a:pt x="1866" y="888"/>
                      </a:lnTo>
                      <a:lnTo>
                        <a:pt x="1866" y="900"/>
                      </a:lnTo>
                      <a:lnTo>
                        <a:pt x="1872" y="912"/>
                      </a:lnTo>
                      <a:lnTo>
                        <a:pt x="1884" y="924"/>
                      </a:lnTo>
                      <a:lnTo>
                        <a:pt x="1884" y="924"/>
                      </a:lnTo>
                      <a:lnTo>
                        <a:pt x="1890" y="996"/>
                      </a:lnTo>
                      <a:lnTo>
                        <a:pt x="1938" y="1056"/>
                      </a:lnTo>
                      <a:lnTo>
                        <a:pt x="2010" y="1080"/>
                      </a:lnTo>
                      <a:lnTo>
                        <a:pt x="2100" y="1086"/>
                      </a:lnTo>
                      <a:lnTo>
                        <a:pt x="2178" y="1104"/>
                      </a:lnTo>
                      <a:lnTo>
                        <a:pt x="2262" y="1104"/>
                      </a:lnTo>
                      <a:lnTo>
                        <a:pt x="2310" y="1110"/>
                      </a:lnTo>
                      <a:lnTo>
                        <a:pt x="2364" y="1194"/>
                      </a:lnTo>
                      <a:lnTo>
                        <a:pt x="2376" y="1296"/>
                      </a:lnTo>
                      <a:lnTo>
                        <a:pt x="2364" y="1374"/>
                      </a:lnTo>
                      <a:lnTo>
                        <a:pt x="2238" y="1452"/>
                      </a:lnTo>
                      <a:lnTo>
                        <a:pt x="2118" y="1506"/>
                      </a:lnTo>
                      <a:lnTo>
                        <a:pt x="2034" y="1554"/>
                      </a:lnTo>
                      <a:lnTo>
                        <a:pt x="1914" y="1584"/>
                      </a:lnTo>
                      <a:lnTo>
                        <a:pt x="1758" y="1626"/>
                      </a:lnTo>
                      <a:lnTo>
                        <a:pt x="1626" y="1686"/>
                      </a:lnTo>
                      <a:lnTo>
                        <a:pt x="1536" y="1806"/>
                      </a:lnTo>
                      <a:lnTo>
                        <a:pt x="1476" y="1884"/>
                      </a:lnTo>
                      <a:lnTo>
                        <a:pt x="1422" y="1896"/>
                      </a:lnTo>
                      <a:lnTo>
                        <a:pt x="1398" y="1854"/>
                      </a:lnTo>
                      <a:lnTo>
                        <a:pt x="1344" y="1818"/>
                      </a:lnTo>
                      <a:lnTo>
                        <a:pt x="1278" y="1788"/>
                      </a:lnTo>
                      <a:lnTo>
                        <a:pt x="1194" y="1752"/>
                      </a:lnTo>
                      <a:lnTo>
                        <a:pt x="1110" y="1782"/>
                      </a:lnTo>
                      <a:lnTo>
                        <a:pt x="1056" y="1782"/>
                      </a:lnTo>
                      <a:lnTo>
                        <a:pt x="1038" y="1854"/>
                      </a:lnTo>
                      <a:lnTo>
                        <a:pt x="1014" y="1884"/>
                      </a:lnTo>
                      <a:lnTo>
                        <a:pt x="1014" y="1884"/>
                      </a:lnTo>
                      <a:lnTo>
                        <a:pt x="990" y="1860"/>
                      </a:lnTo>
                      <a:lnTo>
                        <a:pt x="972" y="1824"/>
                      </a:lnTo>
                      <a:lnTo>
                        <a:pt x="942" y="1788"/>
                      </a:lnTo>
                      <a:lnTo>
                        <a:pt x="906" y="1728"/>
                      </a:lnTo>
                      <a:lnTo>
                        <a:pt x="870" y="1668"/>
                      </a:lnTo>
                      <a:lnTo>
                        <a:pt x="828" y="1602"/>
                      </a:lnTo>
                      <a:lnTo>
                        <a:pt x="798" y="1548"/>
                      </a:lnTo>
                      <a:lnTo>
                        <a:pt x="768" y="1506"/>
                      </a:lnTo>
                      <a:lnTo>
                        <a:pt x="738" y="1470"/>
                      </a:lnTo>
                      <a:lnTo>
                        <a:pt x="708" y="1458"/>
                      </a:lnTo>
                      <a:lnTo>
                        <a:pt x="678" y="1452"/>
                      </a:lnTo>
                      <a:lnTo>
                        <a:pt x="648" y="1434"/>
                      </a:lnTo>
                      <a:lnTo>
                        <a:pt x="618" y="1416"/>
                      </a:lnTo>
                      <a:lnTo>
                        <a:pt x="594" y="1386"/>
                      </a:lnTo>
                      <a:lnTo>
                        <a:pt x="576" y="1350"/>
                      </a:lnTo>
                      <a:lnTo>
                        <a:pt x="564" y="1290"/>
                      </a:lnTo>
                      <a:lnTo>
                        <a:pt x="546" y="1200"/>
                      </a:lnTo>
                      <a:lnTo>
                        <a:pt x="516" y="1116"/>
                      </a:lnTo>
                      <a:lnTo>
                        <a:pt x="480" y="1050"/>
                      </a:lnTo>
                      <a:lnTo>
                        <a:pt x="450" y="1026"/>
                      </a:lnTo>
                      <a:lnTo>
                        <a:pt x="420" y="1014"/>
                      </a:lnTo>
                      <a:lnTo>
                        <a:pt x="390" y="1008"/>
                      </a:lnTo>
                      <a:lnTo>
                        <a:pt x="366" y="1002"/>
                      </a:lnTo>
                      <a:lnTo>
                        <a:pt x="342" y="966"/>
                      </a:lnTo>
                      <a:lnTo>
                        <a:pt x="312" y="912"/>
                      </a:lnTo>
                      <a:lnTo>
                        <a:pt x="276" y="852"/>
                      </a:lnTo>
                      <a:lnTo>
                        <a:pt x="228" y="798"/>
                      </a:lnTo>
                      <a:lnTo>
                        <a:pt x="174" y="744"/>
                      </a:lnTo>
                      <a:lnTo>
                        <a:pt x="144" y="690"/>
                      </a:lnTo>
                      <a:lnTo>
                        <a:pt x="132" y="642"/>
                      </a:lnTo>
                      <a:lnTo>
                        <a:pt x="108" y="612"/>
                      </a:lnTo>
                      <a:lnTo>
                        <a:pt x="78" y="594"/>
                      </a:lnTo>
                      <a:lnTo>
                        <a:pt x="48" y="576"/>
                      </a:lnTo>
                      <a:lnTo>
                        <a:pt x="24" y="558"/>
                      </a:lnTo>
                      <a:lnTo>
                        <a:pt x="12" y="510"/>
                      </a:lnTo>
                      <a:lnTo>
                        <a:pt x="12" y="450"/>
                      </a:lnTo>
                      <a:lnTo>
                        <a:pt x="18" y="372"/>
                      </a:lnTo>
                      <a:lnTo>
                        <a:pt x="18" y="354"/>
                      </a:lnTo>
                      <a:lnTo>
                        <a:pt x="18" y="342"/>
                      </a:lnTo>
                      <a:lnTo>
                        <a:pt x="54" y="360"/>
                      </a:lnTo>
                      <a:lnTo>
                        <a:pt x="132" y="360"/>
                      </a:lnTo>
                      <a:lnTo>
                        <a:pt x="174" y="330"/>
                      </a:lnTo>
                      <a:lnTo>
                        <a:pt x="216" y="270"/>
                      </a:lnTo>
                      <a:lnTo>
                        <a:pt x="300" y="270"/>
                      </a:lnTo>
                      <a:lnTo>
                        <a:pt x="330" y="210"/>
                      </a:lnTo>
                      <a:lnTo>
                        <a:pt x="318" y="132"/>
                      </a:lnTo>
                      <a:lnTo>
                        <a:pt x="282" y="72"/>
                      </a:lnTo>
                      <a:lnTo>
                        <a:pt x="288" y="36"/>
                      </a:lnTo>
                      <a:lnTo>
                        <a:pt x="360" y="18"/>
                      </a:lnTo>
                      <a:lnTo>
                        <a:pt x="42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0" name="Freeform 101">
                  <a:extLst>
                    <a:ext uri="{FF2B5EF4-FFF2-40B4-BE49-F238E27FC236}">
                      <a16:creationId xmlns:a16="http://schemas.microsoft.com/office/drawing/2014/main" id="{AA5D026B-7667-400D-9316-9F249691C7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85" y="1254"/>
                  <a:ext cx="1176" cy="780"/>
                </a:xfrm>
                <a:custGeom>
                  <a:avLst/>
                  <a:gdLst>
                    <a:gd name="T0" fmla="*/ 6 w 1176"/>
                    <a:gd name="T1" fmla="*/ 330 h 780"/>
                    <a:gd name="T2" fmla="*/ 6 w 1176"/>
                    <a:gd name="T3" fmla="*/ 330 h 780"/>
                    <a:gd name="T4" fmla="*/ 1176 w 1176"/>
                    <a:gd name="T5" fmla="*/ 300 h 780"/>
                    <a:gd name="T6" fmla="*/ 1176 w 1176"/>
                    <a:gd name="T7" fmla="*/ 300 h 780"/>
                    <a:gd name="T8" fmla="*/ 1056 w 1176"/>
                    <a:gd name="T9" fmla="*/ 96 h 780"/>
                    <a:gd name="T10" fmla="*/ 1092 w 1176"/>
                    <a:gd name="T11" fmla="*/ 222 h 780"/>
                    <a:gd name="T12" fmla="*/ 1176 w 1176"/>
                    <a:gd name="T13" fmla="*/ 300 h 780"/>
                    <a:gd name="T14" fmla="*/ 1104 w 1176"/>
                    <a:gd name="T15" fmla="*/ 360 h 780"/>
                    <a:gd name="T16" fmla="*/ 1092 w 1176"/>
                    <a:gd name="T17" fmla="*/ 420 h 780"/>
                    <a:gd name="T18" fmla="*/ 1056 w 1176"/>
                    <a:gd name="T19" fmla="*/ 456 h 780"/>
                    <a:gd name="T20" fmla="*/ 978 w 1176"/>
                    <a:gd name="T21" fmla="*/ 468 h 780"/>
                    <a:gd name="T22" fmla="*/ 834 w 1176"/>
                    <a:gd name="T23" fmla="*/ 510 h 780"/>
                    <a:gd name="T24" fmla="*/ 696 w 1176"/>
                    <a:gd name="T25" fmla="*/ 582 h 780"/>
                    <a:gd name="T26" fmla="*/ 564 w 1176"/>
                    <a:gd name="T27" fmla="*/ 636 h 780"/>
                    <a:gd name="T28" fmla="*/ 468 w 1176"/>
                    <a:gd name="T29" fmla="*/ 666 h 780"/>
                    <a:gd name="T30" fmla="*/ 396 w 1176"/>
                    <a:gd name="T31" fmla="*/ 696 h 780"/>
                    <a:gd name="T32" fmla="*/ 336 w 1176"/>
                    <a:gd name="T33" fmla="*/ 696 h 780"/>
                    <a:gd name="T34" fmla="*/ 300 w 1176"/>
                    <a:gd name="T35" fmla="*/ 744 h 780"/>
                    <a:gd name="T36" fmla="*/ 264 w 1176"/>
                    <a:gd name="T37" fmla="*/ 780 h 780"/>
                    <a:gd name="T38" fmla="*/ 204 w 1176"/>
                    <a:gd name="T39" fmla="*/ 780 h 780"/>
                    <a:gd name="T40" fmla="*/ 120 w 1176"/>
                    <a:gd name="T41" fmla="*/ 738 h 780"/>
                    <a:gd name="T42" fmla="*/ 54 w 1176"/>
                    <a:gd name="T43" fmla="*/ 666 h 780"/>
                    <a:gd name="T44" fmla="*/ 54 w 1176"/>
                    <a:gd name="T45" fmla="*/ 594 h 780"/>
                    <a:gd name="T46" fmla="*/ 36 w 1176"/>
                    <a:gd name="T47" fmla="*/ 540 h 780"/>
                    <a:gd name="T48" fmla="*/ 0 w 1176"/>
                    <a:gd name="T49" fmla="*/ 504 h 780"/>
                    <a:gd name="T50" fmla="*/ 18 w 1176"/>
                    <a:gd name="T51" fmla="*/ 432 h 780"/>
                    <a:gd name="T52" fmla="*/ 18 w 1176"/>
                    <a:gd name="T53" fmla="*/ 360 h 780"/>
                    <a:gd name="T54" fmla="*/ 30 w 1176"/>
                    <a:gd name="T55" fmla="*/ 300 h 780"/>
                    <a:gd name="T56" fmla="*/ 102 w 1176"/>
                    <a:gd name="T57" fmla="*/ 228 h 780"/>
                    <a:gd name="T58" fmla="*/ 270 w 1176"/>
                    <a:gd name="T59" fmla="*/ 234 h 780"/>
                    <a:gd name="T60" fmla="*/ 390 w 1176"/>
                    <a:gd name="T61" fmla="*/ 300 h 780"/>
                    <a:gd name="T62" fmla="*/ 468 w 1176"/>
                    <a:gd name="T63" fmla="*/ 330 h 780"/>
                    <a:gd name="T64" fmla="*/ 618 w 1176"/>
                    <a:gd name="T65" fmla="*/ 132 h 780"/>
                    <a:gd name="T66" fmla="*/ 906 w 1176"/>
                    <a:gd name="T67" fmla="*/ 30 h 7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76" h="780">
                      <a:moveTo>
                        <a:pt x="6" y="330"/>
                      </a:moveTo>
                      <a:lnTo>
                        <a:pt x="6" y="330"/>
                      </a:lnTo>
                      <a:lnTo>
                        <a:pt x="6" y="330"/>
                      </a:lnTo>
                      <a:lnTo>
                        <a:pt x="6" y="330"/>
                      </a:lnTo>
                      <a:close/>
                      <a:moveTo>
                        <a:pt x="1176" y="300"/>
                      </a:moveTo>
                      <a:lnTo>
                        <a:pt x="1176" y="300"/>
                      </a:lnTo>
                      <a:lnTo>
                        <a:pt x="1176" y="300"/>
                      </a:lnTo>
                      <a:lnTo>
                        <a:pt x="1176" y="300"/>
                      </a:lnTo>
                      <a:close/>
                      <a:moveTo>
                        <a:pt x="1026" y="0"/>
                      </a:moveTo>
                      <a:lnTo>
                        <a:pt x="1056" y="96"/>
                      </a:lnTo>
                      <a:lnTo>
                        <a:pt x="1098" y="186"/>
                      </a:lnTo>
                      <a:lnTo>
                        <a:pt x="1092" y="222"/>
                      </a:lnTo>
                      <a:lnTo>
                        <a:pt x="1128" y="240"/>
                      </a:lnTo>
                      <a:lnTo>
                        <a:pt x="1176" y="300"/>
                      </a:lnTo>
                      <a:lnTo>
                        <a:pt x="1128" y="330"/>
                      </a:lnTo>
                      <a:lnTo>
                        <a:pt x="1104" y="360"/>
                      </a:lnTo>
                      <a:lnTo>
                        <a:pt x="1092" y="390"/>
                      </a:lnTo>
                      <a:lnTo>
                        <a:pt x="1092" y="420"/>
                      </a:lnTo>
                      <a:lnTo>
                        <a:pt x="1086" y="444"/>
                      </a:lnTo>
                      <a:lnTo>
                        <a:pt x="1056" y="456"/>
                      </a:lnTo>
                      <a:lnTo>
                        <a:pt x="1020" y="462"/>
                      </a:lnTo>
                      <a:lnTo>
                        <a:pt x="978" y="468"/>
                      </a:lnTo>
                      <a:lnTo>
                        <a:pt x="936" y="474"/>
                      </a:lnTo>
                      <a:lnTo>
                        <a:pt x="834" y="510"/>
                      </a:lnTo>
                      <a:lnTo>
                        <a:pt x="750" y="546"/>
                      </a:lnTo>
                      <a:lnTo>
                        <a:pt x="696" y="582"/>
                      </a:lnTo>
                      <a:lnTo>
                        <a:pt x="636" y="618"/>
                      </a:lnTo>
                      <a:lnTo>
                        <a:pt x="564" y="636"/>
                      </a:lnTo>
                      <a:lnTo>
                        <a:pt x="516" y="648"/>
                      </a:lnTo>
                      <a:lnTo>
                        <a:pt x="468" y="666"/>
                      </a:lnTo>
                      <a:lnTo>
                        <a:pt x="426" y="684"/>
                      </a:lnTo>
                      <a:lnTo>
                        <a:pt x="396" y="696"/>
                      </a:lnTo>
                      <a:lnTo>
                        <a:pt x="366" y="696"/>
                      </a:lnTo>
                      <a:lnTo>
                        <a:pt x="336" y="696"/>
                      </a:lnTo>
                      <a:lnTo>
                        <a:pt x="312" y="708"/>
                      </a:lnTo>
                      <a:lnTo>
                        <a:pt x="300" y="744"/>
                      </a:lnTo>
                      <a:lnTo>
                        <a:pt x="288" y="774"/>
                      </a:lnTo>
                      <a:lnTo>
                        <a:pt x="264" y="780"/>
                      </a:lnTo>
                      <a:lnTo>
                        <a:pt x="234" y="780"/>
                      </a:lnTo>
                      <a:lnTo>
                        <a:pt x="204" y="780"/>
                      </a:lnTo>
                      <a:lnTo>
                        <a:pt x="162" y="768"/>
                      </a:lnTo>
                      <a:lnTo>
                        <a:pt x="120" y="738"/>
                      </a:lnTo>
                      <a:lnTo>
                        <a:pt x="72" y="696"/>
                      </a:lnTo>
                      <a:lnTo>
                        <a:pt x="54" y="666"/>
                      </a:lnTo>
                      <a:lnTo>
                        <a:pt x="54" y="630"/>
                      </a:lnTo>
                      <a:lnTo>
                        <a:pt x="54" y="594"/>
                      </a:lnTo>
                      <a:lnTo>
                        <a:pt x="48" y="564"/>
                      </a:lnTo>
                      <a:lnTo>
                        <a:pt x="36" y="540"/>
                      </a:lnTo>
                      <a:lnTo>
                        <a:pt x="12" y="522"/>
                      </a:lnTo>
                      <a:lnTo>
                        <a:pt x="0" y="504"/>
                      </a:lnTo>
                      <a:lnTo>
                        <a:pt x="0" y="474"/>
                      </a:lnTo>
                      <a:lnTo>
                        <a:pt x="18" y="432"/>
                      </a:lnTo>
                      <a:lnTo>
                        <a:pt x="24" y="390"/>
                      </a:lnTo>
                      <a:lnTo>
                        <a:pt x="18" y="360"/>
                      </a:lnTo>
                      <a:lnTo>
                        <a:pt x="6" y="330"/>
                      </a:lnTo>
                      <a:lnTo>
                        <a:pt x="30" y="300"/>
                      </a:lnTo>
                      <a:lnTo>
                        <a:pt x="48" y="228"/>
                      </a:lnTo>
                      <a:lnTo>
                        <a:pt x="102" y="228"/>
                      </a:lnTo>
                      <a:lnTo>
                        <a:pt x="186" y="198"/>
                      </a:lnTo>
                      <a:lnTo>
                        <a:pt x="270" y="234"/>
                      </a:lnTo>
                      <a:lnTo>
                        <a:pt x="336" y="264"/>
                      </a:lnTo>
                      <a:lnTo>
                        <a:pt x="390" y="300"/>
                      </a:lnTo>
                      <a:lnTo>
                        <a:pt x="414" y="342"/>
                      </a:lnTo>
                      <a:lnTo>
                        <a:pt x="468" y="330"/>
                      </a:lnTo>
                      <a:lnTo>
                        <a:pt x="528" y="252"/>
                      </a:lnTo>
                      <a:lnTo>
                        <a:pt x="618" y="132"/>
                      </a:lnTo>
                      <a:lnTo>
                        <a:pt x="750" y="72"/>
                      </a:lnTo>
                      <a:lnTo>
                        <a:pt x="906" y="30"/>
                      </a:lnTo>
                      <a:lnTo>
                        <a:pt x="102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1" name="Freeform 102">
                  <a:extLst>
                    <a:ext uri="{FF2B5EF4-FFF2-40B4-BE49-F238E27FC236}">
                      <a16:creationId xmlns:a16="http://schemas.microsoft.com/office/drawing/2014/main" id="{0D8DC5EE-C054-4672-AC0C-651D26D56D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61" y="390"/>
                  <a:ext cx="510" cy="420"/>
                </a:xfrm>
                <a:custGeom>
                  <a:avLst/>
                  <a:gdLst>
                    <a:gd name="T0" fmla="*/ 426 w 510"/>
                    <a:gd name="T1" fmla="*/ 0 h 420"/>
                    <a:gd name="T2" fmla="*/ 426 w 510"/>
                    <a:gd name="T3" fmla="*/ 0 h 420"/>
                    <a:gd name="T4" fmla="*/ 504 w 510"/>
                    <a:gd name="T5" fmla="*/ 12 h 420"/>
                    <a:gd name="T6" fmla="*/ 504 w 510"/>
                    <a:gd name="T7" fmla="*/ 36 h 420"/>
                    <a:gd name="T8" fmla="*/ 504 w 510"/>
                    <a:gd name="T9" fmla="*/ 66 h 420"/>
                    <a:gd name="T10" fmla="*/ 510 w 510"/>
                    <a:gd name="T11" fmla="*/ 96 h 420"/>
                    <a:gd name="T12" fmla="*/ 510 w 510"/>
                    <a:gd name="T13" fmla="*/ 96 h 420"/>
                    <a:gd name="T14" fmla="*/ 468 w 510"/>
                    <a:gd name="T15" fmla="*/ 102 h 420"/>
                    <a:gd name="T16" fmla="*/ 444 w 510"/>
                    <a:gd name="T17" fmla="*/ 120 h 420"/>
                    <a:gd name="T18" fmla="*/ 432 w 510"/>
                    <a:gd name="T19" fmla="*/ 174 h 420"/>
                    <a:gd name="T20" fmla="*/ 444 w 510"/>
                    <a:gd name="T21" fmla="*/ 246 h 420"/>
                    <a:gd name="T22" fmla="*/ 408 w 510"/>
                    <a:gd name="T23" fmla="*/ 312 h 420"/>
                    <a:gd name="T24" fmla="*/ 426 w 510"/>
                    <a:gd name="T25" fmla="*/ 420 h 420"/>
                    <a:gd name="T26" fmla="*/ 378 w 510"/>
                    <a:gd name="T27" fmla="*/ 414 h 420"/>
                    <a:gd name="T28" fmla="*/ 294 w 510"/>
                    <a:gd name="T29" fmla="*/ 414 h 420"/>
                    <a:gd name="T30" fmla="*/ 216 w 510"/>
                    <a:gd name="T31" fmla="*/ 396 h 420"/>
                    <a:gd name="T32" fmla="*/ 126 w 510"/>
                    <a:gd name="T33" fmla="*/ 390 h 420"/>
                    <a:gd name="T34" fmla="*/ 54 w 510"/>
                    <a:gd name="T35" fmla="*/ 366 h 420"/>
                    <a:gd name="T36" fmla="*/ 6 w 510"/>
                    <a:gd name="T37" fmla="*/ 306 h 420"/>
                    <a:gd name="T38" fmla="*/ 0 w 510"/>
                    <a:gd name="T39" fmla="*/ 234 h 420"/>
                    <a:gd name="T40" fmla="*/ 0 w 510"/>
                    <a:gd name="T41" fmla="*/ 234 h 420"/>
                    <a:gd name="T42" fmla="*/ 12 w 510"/>
                    <a:gd name="T43" fmla="*/ 240 h 420"/>
                    <a:gd name="T44" fmla="*/ 30 w 510"/>
                    <a:gd name="T45" fmla="*/ 246 h 420"/>
                    <a:gd name="T46" fmla="*/ 48 w 510"/>
                    <a:gd name="T47" fmla="*/ 252 h 420"/>
                    <a:gd name="T48" fmla="*/ 84 w 510"/>
                    <a:gd name="T49" fmla="*/ 246 h 420"/>
                    <a:gd name="T50" fmla="*/ 102 w 510"/>
                    <a:gd name="T51" fmla="*/ 240 h 420"/>
                    <a:gd name="T52" fmla="*/ 120 w 510"/>
                    <a:gd name="T53" fmla="*/ 234 h 420"/>
                    <a:gd name="T54" fmla="*/ 150 w 510"/>
                    <a:gd name="T55" fmla="*/ 228 h 420"/>
                    <a:gd name="T56" fmla="*/ 198 w 510"/>
                    <a:gd name="T57" fmla="*/ 222 h 420"/>
                    <a:gd name="T58" fmla="*/ 234 w 510"/>
                    <a:gd name="T59" fmla="*/ 228 h 420"/>
                    <a:gd name="T60" fmla="*/ 258 w 510"/>
                    <a:gd name="T61" fmla="*/ 228 h 420"/>
                    <a:gd name="T62" fmla="*/ 288 w 510"/>
                    <a:gd name="T63" fmla="*/ 198 h 420"/>
                    <a:gd name="T64" fmla="*/ 312 w 510"/>
                    <a:gd name="T65" fmla="*/ 150 h 420"/>
                    <a:gd name="T66" fmla="*/ 336 w 510"/>
                    <a:gd name="T67" fmla="*/ 102 h 420"/>
                    <a:gd name="T68" fmla="*/ 360 w 510"/>
                    <a:gd name="T69" fmla="*/ 72 h 420"/>
                    <a:gd name="T70" fmla="*/ 390 w 510"/>
                    <a:gd name="T71" fmla="*/ 36 h 420"/>
                    <a:gd name="T72" fmla="*/ 426 w 510"/>
                    <a:gd name="T73" fmla="*/ 0 h 4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10" h="420">
                      <a:moveTo>
                        <a:pt x="426" y="0"/>
                      </a:moveTo>
                      <a:lnTo>
                        <a:pt x="426" y="0"/>
                      </a:lnTo>
                      <a:lnTo>
                        <a:pt x="504" y="12"/>
                      </a:lnTo>
                      <a:lnTo>
                        <a:pt x="504" y="36"/>
                      </a:lnTo>
                      <a:lnTo>
                        <a:pt x="504" y="66"/>
                      </a:lnTo>
                      <a:lnTo>
                        <a:pt x="510" y="96"/>
                      </a:lnTo>
                      <a:lnTo>
                        <a:pt x="510" y="96"/>
                      </a:lnTo>
                      <a:lnTo>
                        <a:pt x="468" y="102"/>
                      </a:lnTo>
                      <a:lnTo>
                        <a:pt x="444" y="120"/>
                      </a:lnTo>
                      <a:lnTo>
                        <a:pt x="432" y="174"/>
                      </a:lnTo>
                      <a:lnTo>
                        <a:pt x="444" y="246"/>
                      </a:lnTo>
                      <a:lnTo>
                        <a:pt x="408" y="312"/>
                      </a:lnTo>
                      <a:lnTo>
                        <a:pt x="426" y="420"/>
                      </a:lnTo>
                      <a:lnTo>
                        <a:pt x="378" y="414"/>
                      </a:lnTo>
                      <a:lnTo>
                        <a:pt x="294" y="414"/>
                      </a:lnTo>
                      <a:lnTo>
                        <a:pt x="216" y="396"/>
                      </a:lnTo>
                      <a:lnTo>
                        <a:pt x="126" y="390"/>
                      </a:lnTo>
                      <a:lnTo>
                        <a:pt x="54" y="366"/>
                      </a:lnTo>
                      <a:lnTo>
                        <a:pt x="6" y="306"/>
                      </a:lnTo>
                      <a:lnTo>
                        <a:pt x="0" y="234"/>
                      </a:lnTo>
                      <a:lnTo>
                        <a:pt x="0" y="234"/>
                      </a:lnTo>
                      <a:lnTo>
                        <a:pt x="12" y="240"/>
                      </a:lnTo>
                      <a:lnTo>
                        <a:pt x="30" y="246"/>
                      </a:lnTo>
                      <a:lnTo>
                        <a:pt x="48" y="252"/>
                      </a:lnTo>
                      <a:lnTo>
                        <a:pt x="84" y="246"/>
                      </a:lnTo>
                      <a:lnTo>
                        <a:pt x="102" y="240"/>
                      </a:lnTo>
                      <a:lnTo>
                        <a:pt x="120" y="234"/>
                      </a:lnTo>
                      <a:lnTo>
                        <a:pt x="150" y="228"/>
                      </a:lnTo>
                      <a:lnTo>
                        <a:pt x="198" y="222"/>
                      </a:lnTo>
                      <a:lnTo>
                        <a:pt x="234" y="228"/>
                      </a:lnTo>
                      <a:lnTo>
                        <a:pt x="258" y="228"/>
                      </a:lnTo>
                      <a:lnTo>
                        <a:pt x="288" y="198"/>
                      </a:lnTo>
                      <a:lnTo>
                        <a:pt x="312" y="150"/>
                      </a:lnTo>
                      <a:lnTo>
                        <a:pt x="336" y="102"/>
                      </a:lnTo>
                      <a:lnTo>
                        <a:pt x="360" y="72"/>
                      </a:lnTo>
                      <a:lnTo>
                        <a:pt x="390" y="36"/>
                      </a:lnTo>
                      <a:lnTo>
                        <a:pt x="42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2" name="Freeform 103">
                  <a:extLst>
                    <a:ext uri="{FF2B5EF4-FFF2-40B4-BE49-F238E27FC236}">
                      <a16:creationId xmlns:a16="http://schemas.microsoft.com/office/drawing/2014/main" id="{C927A416-E815-4A08-91C9-8266C3723D3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11" y="486"/>
                  <a:ext cx="792" cy="1068"/>
                </a:xfrm>
                <a:custGeom>
                  <a:avLst/>
                  <a:gdLst>
                    <a:gd name="T0" fmla="*/ 366 w 792"/>
                    <a:gd name="T1" fmla="*/ 24 h 1068"/>
                    <a:gd name="T2" fmla="*/ 426 w 792"/>
                    <a:gd name="T3" fmla="*/ 96 h 1068"/>
                    <a:gd name="T4" fmla="*/ 564 w 792"/>
                    <a:gd name="T5" fmla="*/ 150 h 1068"/>
                    <a:gd name="T6" fmla="*/ 654 w 792"/>
                    <a:gd name="T7" fmla="*/ 192 h 1068"/>
                    <a:gd name="T8" fmla="*/ 702 w 792"/>
                    <a:gd name="T9" fmla="*/ 252 h 1068"/>
                    <a:gd name="T10" fmla="*/ 744 w 792"/>
                    <a:gd name="T11" fmla="*/ 282 h 1068"/>
                    <a:gd name="T12" fmla="*/ 780 w 792"/>
                    <a:gd name="T13" fmla="*/ 324 h 1068"/>
                    <a:gd name="T14" fmla="*/ 786 w 792"/>
                    <a:gd name="T15" fmla="*/ 414 h 1068"/>
                    <a:gd name="T16" fmla="*/ 762 w 792"/>
                    <a:gd name="T17" fmla="*/ 468 h 1068"/>
                    <a:gd name="T18" fmla="*/ 726 w 792"/>
                    <a:gd name="T19" fmla="*/ 504 h 1068"/>
                    <a:gd name="T20" fmla="*/ 708 w 792"/>
                    <a:gd name="T21" fmla="*/ 528 h 1068"/>
                    <a:gd name="T22" fmla="*/ 702 w 792"/>
                    <a:gd name="T23" fmla="*/ 552 h 1068"/>
                    <a:gd name="T24" fmla="*/ 702 w 792"/>
                    <a:gd name="T25" fmla="*/ 576 h 1068"/>
                    <a:gd name="T26" fmla="*/ 696 w 792"/>
                    <a:gd name="T27" fmla="*/ 594 h 1068"/>
                    <a:gd name="T28" fmla="*/ 678 w 792"/>
                    <a:gd name="T29" fmla="*/ 606 h 1068"/>
                    <a:gd name="T30" fmla="*/ 648 w 792"/>
                    <a:gd name="T31" fmla="*/ 606 h 1068"/>
                    <a:gd name="T32" fmla="*/ 630 w 792"/>
                    <a:gd name="T33" fmla="*/ 606 h 1068"/>
                    <a:gd name="T34" fmla="*/ 618 w 792"/>
                    <a:gd name="T35" fmla="*/ 612 h 1068"/>
                    <a:gd name="T36" fmla="*/ 612 w 792"/>
                    <a:gd name="T37" fmla="*/ 630 h 1068"/>
                    <a:gd name="T38" fmla="*/ 618 w 792"/>
                    <a:gd name="T39" fmla="*/ 672 h 1068"/>
                    <a:gd name="T40" fmla="*/ 600 w 792"/>
                    <a:gd name="T41" fmla="*/ 744 h 1068"/>
                    <a:gd name="T42" fmla="*/ 552 w 792"/>
                    <a:gd name="T43" fmla="*/ 780 h 1068"/>
                    <a:gd name="T44" fmla="*/ 516 w 792"/>
                    <a:gd name="T45" fmla="*/ 792 h 1068"/>
                    <a:gd name="T46" fmla="*/ 498 w 792"/>
                    <a:gd name="T47" fmla="*/ 810 h 1068"/>
                    <a:gd name="T48" fmla="*/ 498 w 792"/>
                    <a:gd name="T49" fmla="*/ 846 h 1068"/>
                    <a:gd name="T50" fmla="*/ 486 w 792"/>
                    <a:gd name="T51" fmla="*/ 876 h 1068"/>
                    <a:gd name="T52" fmla="*/ 456 w 792"/>
                    <a:gd name="T53" fmla="*/ 894 h 1068"/>
                    <a:gd name="T54" fmla="*/ 414 w 792"/>
                    <a:gd name="T55" fmla="*/ 912 h 1068"/>
                    <a:gd name="T56" fmla="*/ 390 w 792"/>
                    <a:gd name="T57" fmla="*/ 918 h 1068"/>
                    <a:gd name="T58" fmla="*/ 372 w 792"/>
                    <a:gd name="T59" fmla="*/ 930 h 1068"/>
                    <a:gd name="T60" fmla="*/ 366 w 792"/>
                    <a:gd name="T61" fmla="*/ 948 h 1068"/>
                    <a:gd name="T62" fmla="*/ 360 w 792"/>
                    <a:gd name="T63" fmla="*/ 996 h 1068"/>
                    <a:gd name="T64" fmla="*/ 270 w 792"/>
                    <a:gd name="T65" fmla="*/ 1038 h 1068"/>
                    <a:gd name="T66" fmla="*/ 150 w 792"/>
                    <a:gd name="T67" fmla="*/ 1068 h 1068"/>
                    <a:gd name="T68" fmla="*/ 102 w 792"/>
                    <a:gd name="T69" fmla="*/ 1008 h 1068"/>
                    <a:gd name="T70" fmla="*/ 72 w 792"/>
                    <a:gd name="T71" fmla="*/ 954 h 1068"/>
                    <a:gd name="T72" fmla="*/ 0 w 792"/>
                    <a:gd name="T73" fmla="*/ 768 h 1068"/>
                    <a:gd name="T74" fmla="*/ 204 w 792"/>
                    <a:gd name="T75" fmla="*/ 666 h 1068"/>
                    <a:gd name="T76" fmla="*/ 342 w 792"/>
                    <a:gd name="T77" fmla="*/ 510 h 1068"/>
                    <a:gd name="T78" fmla="*/ 276 w 792"/>
                    <a:gd name="T79" fmla="*/ 324 h 1068"/>
                    <a:gd name="T80" fmla="*/ 294 w 792"/>
                    <a:gd name="T81" fmla="*/ 150 h 1068"/>
                    <a:gd name="T82" fmla="*/ 294 w 792"/>
                    <a:gd name="T83" fmla="*/ 24 h 1068"/>
                    <a:gd name="T84" fmla="*/ 360 w 792"/>
                    <a:gd name="T85" fmla="*/ 0 h 1068"/>
                    <a:gd name="T86" fmla="*/ 360 w 792"/>
                    <a:gd name="T87" fmla="*/ 0 h 1068"/>
                    <a:gd name="T88" fmla="*/ 360 w 792"/>
                    <a:gd name="T89" fmla="*/ 0 h 10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92" h="1068">
                      <a:moveTo>
                        <a:pt x="360" y="0"/>
                      </a:moveTo>
                      <a:lnTo>
                        <a:pt x="366" y="24"/>
                      </a:lnTo>
                      <a:lnTo>
                        <a:pt x="378" y="42"/>
                      </a:lnTo>
                      <a:lnTo>
                        <a:pt x="426" y="96"/>
                      </a:lnTo>
                      <a:lnTo>
                        <a:pt x="486" y="132"/>
                      </a:lnTo>
                      <a:lnTo>
                        <a:pt x="564" y="150"/>
                      </a:lnTo>
                      <a:lnTo>
                        <a:pt x="618" y="168"/>
                      </a:lnTo>
                      <a:lnTo>
                        <a:pt x="654" y="192"/>
                      </a:lnTo>
                      <a:lnTo>
                        <a:pt x="678" y="222"/>
                      </a:lnTo>
                      <a:lnTo>
                        <a:pt x="702" y="252"/>
                      </a:lnTo>
                      <a:lnTo>
                        <a:pt x="720" y="270"/>
                      </a:lnTo>
                      <a:lnTo>
                        <a:pt x="744" y="282"/>
                      </a:lnTo>
                      <a:lnTo>
                        <a:pt x="762" y="300"/>
                      </a:lnTo>
                      <a:lnTo>
                        <a:pt x="780" y="324"/>
                      </a:lnTo>
                      <a:lnTo>
                        <a:pt x="792" y="360"/>
                      </a:lnTo>
                      <a:lnTo>
                        <a:pt x="786" y="414"/>
                      </a:lnTo>
                      <a:lnTo>
                        <a:pt x="774" y="444"/>
                      </a:lnTo>
                      <a:lnTo>
                        <a:pt x="762" y="468"/>
                      </a:lnTo>
                      <a:lnTo>
                        <a:pt x="738" y="486"/>
                      </a:lnTo>
                      <a:lnTo>
                        <a:pt x="726" y="504"/>
                      </a:lnTo>
                      <a:lnTo>
                        <a:pt x="714" y="516"/>
                      </a:lnTo>
                      <a:lnTo>
                        <a:pt x="708" y="528"/>
                      </a:lnTo>
                      <a:lnTo>
                        <a:pt x="702" y="540"/>
                      </a:lnTo>
                      <a:lnTo>
                        <a:pt x="702" y="552"/>
                      </a:lnTo>
                      <a:lnTo>
                        <a:pt x="702" y="564"/>
                      </a:lnTo>
                      <a:lnTo>
                        <a:pt x="702" y="576"/>
                      </a:lnTo>
                      <a:lnTo>
                        <a:pt x="702" y="588"/>
                      </a:lnTo>
                      <a:lnTo>
                        <a:pt x="696" y="594"/>
                      </a:lnTo>
                      <a:lnTo>
                        <a:pt x="690" y="600"/>
                      </a:lnTo>
                      <a:lnTo>
                        <a:pt x="678" y="606"/>
                      </a:lnTo>
                      <a:lnTo>
                        <a:pt x="660" y="606"/>
                      </a:lnTo>
                      <a:lnTo>
                        <a:pt x="648" y="606"/>
                      </a:lnTo>
                      <a:lnTo>
                        <a:pt x="642" y="606"/>
                      </a:lnTo>
                      <a:lnTo>
                        <a:pt x="630" y="606"/>
                      </a:lnTo>
                      <a:lnTo>
                        <a:pt x="624" y="606"/>
                      </a:lnTo>
                      <a:lnTo>
                        <a:pt x="618" y="612"/>
                      </a:lnTo>
                      <a:lnTo>
                        <a:pt x="618" y="618"/>
                      </a:lnTo>
                      <a:lnTo>
                        <a:pt x="612" y="630"/>
                      </a:lnTo>
                      <a:lnTo>
                        <a:pt x="612" y="648"/>
                      </a:lnTo>
                      <a:lnTo>
                        <a:pt x="618" y="672"/>
                      </a:lnTo>
                      <a:lnTo>
                        <a:pt x="612" y="714"/>
                      </a:lnTo>
                      <a:lnTo>
                        <a:pt x="600" y="744"/>
                      </a:lnTo>
                      <a:lnTo>
                        <a:pt x="576" y="762"/>
                      </a:lnTo>
                      <a:lnTo>
                        <a:pt x="552" y="780"/>
                      </a:lnTo>
                      <a:lnTo>
                        <a:pt x="528" y="786"/>
                      </a:lnTo>
                      <a:lnTo>
                        <a:pt x="516" y="792"/>
                      </a:lnTo>
                      <a:lnTo>
                        <a:pt x="504" y="804"/>
                      </a:lnTo>
                      <a:lnTo>
                        <a:pt x="498" y="810"/>
                      </a:lnTo>
                      <a:lnTo>
                        <a:pt x="498" y="828"/>
                      </a:lnTo>
                      <a:lnTo>
                        <a:pt x="498" y="846"/>
                      </a:lnTo>
                      <a:lnTo>
                        <a:pt x="492" y="864"/>
                      </a:lnTo>
                      <a:lnTo>
                        <a:pt x="486" y="876"/>
                      </a:lnTo>
                      <a:lnTo>
                        <a:pt x="468" y="888"/>
                      </a:lnTo>
                      <a:lnTo>
                        <a:pt x="456" y="894"/>
                      </a:lnTo>
                      <a:lnTo>
                        <a:pt x="432" y="900"/>
                      </a:lnTo>
                      <a:lnTo>
                        <a:pt x="414" y="912"/>
                      </a:lnTo>
                      <a:lnTo>
                        <a:pt x="402" y="918"/>
                      </a:lnTo>
                      <a:lnTo>
                        <a:pt x="390" y="918"/>
                      </a:lnTo>
                      <a:lnTo>
                        <a:pt x="378" y="924"/>
                      </a:lnTo>
                      <a:lnTo>
                        <a:pt x="372" y="930"/>
                      </a:lnTo>
                      <a:lnTo>
                        <a:pt x="366" y="936"/>
                      </a:lnTo>
                      <a:lnTo>
                        <a:pt x="366" y="948"/>
                      </a:lnTo>
                      <a:lnTo>
                        <a:pt x="372" y="966"/>
                      </a:lnTo>
                      <a:lnTo>
                        <a:pt x="360" y="996"/>
                      </a:lnTo>
                      <a:lnTo>
                        <a:pt x="324" y="1020"/>
                      </a:lnTo>
                      <a:lnTo>
                        <a:pt x="270" y="1038"/>
                      </a:lnTo>
                      <a:lnTo>
                        <a:pt x="186" y="1056"/>
                      </a:lnTo>
                      <a:lnTo>
                        <a:pt x="150" y="1068"/>
                      </a:lnTo>
                      <a:lnTo>
                        <a:pt x="150" y="1068"/>
                      </a:lnTo>
                      <a:lnTo>
                        <a:pt x="102" y="1008"/>
                      </a:lnTo>
                      <a:lnTo>
                        <a:pt x="66" y="990"/>
                      </a:lnTo>
                      <a:lnTo>
                        <a:pt x="72" y="954"/>
                      </a:lnTo>
                      <a:lnTo>
                        <a:pt x="30" y="864"/>
                      </a:lnTo>
                      <a:lnTo>
                        <a:pt x="0" y="768"/>
                      </a:lnTo>
                      <a:lnTo>
                        <a:pt x="84" y="720"/>
                      </a:lnTo>
                      <a:lnTo>
                        <a:pt x="204" y="666"/>
                      </a:lnTo>
                      <a:lnTo>
                        <a:pt x="330" y="588"/>
                      </a:lnTo>
                      <a:lnTo>
                        <a:pt x="342" y="510"/>
                      </a:lnTo>
                      <a:lnTo>
                        <a:pt x="330" y="408"/>
                      </a:lnTo>
                      <a:lnTo>
                        <a:pt x="276" y="324"/>
                      </a:lnTo>
                      <a:lnTo>
                        <a:pt x="258" y="216"/>
                      </a:lnTo>
                      <a:lnTo>
                        <a:pt x="294" y="150"/>
                      </a:lnTo>
                      <a:lnTo>
                        <a:pt x="282" y="78"/>
                      </a:lnTo>
                      <a:lnTo>
                        <a:pt x="294" y="24"/>
                      </a:lnTo>
                      <a:lnTo>
                        <a:pt x="318" y="6"/>
                      </a:lnTo>
                      <a:lnTo>
                        <a:pt x="360" y="0"/>
                      </a:lnTo>
                      <a:close/>
                      <a:moveTo>
                        <a:pt x="360" y="0"/>
                      </a:moveTo>
                      <a:lnTo>
                        <a:pt x="360" y="0"/>
                      </a:lnTo>
                      <a:lnTo>
                        <a:pt x="360" y="0"/>
                      </a:lnTo>
                      <a:lnTo>
                        <a:pt x="36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3" name="Freeform 104">
                  <a:extLst>
                    <a:ext uri="{FF2B5EF4-FFF2-40B4-BE49-F238E27FC236}">
                      <a16:creationId xmlns:a16="http://schemas.microsoft.com/office/drawing/2014/main" id="{D8C6B0B4-DEB7-418B-B984-9D61CD3E42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91" y="-330"/>
                  <a:ext cx="894" cy="426"/>
                </a:xfrm>
                <a:custGeom>
                  <a:avLst/>
                  <a:gdLst>
                    <a:gd name="T0" fmla="*/ 48 w 894"/>
                    <a:gd name="T1" fmla="*/ 0 h 426"/>
                    <a:gd name="T2" fmla="*/ 54 w 894"/>
                    <a:gd name="T3" fmla="*/ 0 h 426"/>
                    <a:gd name="T4" fmla="*/ 210 w 894"/>
                    <a:gd name="T5" fmla="*/ 6 h 426"/>
                    <a:gd name="T6" fmla="*/ 252 w 894"/>
                    <a:gd name="T7" fmla="*/ 24 h 426"/>
                    <a:gd name="T8" fmla="*/ 294 w 894"/>
                    <a:gd name="T9" fmla="*/ 66 h 426"/>
                    <a:gd name="T10" fmla="*/ 330 w 894"/>
                    <a:gd name="T11" fmla="*/ 96 h 426"/>
                    <a:gd name="T12" fmla="*/ 360 w 894"/>
                    <a:gd name="T13" fmla="*/ 96 h 426"/>
                    <a:gd name="T14" fmla="*/ 402 w 894"/>
                    <a:gd name="T15" fmla="*/ 114 h 426"/>
                    <a:gd name="T16" fmla="*/ 456 w 894"/>
                    <a:gd name="T17" fmla="*/ 144 h 426"/>
                    <a:gd name="T18" fmla="*/ 540 w 894"/>
                    <a:gd name="T19" fmla="*/ 156 h 426"/>
                    <a:gd name="T20" fmla="*/ 618 w 894"/>
                    <a:gd name="T21" fmla="*/ 180 h 426"/>
                    <a:gd name="T22" fmla="*/ 660 w 894"/>
                    <a:gd name="T23" fmla="*/ 228 h 426"/>
                    <a:gd name="T24" fmla="*/ 714 w 894"/>
                    <a:gd name="T25" fmla="*/ 234 h 426"/>
                    <a:gd name="T26" fmla="*/ 762 w 894"/>
                    <a:gd name="T27" fmla="*/ 270 h 426"/>
                    <a:gd name="T28" fmla="*/ 864 w 894"/>
                    <a:gd name="T29" fmla="*/ 264 h 426"/>
                    <a:gd name="T30" fmla="*/ 894 w 894"/>
                    <a:gd name="T31" fmla="*/ 336 h 426"/>
                    <a:gd name="T32" fmla="*/ 870 w 894"/>
                    <a:gd name="T33" fmla="*/ 414 h 426"/>
                    <a:gd name="T34" fmla="*/ 804 w 894"/>
                    <a:gd name="T35" fmla="*/ 426 h 426"/>
                    <a:gd name="T36" fmla="*/ 732 w 894"/>
                    <a:gd name="T37" fmla="*/ 390 h 426"/>
                    <a:gd name="T38" fmla="*/ 660 w 894"/>
                    <a:gd name="T39" fmla="*/ 390 h 426"/>
                    <a:gd name="T40" fmla="*/ 588 w 894"/>
                    <a:gd name="T41" fmla="*/ 414 h 426"/>
                    <a:gd name="T42" fmla="*/ 498 w 894"/>
                    <a:gd name="T43" fmla="*/ 378 h 426"/>
                    <a:gd name="T44" fmla="*/ 444 w 894"/>
                    <a:gd name="T45" fmla="*/ 330 h 426"/>
                    <a:gd name="T46" fmla="*/ 372 w 894"/>
                    <a:gd name="T47" fmla="*/ 348 h 426"/>
                    <a:gd name="T48" fmla="*/ 282 w 894"/>
                    <a:gd name="T49" fmla="*/ 330 h 426"/>
                    <a:gd name="T50" fmla="*/ 216 w 894"/>
                    <a:gd name="T51" fmla="*/ 306 h 426"/>
                    <a:gd name="T52" fmla="*/ 168 w 894"/>
                    <a:gd name="T53" fmla="*/ 252 h 426"/>
                    <a:gd name="T54" fmla="*/ 96 w 894"/>
                    <a:gd name="T55" fmla="*/ 222 h 426"/>
                    <a:gd name="T56" fmla="*/ 24 w 894"/>
                    <a:gd name="T57" fmla="*/ 210 h 426"/>
                    <a:gd name="T58" fmla="*/ 0 w 894"/>
                    <a:gd name="T59" fmla="*/ 144 h 426"/>
                    <a:gd name="T60" fmla="*/ 0 w 894"/>
                    <a:gd name="T61" fmla="*/ 84 h 426"/>
                    <a:gd name="T62" fmla="*/ 48 w 894"/>
                    <a:gd name="T63" fmla="*/ 0 h 4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94" h="426">
                      <a:moveTo>
                        <a:pt x="48" y="0"/>
                      </a:moveTo>
                      <a:lnTo>
                        <a:pt x="54" y="0"/>
                      </a:lnTo>
                      <a:lnTo>
                        <a:pt x="210" y="6"/>
                      </a:lnTo>
                      <a:lnTo>
                        <a:pt x="252" y="24"/>
                      </a:lnTo>
                      <a:lnTo>
                        <a:pt x="294" y="66"/>
                      </a:lnTo>
                      <a:lnTo>
                        <a:pt x="330" y="96"/>
                      </a:lnTo>
                      <a:lnTo>
                        <a:pt x="360" y="96"/>
                      </a:lnTo>
                      <a:lnTo>
                        <a:pt x="402" y="114"/>
                      </a:lnTo>
                      <a:lnTo>
                        <a:pt x="456" y="144"/>
                      </a:lnTo>
                      <a:lnTo>
                        <a:pt x="540" y="156"/>
                      </a:lnTo>
                      <a:lnTo>
                        <a:pt x="618" y="180"/>
                      </a:lnTo>
                      <a:lnTo>
                        <a:pt x="660" y="228"/>
                      </a:lnTo>
                      <a:lnTo>
                        <a:pt x="714" y="234"/>
                      </a:lnTo>
                      <a:lnTo>
                        <a:pt x="762" y="270"/>
                      </a:lnTo>
                      <a:lnTo>
                        <a:pt x="864" y="264"/>
                      </a:lnTo>
                      <a:lnTo>
                        <a:pt x="894" y="336"/>
                      </a:lnTo>
                      <a:lnTo>
                        <a:pt x="870" y="414"/>
                      </a:lnTo>
                      <a:lnTo>
                        <a:pt x="804" y="426"/>
                      </a:lnTo>
                      <a:lnTo>
                        <a:pt x="732" y="390"/>
                      </a:lnTo>
                      <a:lnTo>
                        <a:pt x="660" y="390"/>
                      </a:lnTo>
                      <a:lnTo>
                        <a:pt x="588" y="414"/>
                      </a:lnTo>
                      <a:lnTo>
                        <a:pt x="498" y="378"/>
                      </a:lnTo>
                      <a:lnTo>
                        <a:pt x="444" y="330"/>
                      </a:lnTo>
                      <a:lnTo>
                        <a:pt x="372" y="348"/>
                      </a:lnTo>
                      <a:lnTo>
                        <a:pt x="282" y="330"/>
                      </a:lnTo>
                      <a:lnTo>
                        <a:pt x="216" y="306"/>
                      </a:lnTo>
                      <a:lnTo>
                        <a:pt x="168" y="252"/>
                      </a:lnTo>
                      <a:lnTo>
                        <a:pt x="96" y="222"/>
                      </a:lnTo>
                      <a:lnTo>
                        <a:pt x="24" y="210"/>
                      </a:lnTo>
                      <a:lnTo>
                        <a:pt x="0" y="144"/>
                      </a:lnTo>
                      <a:lnTo>
                        <a:pt x="0" y="84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4" name="Freeform 105">
                  <a:extLst>
                    <a:ext uri="{FF2B5EF4-FFF2-40B4-BE49-F238E27FC236}">
                      <a16:creationId xmlns:a16="http://schemas.microsoft.com/office/drawing/2014/main" id="{64F6445F-19F6-4F55-853A-6AA9EBEF08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9" y="-3828"/>
                  <a:ext cx="4002" cy="2208"/>
                </a:xfrm>
                <a:custGeom>
                  <a:avLst/>
                  <a:gdLst>
                    <a:gd name="T0" fmla="*/ 2136 w 4002"/>
                    <a:gd name="T1" fmla="*/ 42 h 2208"/>
                    <a:gd name="T2" fmla="*/ 2316 w 4002"/>
                    <a:gd name="T3" fmla="*/ 156 h 2208"/>
                    <a:gd name="T4" fmla="*/ 2442 w 4002"/>
                    <a:gd name="T5" fmla="*/ 240 h 2208"/>
                    <a:gd name="T6" fmla="*/ 2622 w 4002"/>
                    <a:gd name="T7" fmla="*/ 120 h 2208"/>
                    <a:gd name="T8" fmla="*/ 2754 w 4002"/>
                    <a:gd name="T9" fmla="*/ 144 h 2208"/>
                    <a:gd name="T10" fmla="*/ 2910 w 4002"/>
                    <a:gd name="T11" fmla="*/ 222 h 2208"/>
                    <a:gd name="T12" fmla="*/ 3048 w 4002"/>
                    <a:gd name="T13" fmla="*/ 378 h 2208"/>
                    <a:gd name="T14" fmla="*/ 3156 w 4002"/>
                    <a:gd name="T15" fmla="*/ 510 h 2208"/>
                    <a:gd name="T16" fmla="*/ 3312 w 4002"/>
                    <a:gd name="T17" fmla="*/ 522 h 2208"/>
                    <a:gd name="T18" fmla="*/ 3588 w 4002"/>
                    <a:gd name="T19" fmla="*/ 516 h 2208"/>
                    <a:gd name="T20" fmla="*/ 3786 w 4002"/>
                    <a:gd name="T21" fmla="*/ 708 h 2208"/>
                    <a:gd name="T22" fmla="*/ 3996 w 4002"/>
                    <a:gd name="T23" fmla="*/ 708 h 2208"/>
                    <a:gd name="T24" fmla="*/ 3984 w 4002"/>
                    <a:gd name="T25" fmla="*/ 852 h 2208"/>
                    <a:gd name="T26" fmla="*/ 3948 w 4002"/>
                    <a:gd name="T27" fmla="*/ 1008 h 2208"/>
                    <a:gd name="T28" fmla="*/ 3702 w 4002"/>
                    <a:gd name="T29" fmla="*/ 1056 h 2208"/>
                    <a:gd name="T30" fmla="*/ 3654 w 4002"/>
                    <a:gd name="T31" fmla="*/ 1296 h 2208"/>
                    <a:gd name="T32" fmla="*/ 3678 w 4002"/>
                    <a:gd name="T33" fmla="*/ 1422 h 2208"/>
                    <a:gd name="T34" fmla="*/ 3498 w 4002"/>
                    <a:gd name="T35" fmla="*/ 1428 h 2208"/>
                    <a:gd name="T36" fmla="*/ 3666 w 4002"/>
                    <a:gd name="T37" fmla="*/ 1734 h 2208"/>
                    <a:gd name="T38" fmla="*/ 3510 w 4002"/>
                    <a:gd name="T39" fmla="*/ 1830 h 2208"/>
                    <a:gd name="T40" fmla="*/ 3276 w 4002"/>
                    <a:gd name="T41" fmla="*/ 1782 h 2208"/>
                    <a:gd name="T42" fmla="*/ 3180 w 4002"/>
                    <a:gd name="T43" fmla="*/ 1794 h 2208"/>
                    <a:gd name="T44" fmla="*/ 3114 w 4002"/>
                    <a:gd name="T45" fmla="*/ 1794 h 2208"/>
                    <a:gd name="T46" fmla="*/ 3036 w 4002"/>
                    <a:gd name="T47" fmla="*/ 1800 h 2208"/>
                    <a:gd name="T48" fmla="*/ 2904 w 4002"/>
                    <a:gd name="T49" fmla="*/ 1878 h 2208"/>
                    <a:gd name="T50" fmla="*/ 2760 w 4002"/>
                    <a:gd name="T51" fmla="*/ 1866 h 2208"/>
                    <a:gd name="T52" fmla="*/ 2652 w 4002"/>
                    <a:gd name="T53" fmla="*/ 1962 h 2208"/>
                    <a:gd name="T54" fmla="*/ 2562 w 4002"/>
                    <a:gd name="T55" fmla="*/ 2010 h 2208"/>
                    <a:gd name="T56" fmla="*/ 2298 w 4002"/>
                    <a:gd name="T57" fmla="*/ 2124 h 2208"/>
                    <a:gd name="T58" fmla="*/ 2124 w 4002"/>
                    <a:gd name="T59" fmla="*/ 1902 h 2208"/>
                    <a:gd name="T60" fmla="*/ 1980 w 4002"/>
                    <a:gd name="T61" fmla="*/ 1794 h 2208"/>
                    <a:gd name="T62" fmla="*/ 1638 w 4002"/>
                    <a:gd name="T63" fmla="*/ 1824 h 2208"/>
                    <a:gd name="T64" fmla="*/ 1236 w 4002"/>
                    <a:gd name="T65" fmla="*/ 1602 h 2208"/>
                    <a:gd name="T66" fmla="*/ 1128 w 4002"/>
                    <a:gd name="T67" fmla="*/ 2208 h 2208"/>
                    <a:gd name="T68" fmla="*/ 1032 w 4002"/>
                    <a:gd name="T69" fmla="*/ 2148 h 2208"/>
                    <a:gd name="T70" fmla="*/ 876 w 4002"/>
                    <a:gd name="T71" fmla="*/ 2046 h 2208"/>
                    <a:gd name="T72" fmla="*/ 756 w 4002"/>
                    <a:gd name="T73" fmla="*/ 2190 h 2208"/>
                    <a:gd name="T74" fmla="*/ 342 w 4002"/>
                    <a:gd name="T75" fmla="*/ 1836 h 2208"/>
                    <a:gd name="T76" fmla="*/ 288 w 4002"/>
                    <a:gd name="T77" fmla="*/ 1488 h 2208"/>
                    <a:gd name="T78" fmla="*/ 204 w 4002"/>
                    <a:gd name="T79" fmla="*/ 1356 h 2208"/>
                    <a:gd name="T80" fmla="*/ 18 w 4002"/>
                    <a:gd name="T81" fmla="*/ 1266 h 2208"/>
                    <a:gd name="T82" fmla="*/ 0 w 4002"/>
                    <a:gd name="T83" fmla="*/ 1152 h 2208"/>
                    <a:gd name="T84" fmla="*/ 126 w 4002"/>
                    <a:gd name="T85" fmla="*/ 1050 h 2208"/>
                    <a:gd name="T86" fmla="*/ 210 w 4002"/>
                    <a:gd name="T87" fmla="*/ 840 h 2208"/>
                    <a:gd name="T88" fmla="*/ 402 w 4002"/>
                    <a:gd name="T89" fmla="*/ 780 h 2208"/>
                    <a:gd name="T90" fmla="*/ 660 w 4002"/>
                    <a:gd name="T91" fmla="*/ 798 h 2208"/>
                    <a:gd name="T92" fmla="*/ 774 w 4002"/>
                    <a:gd name="T93" fmla="*/ 882 h 2208"/>
                    <a:gd name="T94" fmla="*/ 966 w 4002"/>
                    <a:gd name="T95" fmla="*/ 816 h 2208"/>
                    <a:gd name="T96" fmla="*/ 1188 w 4002"/>
                    <a:gd name="T97" fmla="*/ 858 h 2208"/>
                    <a:gd name="T98" fmla="*/ 1338 w 4002"/>
                    <a:gd name="T99" fmla="*/ 714 h 2208"/>
                    <a:gd name="T100" fmla="*/ 1266 w 4002"/>
                    <a:gd name="T101" fmla="*/ 432 h 2208"/>
                    <a:gd name="T102" fmla="*/ 1374 w 4002"/>
                    <a:gd name="T103" fmla="*/ 300 h 2208"/>
                    <a:gd name="T104" fmla="*/ 1614 w 4002"/>
                    <a:gd name="T105" fmla="*/ 150 h 2208"/>
                    <a:gd name="T106" fmla="*/ 1854 w 4002"/>
                    <a:gd name="T107" fmla="*/ 78 h 2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02" h="2208">
                      <a:moveTo>
                        <a:pt x="1998" y="0"/>
                      </a:moveTo>
                      <a:lnTo>
                        <a:pt x="2094" y="0"/>
                      </a:lnTo>
                      <a:lnTo>
                        <a:pt x="2136" y="42"/>
                      </a:lnTo>
                      <a:lnTo>
                        <a:pt x="2190" y="114"/>
                      </a:lnTo>
                      <a:lnTo>
                        <a:pt x="2256" y="162"/>
                      </a:lnTo>
                      <a:lnTo>
                        <a:pt x="2316" y="156"/>
                      </a:lnTo>
                      <a:lnTo>
                        <a:pt x="2358" y="150"/>
                      </a:lnTo>
                      <a:lnTo>
                        <a:pt x="2412" y="174"/>
                      </a:lnTo>
                      <a:lnTo>
                        <a:pt x="2442" y="240"/>
                      </a:lnTo>
                      <a:lnTo>
                        <a:pt x="2532" y="240"/>
                      </a:lnTo>
                      <a:lnTo>
                        <a:pt x="2580" y="198"/>
                      </a:lnTo>
                      <a:lnTo>
                        <a:pt x="2622" y="120"/>
                      </a:lnTo>
                      <a:lnTo>
                        <a:pt x="2658" y="60"/>
                      </a:lnTo>
                      <a:lnTo>
                        <a:pt x="2742" y="78"/>
                      </a:lnTo>
                      <a:lnTo>
                        <a:pt x="2754" y="144"/>
                      </a:lnTo>
                      <a:lnTo>
                        <a:pt x="2808" y="168"/>
                      </a:lnTo>
                      <a:lnTo>
                        <a:pt x="2862" y="216"/>
                      </a:lnTo>
                      <a:lnTo>
                        <a:pt x="2910" y="222"/>
                      </a:lnTo>
                      <a:lnTo>
                        <a:pt x="2970" y="294"/>
                      </a:lnTo>
                      <a:lnTo>
                        <a:pt x="3006" y="342"/>
                      </a:lnTo>
                      <a:lnTo>
                        <a:pt x="3048" y="378"/>
                      </a:lnTo>
                      <a:lnTo>
                        <a:pt x="3108" y="378"/>
                      </a:lnTo>
                      <a:lnTo>
                        <a:pt x="3108" y="462"/>
                      </a:lnTo>
                      <a:lnTo>
                        <a:pt x="3156" y="510"/>
                      </a:lnTo>
                      <a:lnTo>
                        <a:pt x="3198" y="570"/>
                      </a:lnTo>
                      <a:lnTo>
                        <a:pt x="3258" y="552"/>
                      </a:lnTo>
                      <a:lnTo>
                        <a:pt x="3312" y="522"/>
                      </a:lnTo>
                      <a:lnTo>
                        <a:pt x="3432" y="540"/>
                      </a:lnTo>
                      <a:lnTo>
                        <a:pt x="3510" y="510"/>
                      </a:lnTo>
                      <a:lnTo>
                        <a:pt x="3588" y="516"/>
                      </a:lnTo>
                      <a:lnTo>
                        <a:pt x="3666" y="558"/>
                      </a:lnTo>
                      <a:lnTo>
                        <a:pt x="3708" y="624"/>
                      </a:lnTo>
                      <a:lnTo>
                        <a:pt x="3786" y="708"/>
                      </a:lnTo>
                      <a:lnTo>
                        <a:pt x="3876" y="696"/>
                      </a:lnTo>
                      <a:lnTo>
                        <a:pt x="3948" y="684"/>
                      </a:lnTo>
                      <a:lnTo>
                        <a:pt x="3996" y="708"/>
                      </a:lnTo>
                      <a:lnTo>
                        <a:pt x="4002" y="708"/>
                      </a:lnTo>
                      <a:lnTo>
                        <a:pt x="3996" y="804"/>
                      </a:lnTo>
                      <a:lnTo>
                        <a:pt x="3984" y="852"/>
                      </a:lnTo>
                      <a:lnTo>
                        <a:pt x="3924" y="876"/>
                      </a:lnTo>
                      <a:lnTo>
                        <a:pt x="3918" y="930"/>
                      </a:lnTo>
                      <a:lnTo>
                        <a:pt x="3948" y="1008"/>
                      </a:lnTo>
                      <a:lnTo>
                        <a:pt x="3906" y="1044"/>
                      </a:lnTo>
                      <a:lnTo>
                        <a:pt x="3834" y="1062"/>
                      </a:lnTo>
                      <a:lnTo>
                        <a:pt x="3702" y="1056"/>
                      </a:lnTo>
                      <a:lnTo>
                        <a:pt x="3690" y="1176"/>
                      </a:lnTo>
                      <a:lnTo>
                        <a:pt x="3666" y="1236"/>
                      </a:lnTo>
                      <a:lnTo>
                        <a:pt x="3654" y="1296"/>
                      </a:lnTo>
                      <a:lnTo>
                        <a:pt x="3732" y="1368"/>
                      </a:lnTo>
                      <a:lnTo>
                        <a:pt x="3720" y="1422"/>
                      </a:lnTo>
                      <a:lnTo>
                        <a:pt x="3678" y="1422"/>
                      </a:lnTo>
                      <a:lnTo>
                        <a:pt x="3612" y="1368"/>
                      </a:lnTo>
                      <a:lnTo>
                        <a:pt x="3558" y="1374"/>
                      </a:lnTo>
                      <a:lnTo>
                        <a:pt x="3498" y="1428"/>
                      </a:lnTo>
                      <a:lnTo>
                        <a:pt x="3516" y="1470"/>
                      </a:lnTo>
                      <a:lnTo>
                        <a:pt x="3624" y="1566"/>
                      </a:lnTo>
                      <a:lnTo>
                        <a:pt x="3666" y="1734"/>
                      </a:lnTo>
                      <a:lnTo>
                        <a:pt x="3630" y="1770"/>
                      </a:lnTo>
                      <a:lnTo>
                        <a:pt x="3618" y="1842"/>
                      </a:lnTo>
                      <a:lnTo>
                        <a:pt x="3510" y="1830"/>
                      </a:lnTo>
                      <a:lnTo>
                        <a:pt x="3438" y="1824"/>
                      </a:lnTo>
                      <a:lnTo>
                        <a:pt x="3378" y="1782"/>
                      </a:lnTo>
                      <a:lnTo>
                        <a:pt x="3276" y="1782"/>
                      </a:lnTo>
                      <a:lnTo>
                        <a:pt x="3258" y="1782"/>
                      </a:lnTo>
                      <a:lnTo>
                        <a:pt x="3222" y="1788"/>
                      </a:lnTo>
                      <a:lnTo>
                        <a:pt x="3180" y="1794"/>
                      </a:lnTo>
                      <a:lnTo>
                        <a:pt x="3162" y="1794"/>
                      </a:lnTo>
                      <a:lnTo>
                        <a:pt x="3150" y="1794"/>
                      </a:lnTo>
                      <a:lnTo>
                        <a:pt x="3114" y="1794"/>
                      </a:lnTo>
                      <a:lnTo>
                        <a:pt x="3078" y="1800"/>
                      </a:lnTo>
                      <a:lnTo>
                        <a:pt x="3048" y="1800"/>
                      </a:lnTo>
                      <a:lnTo>
                        <a:pt x="3036" y="1800"/>
                      </a:lnTo>
                      <a:lnTo>
                        <a:pt x="2952" y="1782"/>
                      </a:lnTo>
                      <a:lnTo>
                        <a:pt x="2892" y="1812"/>
                      </a:lnTo>
                      <a:lnTo>
                        <a:pt x="2904" y="1878"/>
                      </a:lnTo>
                      <a:lnTo>
                        <a:pt x="2874" y="1914"/>
                      </a:lnTo>
                      <a:lnTo>
                        <a:pt x="2814" y="1896"/>
                      </a:lnTo>
                      <a:lnTo>
                        <a:pt x="2760" y="1866"/>
                      </a:lnTo>
                      <a:lnTo>
                        <a:pt x="2706" y="1866"/>
                      </a:lnTo>
                      <a:lnTo>
                        <a:pt x="2670" y="1908"/>
                      </a:lnTo>
                      <a:lnTo>
                        <a:pt x="2652" y="1962"/>
                      </a:lnTo>
                      <a:lnTo>
                        <a:pt x="2658" y="1962"/>
                      </a:lnTo>
                      <a:lnTo>
                        <a:pt x="2616" y="1956"/>
                      </a:lnTo>
                      <a:lnTo>
                        <a:pt x="2562" y="2010"/>
                      </a:lnTo>
                      <a:lnTo>
                        <a:pt x="2496" y="2064"/>
                      </a:lnTo>
                      <a:lnTo>
                        <a:pt x="2388" y="2112"/>
                      </a:lnTo>
                      <a:lnTo>
                        <a:pt x="2298" y="2124"/>
                      </a:lnTo>
                      <a:lnTo>
                        <a:pt x="2244" y="2070"/>
                      </a:lnTo>
                      <a:lnTo>
                        <a:pt x="2184" y="1986"/>
                      </a:lnTo>
                      <a:lnTo>
                        <a:pt x="2124" y="1902"/>
                      </a:lnTo>
                      <a:lnTo>
                        <a:pt x="2082" y="1884"/>
                      </a:lnTo>
                      <a:lnTo>
                        <a:pt x="2040" y="1794"/>
                      </a:lnTo>
                      <a:lnTo>
                        <a:pt x="1980" y="1794"/>
                      </a:lnTo>
                      <a:lnTo>
                        <a:pt x="1842" y="1824"/>
                      </a:lnTo>
                      <a:lnTo>
                        <a:pt x="1722" y="1836"/>
                      </a:lnTo>
                      <a:lnTo>
                        <a:pt x="1638" y="1824"/>
                      </a:lnTo>
                      <a:lnTo>
                        <a:pt x="1518" y="1686"/>
                      </a:lnTo>
                      <a:lnTo>
                        <a:pt x="1392" y="1596"/>
                      </a:lnTo>
                      <a:lnTo>
                        <a:pt x="1236" y="1602"/>
                      </a:lnTo>
                      <a:lnTo>
                        <a:pt x="1050" y="1686"/>
                      </a:lnTo>
                      <a:lnTo>
                        <a:pt x="1092" y="1992"/>
                      </a:lnTo>
                      <a:lnTo>
                        <a:pt x="1128" y="2208"/>
                      </a:lnTo>
                      <a:lnTo>
                        <a:pt x="1128" y="2208"/>
                      </a:lnTo>
                      <a:lnTo>
                        <a:pt x="1074" y="2208"/>
                      </a:lnTo>
                      <a:lnTo>
                        <a:pt x="1032" y="2148"/>
                      </a:lnTo>
                      <a:lnTo>
                        <a:pt x="1002" y="2100"/>
                      </a:lnTo>
                      <a:lnTo>
                        <a:pt x="942" y="2052"/>
                      </a:lnTo>
                      <a:lnTo>
                        <a:pt x="876" y="2046"/>
                      </a:lnTo>
                      <a:lnTo>
                        <a:pt x="816" y="2070"/>
                      </a:lnTo>
                      <a:lnTo>
                        <a:pt x="774" y="2136"/>
                      </a:lnTo>
                      <a:lnTo>
                        <a:pt x="756" y="2190"/>
                      </a:lnTo>
                      <a:lnTo>
                        <a:pt x="636" y="2172"/>
                      </a:lnTo>
                      <a:lnTo>
                        <a:pt x="558" y="2202"/>
                      </a:lnTo>
                      <a:lnTo>
                        <a:pt x="342" y="1836"/>
                      </a:lnTo>
                      <a:lnTo>
                        <a:pt x="324" y="1722"/>
                      </a:lnTo>
                      <a:lnTo>
                        <a:pt x="396" y="1596"/>
                      </a:lnTo>
                      <a:lnTo>
                        <a:pt x="288" y="1488"/>
                      </a:lnTo>
                      <a:lnTo>
                        <a:pt x="216" y="1470"/>
                      </a:lnTo>
                      <a:lnTo>
                        <a:pt x="240" y="1404"/>
                      </a:lnTo>
                      <a:lnTo>
                        <a:pt x="204" y="1356"/>
                      </a:lnTo>
                      <a:lnTo>
                        <a:pt x="144" y="1356"/>
                      </a:lnTo>
                      <a:lnTo>
                        <a:pt x="66" y="1308"/>
                      </a:lnTo>
                      <a:lnTo>
                        <a:pt x="18" y="1266"/>
                      </a:lnTo>
                      <a:lnTo>
                        <a:pt x="6" y="1236"/>
                      </a:lnTo>
                      <a:lnTo>
                        <a:pt x="42" y="1194"/>
                      </a:lnTo>
                      <a:lnTo>
                        <a:pt x="0" y="1152"/>
                      </a:lnTo>
                      <a:lnTo>
                        <a:pt x="0" y="1026"/>
                      </a:lnTo>
                      <a:lnTo>
                        <a:pt x="48" y="954"/>
                      </a:lnTo>
                      <a:lnTo>
                        <a:pt x="126" y="1050"/>
                      </a:lnTo>
                      <a:lnTo>
                        <a:pt x="162" y="996"/>
                      </a:lnTo>
                      <a:lnTo>
                        <a:pt x="150" y="918"/>
                      </a:lnTo>
                      <a:lnTo>
                        <a:pt x="210" y="840"/>
                      </a:lnTo>
                      <a:lnTo>
                        <a:pt x="270" y="798"/>
                      </a:lnTo>
                      <a:lnTo>
                        <a:pt x="330" y="768"/>
                      </a:lnTo>
                      <a:lnTo>
                        <a:pt x="402" y="780"/>
                      </a:lnTo>
                      <a:lnTo>
                        <a:pt x="504" y="738"/>
                      </a:lnTo>
                      <a:lnTo>
                        <a:pt x="600" y="738"/>
                      </a:lnTo>
                      <a:lnTo>
                        <a:pt x="660" y="798"/>
                      </a:lnTo>
                      <a:lnTo>
                        <a:pt x="690" y="858"/>
                      </a:lnTo>
                      <a:lnTo>
                        <a:pt x="726" y="888"/>
                      </a:lnTo>
                      <a:lnTo>
                        <a:pt x="774" y="882"/>
                      </a:lnTo>
                      <a:lnTo>
                        <a:pt x="858" y="864"/>
                      </a:lnTo>
                      <a:lnTo>
                        <a:pt x="906" y="816"/>
                      </a:lnTo>
                      <a:lnTo>
                        <a:pt x="966" y="816"/>
                      </a:lnTo>
                      <a:lnTo>
                        <a:pt x="1068" y="780"/>
                      </a:lnTo>
                      <a:lnTo>
                        <a:pt x="1146" y="828"/>
                      </a:lnTo>
                      <a:lnTo>
                        <a:pt x="1188" y="858"/>
                      </a:lnTo>
                      <a:lnTo>
                        <a:pt x="1308" y="816"/>
                      </a:lnTo>
                      <a:lnTo>
                        <a:pt x="1356" y="774"/>
                      </a:lnTo>
                      <a:lnTo>
                        <a:pt x="1338" y="714"/>
                      </a:lnTo>
                      <a:lnTo>
                        <a:pt x="1230" y="642"/>
                      </a:lnTo>
                      <a:lnTo>
                        <a:pt x="1254" y="552"/>
                      </a:lnTo>
                      <a:lnTo>
                        <a:pt x="1266" y="432"/>
                      </a:lnTo>
                      <a:lnTo>
                        <a:pt x="1242" y="336"/>
                      </a:lnTo>
                      <a:lnTo>
                        <a:pt x="1302" y="300"/>
                      </a:lnTo>
                      <a:lnTo>
                        <a:pt x="1374" y="300"/>
                      </a:lnTo>
                      <a:lnTo>
                        <a:pt x="1476" y="246"/>
                      </a:lnTo>
                      <a:lnTo>
                        <a:pt x="1542" y="234"/>
                      </a:lnTo>
                      <a:lnTo>
                        <a:pt x="1614" y="150"/>
                      </a:lnTo>
                      <a:lnTo>
                        <a:pt x="1698" y="132"/>
                      </a:lnTo>
                      <a:lnTo>
                        <a:pt x="1770" y="120"/>
                      </a:lnTo>
                      <a:lnTo>
                        <a:pt x="1854" y="78"/>
                      </a:lnTo>
                      <a:lnTo>
                        <a:pt x="1902" y="24"/>
                      </a:lnTo>
                      <a:lnTo>
                        <a:pt x="199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5" name="Freeform 106">
                  <a:extLst>
                    <a:ext uri="{FF2B5EF4-FFF2-40B4-BE49-F238E27FC236}">
                      <a16:creationId xmlns:a16="http://schemas.microsoft.com/office/drawing/2014/main" id="{7055B103-9580-4E67-BDC8-156E1704CF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41" y="-1416"/>
                  <a:ext cx="2268" cy="1860"/>
                </a:xfrm>
                <a:custGeom>
                  <a:avLst/>
                  <a:gdLst>
                    <a:gd name="T0" fmla="*/ 2124 w 2268"/>
                    <a:gd name="T1" fmla="*/ 1830 h 1860"/>
                    <a:gd name="T2" fmla="*/ 744 w 2268"/>
                    <a:gd name="T3" fmla="*/ 6 h 1860"/>
                    <a:gd name="T4" fmla="*/ 978 w 2268"/>
                    <a:gd name="T5" fmla="*/ 402 h 1860"/>
                    <a:gd name="T6" fmla="*/ 1152 w 2268"/>
                    <a:gd name="T7" fmla="*/ 246 h 1860"/>
                    <a:gd name="T8" fmla="*/ 1326 w 2268"/>
                    <a:gd name="T9" fmla="*/ 198 h 1860"/>
                    <a:gd name="T10" fmla="*/ 1524 w 2268"/>
                    <a:gd name="T11" fmla="*/ 258 h 1860"/>
                    <a:gd name="T12" fmla="*/ 1710 w 2268"/>
                    <a:gd name="T13" fmla="*/ 378 h 1860"/>
                    <a:gd name="T14" fmla="*/ 1824 w 2268"/>
                    <a:gd name="T15" fmla="*/ 666 h 1860"/>
                    <a:gd name="T16" fmla="*/ 1848 w 2268"/>
                    <a:gd name="T17" fmla="*/ 960 h 1860"/>
                    <a:gd name="T18" fmla="*/ 2034 w 2268"/>
                    <a:gd name="T19" fmla="*/ 1170 h 1860"/>
                    <a:gd name="T20" fmla="*/ 2040 w 2268"/>
                    <a:gd name="T21" fmla="*/ 1368 h 1860"/>
                    <a:gd name="T22" fmla="*/ 2208 w 2268"/>
                    <a:gd name="T23" fmla="*/ 1464 h 1860"/>
                    <a:gd name="T24" fmla="*/ 2256 w 2268"/>
                    <a:gd name="T25" fmla="*/ 1590 h 1860"/>
                    <a:gd name="T26" fmla="*/ 2118 w 2268"/>
                    <a:gd name="T27" fmla="*/ 1758 h 1860"/>
                    <a:gd name="T28" fmla="*/ 2040 w 2268"/>
                    <a:gd name="T29" fmla="*/ 1860 h 1860"/>
                    <a:gd name="T30" fmla="*/ 1938 w 2268"/>
                    <a:gd name="T31" fmla="*/ 1848 h 1860"/>
                    <a:gd name="T32" fmla="*/ 1848 w 2268"/>
                    <a:gd name="T33" fmla="*/ 1842 h 1860"/>
                    <a:gd name="T34" fmla="*/ 1716 w 2268"/>
                    <a:gd name="T35" fmla="*/ 1818 h 1860"/>
                    <a:gd name="T36" fmla="*/ 1608 w 2268"/>
                    <a:gd name="T37" fmla="*/ 1770 h 1860"/>
                    <a:gd name="T38" fmla="*/ 1560 w 2268"/>
                    <a:gd name="T39" fmla="*/ 1656 h 1860"/>
                    <a:gd name="T40" fmla="*/ 1482 w 2268"/>
                    <a:gd name="T41" fmla="*/ 1638 h 1860"/>
                    <a:gd name="T42" fmla="*/ 1410 w 2268"/>
                    <a:gd name="T43" fmla="*/ 1692 h 1860"/>
                    <a:gd name="T44" fmla="*/ 1284 w 2268"/>
                    <a:gd name="T45" fmla="*/ 1722 h 1860"/>
                    <a:gd name="T46" fmla="*/ 1146 w 2268"/>
                    <a:gd name="T47" fmla="*/ 1644 h 1860"/>
                    <a:gd name="T48" fmla="*/ 1074 w 2268"/>
                    <a:gd name="T49" fmla="*/ 1590 h 1860"/>
                    <a:gd name="T50" fmla="*/ 1038 w 2268"/>
                    <a:gd name="T51" fmla="*/ 1584 h 1860"/>
                    <a:gd name="T52" fmla="*/ 996 w 2268"/>
                    <a:gd name="T53" fmla="*/ 1602 h 1860"/>
                    <a:gd name="T54" fmla="*/ 948 w 2268"/>
                    <a:gd name="T55" fmla="*/ 1578 h 1860"/>
                    <a:gd name="T56" fmla="*/ 876 w 2268"/>
                    <a:gd name="T57" fmla="*/ 1476 h 1860"/>
                    <a:gd name="T58" fmla="*/ 780 w 2268"/>
                    <a:gd name="T59" fmla="*/ 1326 h 1860"/>
                    <a:gd name="T60" fmla="*/ 696 w 2268"/>
                    <a:gd name="T61" fmla="*/ 1278 h 1860"/>
                    <a:gd name="T62" fmla="*/ 672 w 2268"/>
                    <a:gd name="T63" fmla="*/ 1296 h 1860"/>
                    <a:gd name="T64" fmla="*/ 678 w 2268"/>
                    <a:gd name="T65" fmla="*/ 1332 h 1860"/>
                    <a:gd name="T66" fmla="*/ 606 w 2268"/>
                    <a:gd name="T67" fmla="*/ 1284 h 1860"/>
                    <a:gd name="T68" fmla="*/ 522 w 2268"/>
                    <a:gd name="T69" fmla="*/ 1188 h 1860"/>
                    <a:gd name="T70" fmla="*/ 432 w 2268"/>
                    <a:gd name="T71" fmla="*/ 1008 h 1860"/>
                    <a:gd name="T72" fmla="*/ 264 w 2268"/>
                    <a:gd name="T73" fmla="*/ 858 h 1860"/>
                    <a:gd name="T74" fmla="*/ 258 w 2268"/>
                    <a:gd name="T75" fmla="*/ 630 h 1860"/>
                    <a:gd name="T76" fmla="*/ 108 w 2268"/>
                    <a:gd name="T77" fmla="*/ 432 h 1860"/>
                    <a:gd name="T78" fmla="*/ 12 w 2268"/>
                    <a:gd name="T79" fmla="*/ 306 h 1860"/>
                    <a:gd name="T80" fmla="*/ 0 w 2268"/>
                    <a:gd name="T81" fmla="*/ 114 h 1860"/>
                    <a:gd name="T82" fmla="*/ 204 w 2268"/>
                    <a:gd name="T83" fmla="*/ 174 h 1860"/>
                    <a:gd name="T84" fmla="*/ 306 w 2268"/>
                    <a:gd name="T85" fmla="*/ 72 h 1860"/>
                    <a:gd name="T86" fmla="*/ 396 w 2268"/>
                    <a:gd name="T87" fmla="*/ 198 h 1860"/>
                    <a:gd name="T88" fmla="*/ 744 w 2268"/>
                    <a:gd name="T89" fmla="*/ 0 h 18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268" h="1860">
                      <a:moveTo>
                        <a:pt x="2124" y="1830"/>
                      </a:moveTo>
                      <a:lnTo>
                        <a:pt x="2124" y="1836"/>
                      </a:lnTo>
                      <a:lnTo>
                        <a:pt x="2124" y="1830"/>
                      </a:lnTo>
                      <a:lnTo>
                        <a:pt x="2124" y="1830"/>
                      </a:lnTo>
                      <a:close/>
                      <a:moveTo>
                        <a:pt x="744" y="0"/>
                      </a:moveTo>
                      <a:lnTo>
                        <a:pt x="744" y="6"/>
                      </a:lnTo>
                      <a:lnTo>
                        <a:pt x="852" y="138"/>
                      </a:lnTo>
                      <a:lnTo>
                        <a:pt x="906" y="390"/>
                      </a:lnTo>
                      <a:lnTo>
                        <a:pt x="978" y="402"/>
                      </a:lnTo>
                      <a:lnTo>
                        <a:pt x="1044" y="366"/>
                      </a:lnTo>
                      <a:lnTo>
                        <a:pt x="1098" y="288"/>
                      </a:lnTo>
                      <a:lnTo>
                        <a:pt x="1152" y="246"/>
                      </a:lnTo>
                      <a:lnTo>
                        <a:pt x="1200" y="252"/>
                      </a:lnTo>
                      <a:lnTo>
                        <a:pt x="1260" y="198"/>
                      </a:lnTo>
                      <a:lnTo>
                        <a:pt x="1326" y="198"/>
                      </a:lnTo>
                      <a:lnTo>
                        <a:pt x="1356" y="222"/>
                      </a:lnTo>
                      <a:lnTo>
                        <a:pt x="1494" y="222"/>
                      </a:lnTo>
                      <a:lnTo>
                        <a:pt x="1524" y="258"/>
                      </a:lnTo>
                      <a:lnTo>
                        <a:pt x="1542" y="288"/>
                      </a:lnTo>
                      <a:lnTo>
                        <a:pt x="1590" y="288"/>
                      </a:lnTo>
                      <a:lnTo>
                        <a:pt x="1710" y="378"/>
                      </a:lnTo>
                      <a:lnTo>
                        <a:pt x="1800" y="402"/>
                      </a:lnTo>
                      <a:lnTo>
                        <a:pt x="1824" y="492"/>
                      </a:lnTo>
                      <a:lnTo>
                        <a:pt x="1824" y="666"/>
                      </a:lnTo>
                      <a:lnTo>
                        <a:pt x="1830" y="768"/>
                      </a:lnTo>
                      <a:lnTo>
                        <a:pt x="1860" y="828"/>
                      </a:lnTo>
                      <a:lnTo>
                        <a:pt x="1848" y="960"/>
                      </a:lnTo>
                      <a:lnTo>
                        <a:pt x="1908" y="1050"/>
                      </a:lnTo>
                      <a:lnTo>
                        <a:pt x="2022" y="1074"/>
                      </a:lnTo>
                      <a:lnTo>
                        <a:pt x="2034" y="1170"/>
                      </a:lnTo>
                      <a:lnTo>
                        <a:pt x="1956" y="1212"/>
                      </a:lnTo>
                      <a:lnTo>
                        <a:pt x="1974" y="1290"/>
                      </a:lnTo>
                      <a:lnTo>
                        <a:pt x="2040" y="1368"/>
                      </a:lnTo>
                      <a:lnTo>
                        <a:pt x="2100" y="1422"/>
                      </a:lnTo>
                      <a:lnTo>
                        <a:pt x="2172" y="1428"/>
                      </a:lnTo>
                      <a:lnTo>
                        <a:pt x="2208" y="1464"/>
                      </a:lnTo>
                      <a:lnTo>
                        <a:pt x="2208" y="1524"/>
                      </a:lnTo>
                      <a:lnTo>
                        <a:pt x="2190" y="1566"/>
                      </a:lnTo>
                      <a:lnTo>
                        <a:pt x="2256" y="1590"/>
                      </a:lnTo>
                      <a:lnTo>
                        <a:pt x="2268" y="1656"/>
                      </a:lnTo>
                      <a:lnTo>
                        <a:pt x="2148" y="1704"/>
                      </a:lnTo>
                      <a:lnTo>
                        <a:pt x="2118" y="1758"/>
                      </a:lnTo>
                      <a:lnTo>
                        <a:pt x="2124" y="1830"/>
                      </a:lnTo>
                      <a:lnTo>
                        <a:pt x="2082" y="1848"/>
                      </a:lnTo>
                      <a:lnTo>
                        <a:pt x="2040" y="1860"/>
                      </a:lnTo>
                      <a:lnTo>
                        <a:pt x="1992" y="1860"/>
                      </a:lnTo>
                      <a:lnTo>
                        <a:pt x="1962" y="1848"/>
                      </a:lnTo>
                      <a:lnTo>
                        <a:pt x="1938" y="1848"/>
                      </a:lnTo>
                      <a:lnTo>
                        <a:pt x="1920" y="1848"/>
                      </a:lnTo>
                      <a:lnTo>
                        <a:pt x="1896" y="1848"/>
                      </a:lnTo>
                      <a:lnTo>
                        <a:pt x="1848" y="1842"/>
                      </a:lnTo>
                      <a:lnTo>
                        <a:pt x="1800" y="1830"/>
                      </a:lnTo>
                      <a:lnTo>
                        <a:pt x="1758" y="1824"/>
                      </a:lnTo>
                      <a:lnTo>
                        <a:pt x="1716" y="1818"/>
                      </a:lnTo>
                      <a:lnTo>
                        <a:pt x="1674" y="1806"/>
                      </a:lnTo>
                      <a:lnTo>
                        <a:pt x="1638" y="1788"/>
                      </a:lnTo>
                      <a:lnTo>
                        <a:pt x="1608" y="1770"/>
                      </a:lnTo>
                      <a:lnTo>
                        <a:pt x="1590" y="1740"/>
                      </a:lnTo>
                      <a:lnTo>
                        <a:pt x="1578" y="1698"/>
                      </a:lnTo>
                      <a:lnTo>
                        <a:pt x="1560" y="1656"/>
                      </a:lnTo>
                      <a:lnTo>
                        <a:pt x="1536" y="1632"/>
                      </a:lnTo>
                      <a:lnTo>
                        <a:pt x="1506" y="1626"/>
                      </a:lnTo>
                      <a:lnTo>
                        <a:pt x="1482" y="1638"/>
                      </a:lnTo>
                      <a:lnTo>
                        <a:pt x="1452" y="1656"/>
                      </a:lnTo>
                      <a:lnTo>
                        <a:pt x="1434" y="1674"/>
                      </a:lnTo>
                      <a:lnTo>
                        <a:pt x="1410" y="1692"/>
                      </a:lnTo>
                      <a:lnTo>
                        <a:pt x="1374" y="1698"/>
                      </a:lnTo>
                      <a:lnTo>
                        <a:pt x="1320" y="1716"/>
                      </a:lnTo>
                      <a:lnTo>
                        <a:pt x="1284" y="1722"/>
                      </a:lnTo>
                      <a:lnTo>
                        <a:pt x="1236" y="1704"/>
                      </a:lnTo>
                      <a:lnTo>
                        <a:pt x="1194" y="1674"/>
                      </a:lnTo>
                      <a:lnTo>
                        <a:pt x="1146" y="1644"/>
                      </a:lnTo>
                      <a:lnTo>
                        <a:pt x="1110" y="1614"/>
                      </a:lnTo>
                      <a:lnTo>
                        <a:pt x="1092" y="1596"/>
                      </a:lnTo>
                      <a:lnTo>
                        <a:pt x="1074" y="1590"/>
                      </a:lnTo>
                      <a:lnTo>
                        <a:pt x="1062" y="1584"/>
                      </a:lnTo>
                      <a:lnTo>
                        <a:pt x="1050" y="1584"/>
                      </a:lnTo>
                      <a:lnTo>
                        <a:pt x="1038" y="1584"/>
                      </a:lnTo>
                      <a:lnTo>
                        <a:pt x="1026" y="1590"/>
                      </a:lnTo>
                      <a:lnTo>
                        <a:pt x="1014" y="1596"/>
                      </a:lnTo>
                      <a:lnTo>
                        <a:pt x="996" y="1602"/>
                      </a:lnTo>
                      <a:lnTo>
                        <a:pt x="984" y="1602"/>
                      </a:lnTo>
                      <a:lnTo>
                        <a:pt x="966" y="1596"/>
                      </a:lnTo>
                      <a:lnTo>
                        <a:pt x="948" y="1578"/>
                      </a:lnTo>
                      <a:lnTo>
                        <a:pt x="930" y="1554"/>
                      </a:lnTo>
                      <a:lnTo>
                        <a:pt x="900" y="1512"/>
                      </a:lnTo>
                      <a:lnTo>
                        <a:pt x="876" y="1476"/>
                      </a:lnTo>
                      <a:lnTo>
                        <a:pt x="858" y="1422"/>
                      </a:lnTo>
                      <a:lnTo>
                        <a:pt x="822" y="1368"/>
                      </a:lnTo>
                      <a:lnTo>
                        <a:pt x="780" y="1326"/>
                      </a:lnTo>
                      <a:lnTo>
                        <a:pt x="726" y="1290"/>
                      </a:lnTo>
                      <a:lnTo>
                        <a:pt x="708" y="1284"/>
                      </a:lnTo>
                      <a:lnTo>
                        <a:pt x="696" y="1278"/>
                      </a:lnTo>
                      <a:lnTo>
                        <a:pt x="684" y="1278"/>
                      </a:lnTo>
                      <a:lnTo>
                        <a:pt x="678" y="1284"/>
                      </a:lnTo>
                      <a:lnTo>
                        <a:pt x="672" y="1296"/>
                      </a:lnTo>
                      <a:lnTo>
                        <a:pt x="672" y="1308"/>
                      </a:lnTo>
                      <a:lnTo>
                        <a:pt x="672" y="1320"/>
                      </a:lnTo>
                      <a:lnTo>
                        <a:pt x="678" y="1332"/>
                      </a:lnTo>
                      <a:lnTo>
                        <a:pt x="672" y="1326"/>
                      </a:lnTo>
                      <a:lnTo>
                        <a:pt x="606" y="1284"/>
                      </a:lnTo>
                      <a:lnTo>
                        <a:pt x="606" y="1284"/>
                      </a:lnTo>
                      <a:lnTo>
                        <a:pt x="606" y="1248"/>
                      </a:lnTo>
                      <a:lnTo>
                        <a:pt x="564" y="1230"/>
                      </a:lnTo>
                      <a:lnTo>
                        <a:pt x="522" y="1188"/>
                      </a:lnTo>
                      <a:lnTo>
                        <a:pt x="498" y="1116"/>
                      </a:lnTo>
                      <a:lnTo>
                        <a:pt x="438" y="1050"/>
                      </a:lnTo>
                      <a:lnTo>
                        <a:pt x="432" y="1008"/>
                      </a:lnTo>
                      <a:lnTo>
                        <a:pt x="378" y="1008"/>
                      </a:lnTo>
                      <a:lnTo>
                        <a:pt x="318" y="936"/>
                      </a:lnTo>
                      <a:lnTo>
                        <a:pt x="264" y="858"/>
                      </a:lnTo>
                      <a:lnTo>
                        <a:pt x="210" y="804"/>
                      </a:lnTo>
                      <a:lnTo>
                        <a:pt x="252" y="714"/>
                      </a:lnTo>
                      <a:lnTo>
                        <a:pt x="258" y="630"/>
                      </a:lnTo>
                      <a:lnTo>
                        <a:pt x="186" y="558"/>
                      </a:lnTo>
                      <a:lnTo>
                        <a:pt x="144" y="516"/>
                      </a:lnTo>
                      <a:lnTo>
                        <a:pt x="108" y="432"/>
                      </a:lnTo>
                      <a:lnTo>
                        <a:pt x="96" y="384"/>
                      </a:lnTo>
                      <a:lnTo>
                        <a:pt x="54" y="330"/>
                      </a:lnTo>
                      <a:lnTo>
                        <a:pt x="12" y="306"/>
                      </a:lnTo>
                      <a:lnTo>
                        <a:pt x="24" y="222"/>
                      </a:lnTo>
                      <a:lnTo>
                        <a:pt x="0" y="114"/>
                      </a:lnTo>
                      <a:lnTo>
                        <a:pt x="0" y="114"/>
                      </a:lnTo>
                      <a:lnTo>
                        <a:pt x="60" y="114"/>
                      </a:lnTo>
                      <a:lnTo>
                        <a:pt x="126" y="168"/>
                      </a:lnTo>
                      <a:lnTo>
                        <a:pt x="204" y="174"/>
                      </a:lnTo>
                      <a:lnTo>
                        <a:pt x="258" y="126"/>
                      </a:lnTo>
                      <a:lnTo>
                        <a:pt x="294" y="108"/>
                      </a:lnTo>
                      <a:lnTo>
                        <a:pt x="306" y="72"/>
                      </a:lnTo>
                      <a:lnTo>
                        <a:pt x="366" y="78"/>
                      </a:lnTo>
                      <a:lnTo>
                        <a:pt x="354" y="138"/>
                      </a:lnTo>
                      <a:lnTo>
                        <a:pt x="396" y="198"/>
                      </a:lnTo>
                      <a:lnTo>
                        <a:pt x="462" y="222"/>
                      </a:lnTo>
                      <a:lnTo>
                        <a:pt x="576" y="192"/>
                      </a:lnTo>
                      <a:lnTo>
                        <a:pt x="74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6" name="Freeform 107">
                  <a:extLst>
                    <a:ext uri="{FF2B5EF4-FFF2-40B4-BE49-F238E27FC236}">
                      <a16:creationId xmlns:a16="http://schemas.microsoft.com/office/drawing/2014/main" id="{2AA50B0C-F7C6-4BA5-BABA-622403858B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7" y="-1812"/>
                  <a:ext cx="1794" cy="954"/>
                </a:xfrm>
                <a:custGeom>
                  <a:avLst/>
                  <a:gdLst>
                    <a:gd name="T0" fmla="*/ 858 w 1794"/>
                    <a:gd name="T1" fmla="*/ 6 h 954"/>
                    <a:gd name="T2" fmla="*/ 978 w 1794"/>
                    <a:gd name="T3" fmla="*/ 48 h 954"/>
                    <a:gd name="T4" fmla="*/ 1038 w 1794"/>
                    <a:gd name="T5" fmla="*/ 168 h 954"/>
                    <a:gd name="T6" fmla="*/ 1152 w 1794"/>
                    <a:gd name="T7" fmla="*/ 156 h 954"/>
                    <a:gd name="T8" fmla="*/ 1164 w 1794"/>
                    <a:gd name="T9" fmla="*/ 162 h 954"/>
                    <a:gd name="T10" fmla="*/ 1188 w 1794"/>
                    <a:gd name="T11" fmla="*/ 180 h 954"/>
                    <a:gd name="T12" fmla="*/ 1218 w 1794"/>
                    <a:gd name="T13" fmla="*/ 204 h 954"/>
                    <a:gd name="T14" fmla="*/ 1242 w 1794"/>
                    <a:gd name="T15" fmla="*/ 246 h 954"/>
                    <a:gd name="T16" fmla="*/ 1266 w 1794"/>
                    <a:gd name="T17" fmla="*/ 306 h 954"/>
                    <a:gd name="T18" fmla="*/ 1368 w 1794"/>
                    <a:gd name="T19" fmla="*/ 384 h 954"/>
                    <a:gd name="T20" fmla="*/ 1506 w 1794"/>
                    <a:gd name="T21" fmla="*/ 402 h 954"/>
                    <a:gd name="T22" fmla="*/ 1650 w 1794"/>
                    <a:gd name="T23" fmla="*/ 504 h 954"/>
                    <a:gd name="T24" fmla="*/ 1776 w 1794"/>
                    <a:gd name="T25" fmla="*/ 564 h 954"/>
                    <a:gd name="T26" fmla="*/ 1722 w 1794"/>
                    <a:gd name="T27" fmla="*/ 690 h 954"/>
                    <a:gd name="T28" fmla="*/ 1644 w 1794"/>
                    <a:gd name="T29" fmla="*/ 732 h 954"/>
                    <a:gd name="T30" fmla="*/ 1554 w 1794"/>
                    <a:gd name="T31" fmla="*/ 828 h 954"/>
                    <a:gd name="T32" fmla="*/ 1482 w 1794"/>
                    <a:gd name="T33" fmla="*/ 930 h 954"/>
                    <a:gd name="T34" fmla="*/ 1356 w 1794"/>
                    <a:gd name="T35" fmla="*/ 930 h 954"/>
                    <a:gd name="T36" fmla="*/ 1248 w 1794"/>
                    <a:gd name="T37" fmla="*/ 888 h 954"/>
                    <a:gd name="T38" fmla="*/ 1134 w 1794"/>
                    <a:gd name="T39" fmla="*/ 774 h 954"/>
                    <a:gd name="T40" fmla="*/ 966 w 1794"/>
                    <a:gd name="T41" fmla="*/ 684 h 954"/>
                    <a:gd name="T42" fmla="*/ 918 w 1794"/>
                    <a:gd name="T43" fmla="*/ 618 h 954"/>
                    <a:gd name="T44" fmla="*/ 750 w 1794"/>
                    <a:gd name="T45" fmla="*/ 594 h 954"/>
                    <a:gd name="T46" fmla="*/ 624 w 1794"/>
                    <a:gd name="T47" fmla="*/ 648 h 954"/>
                    <a:gd name="T48" fmla="*/ 522 w 1794"/>
                    <a:gd name="T49" fmla="*/ 684 h 954"/>
                    <a:gd name="T50" fmla="*/ 402 w 1794"/>
                    <a:gd name="T51" fmla="*/ 798 h 954"/>
                    <a:gd name="T52" fmla="*/ 276 w 1794"/>
                    <a:gd name="T53" fmla="*/ 534 h 954"/>
                    <a:gd name="T54" fmla="*/ 168 w 1794"/>
                    <a:gd name="T55" fmla="*/ 396 h 954"/>
                    <a:gd name="T56" fmla="*/ 0 w 1794"/>
                    <a:gd name="T57" fmla="*/ 186 h 954"/>
                    <a:gd name="T58" fmla="*/ 198 w 1794"/>
                    <a:gd name="T59" fmla="*/ 174 h 954"/>
                    <a:gd name="T60" fmla="*/ 258 w 1794"/>
                    <a:gd name="T61" fmla="*/ 54 h 954"/>
                    <a:gd name="T62" fmla="*/ 384 w 1794"/>
                    <a:gd name="T63" fmla="*/ 36 h 954"/>
                    <a:gd name="T64" fmla="*/ 474 w 1794"/>
                    <a:gd name="T65" fmla="*/ 132 h 954"/>
                    <a:gd name="T66" fmla="*/ 570 w 1794"/>
                    <a:gd name="T67" fmla="*/ 192 h 954"/>
                    <a:gd name="T68" fmla="*/ 672 w 1794"/>
                    <a:gd name="T69" fmla="*/ 78 h 9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94" h="954">
                      <a:moveTo>
                        <a:pt x="786" y="0"/>
                      </a:moveTo>
                      <a:lnTo>
                        <a:pt x="858" y="6"/>
                      </a:lnTo>
                      <a:lnTo>
                        <a:pt x="942" y="6"/>
                      </a:lnTo>
                      <a:lnTo>
                        <a:pt x="978" y="48"/>
                      </a:lnTo>
                      <a:lnTo>
                        <a:pt x="966" y="102"/>
                      </a:lnTo>
                      <a:lnTo>
                        <a:pt x="1038" y="168"/>
                      </a:lnTo>
                      <a:lnTo>
                        <a:pt x="1092" y="192"/>
                      </a:lnTo>
                      <a:lnTo>
                        <a:pt x="1152" y="156"/>
                      </a:lnTo>
                      <a:lnTo>
                        <a:pt x="1152" y="156"/>
                      </a:lnTo>
                      <a:lnTo>
                        <a:pt x="1164" y="162"/>
                      </a:lnTo>
                      <a:lnTo>
                        <a:pt x="1176" y="168"/>
                      </a:lnTo>
                      <a:lnTo>
                        <a:pt x="1188" y="180"/>
                      </a:lnTo>
                      <a:lnTo>
                        <a:pt x="1206" y="192"/>
                      </a:lnTo>
                      <a:lnTo>
                        <a:pt x="1218" y="204"/>
                      </a:lnTo>
                      <a:lnTo>
                        <a:pt x="1230" y="210"/>
                      </a:lnTo>
                      <a:lnTo>
                        <a:pt x="1242" y="246"/>
                      </a:lnTo>
                      <a:lnTo>
                        <a:pt x="1254" y="282"/>
                      </a:lnTo>
                      <a:lnTo>
                        <a:pt x="1266" y="306"/>
                      </a:lnTo>
                      <a:lnTo>
                        <a:pt x="1326" y="342"/>
                      </a:lnTo>
                      <a:lnTo>
                        <a:pt x="1368" y="384"/>
                      </a:lnTo>
                      <a:lnTo>
                        <a:pt x="1452" y="384"/>
                      </a:lnTo>
                      <a:lnTo>
                        <a:pt x="1506" y="402"/>
                      </a:lnTo>
                      <a:lnTo>
                        <a:pt x="1572" y="492"/>
                      </a:lnTo>
                      <a:lnTo>
                        <a:pt x="1650" y="504"/>
                      </a:lnTo>
                      <a:lnTo>
                        <a:pt x="1740" y="510"/>
                      </a:lnTo>
                      <a:lnTo>
                        <a:pt x="1776" y="564"/>
                      </a:lnTo>
                      <a:lnTo>
                        <a:pt x="1794" y="636"/>
                      </a:lnTo>
                      <a:lnTo>
                        <a:pt x="1722" y="690"/>
                      </a:lnTo>
                      <a:lnTo>
                        <a:pt x="1674" y="678"/>
                      </a:lnTo>
                      <a:lnTo>
                        <a:pt x="1644" y="732"/>
                      </a:lnTo>
                      <a:lnTo>
                        <a:pt x="1626" y="786"/>
                      </a:lnTo>
                      <a:lnTo>
                        <a:pt x="1554" y="828"/>
                      </a:lnTo>
                      <a:lnTo>
                        <a:pt x="1494" y="876"/>
                      </a:lnTo>
                      <a:lnTo>
                        <a:pt x="1482" y="930"/>
                      </a:lnTo>
                      <a:lnTo>
                        <a:pt x="1422" y="954"/>
                      </a:lnTo>
                      <a:lnTo>
                        <a:pt x="1356" y="930"/>
                      </a:lnTo>
                      <a:lnTo>
                        <a:pt x="1302" y="918"/>
                      </a:lnTo>
                      <a:lnTo>
                        <a:pt x="1248" y="888"/>
                      </a:lnTo>
                      <a:lnTo>
                        <a:pt x="1224" y="798"/>
                      </a:lnTo>
                      <a:lnTo>
                        <a:pt x="1134" y="774"/>
                      </a:lnTo>
                      <a:lnTo>
                        <a:pt x="1014" y="684"/>
                      </a:lnTo>
                      <a:lnTo>
                        <a:pt x="966" y="684"/>
                      </a:lnTo>
                      <a:lnTo>
                        <a:pt x="948" y="654"/>
                      </a:lnTo>
                      <a:lnTo>
                        <a:pt x="918" y="618"/>
                      </a:lnTo>
                      <a:lnTo>
                        <a:pt x="780" y="618"/>
                      </a:lnTo>
                      <a:lnTo>
                        <a:pt x="750" y="594"/>
                      </a:lnTo>
                      <a:lnTo>
                        <a:pt x="684" y="594"/>
                      </a:lnTo>
                      <a:lnTo>
                        <a:pt x="624" y="648"/>
                      </a:lnTo>
                      <a:lnTo>
                        <a:pt x="576" y="642"/>
                      </a:lnTo>
                      <a:lnTo>
                        <a:pt x="522" y="684"/>
                      </a:lnTo>
                      <a:lnTo>
                        <a:pt x="468" y="762"/>
                      </a:lnTo>
                      <a:lnTo>
                        <a:pt x="402" y="798"/>
                      </a:lnTo>
                      <a:lnTo>
                        <a:pt x="330" y="786"/>
                      </a:lnTo>
                      <a:lnTo>
                        <a:pt x="276" y="534"/>
                      </a:lnTo>
                      <a:lnTo>
                        <a:pt x="168" y="402"/>
                      </a:lnTo>
                      <a:lnTo>
                        <a:pt x="168" y="396"/>
                      </a:lnTo>
                      <a:lnTo>
                        <a:pt x="6" y="186"/>
                      </a:lnTo>
                      <a:lnTo>
                        <a:pt x="0" y="186"/>
                      </a:lnTo>
                      <a:lnTo>
                        <a:pt x="78" y="156"/>
                      </a:lnTo>
                      <a:lnTo>
                        <a:pt x="198" y="174"/>
                      </a:lnTo>
                      <a:lnTo>
                        <a:pt x="216" y="120"/>
                      </a:lnTo>
                      <a:lnTo>
                        <a:pt x="258" y="54"/>
                      </a:lnTo>
                      <a:lnTo>
                        <a:pt x="318" y="30"/>
                      </a:lnTo>
                      <a:lnTo>
                        <a:pt x="384" y="36"/>
                      </a:lnTo>
                      <a:lnTo>
                        <a:pt x="444" y="84"/>
                      </a:lnTo>
                      <a:lnTo>
                        <a:pt x="474" y="132"/>
                      </a:lnTo>
                      <a:lnTo>
                        <a:pt x="516" y="192"/>
                      </a:lnTo>
                      <a:lnTo>
                        <a:pt x="570" y="192"/>
                      </a:lnTo>
                      <a:lnTo>
                        <a:pt x="678" y="168"/>
                      </a:lnTo>
                      <a:lnTo>
                        <a:pt x="672" y="78"/>
                      </a:lnTo>
                      <a:lnTo>
                        <a:pt x="786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7" name="Freeform 108">
                  <a:extLst>
                    <a:ext uri="{FF2B5EF4-FFF2-40B4-BE49-F238E27FC236}">
                      <a16:creationId xmlns:a16="http://schemas.microsoft.com/office/drawing/2014/main" id="{0C9859E5-A422-4010-B91E-BB596441EC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57" y="-114"/>
                  <a:ext cx="300" cy="186"/>
                </a:xfrm>
                <a:custGeom>
                  <a:avLst/>
                  <a:gdLst>
                    <a:gd name="T0" fmla="*/ 222 w 300"/>
                    <a:gd name="T1" fmla="*/ 0 h 186"/>
                    <a:gd name="T2" fmla="*/ 294 w 300"/>
                    <a:gd name="T3" fmla="*/ 42 h 186"/>
                    <a:gd name="T4" fmla="*/ 300 w 300"/>
                    <a:gd name="T5" fmla="*/ 138 h 186"/>
                    <a:gd name="T6" fmla="*/ 276 w 300"/>
                    <a:gd name="T7" fmla="*/ 168 h 186"/>
                    <a:gd name="T8" fmla="*/ 186 w 300"/>
                    <a:gd name="T9" fmla="*/ 186 h 186"/>
                    <a:gd name="T10" fmla="*/ 96 w 300"/>
                    <a:gd name="T11" fmla="*/ 162 h 186"/>
                    <a:gd name="T12" fmla="*/ 24 w 300"/>
                    <a:gd name="T13" fmla="*/ 120 h 186"/>
                    <a:gd name="T14" fmla="*/ 0 w 300"/>
                    <a:gd name="T15" fmla="*/ 48 h 186"/>
                    <a:gd name="T16" fmla="*/ 30 w 300"/>
                    <a:gd name="T17" fmla="*/ 12 h 186"/>
                    <a:gd name="T18" fmla="*/ 72 w 300"/>
                    <a:gd name="T19" fmla="*/ 6 h 186"/>
                    <a:gd name="T20" fmla="*/ 144 w 300"/>
                    <a:gd name="T21" fmla="*/ 6 h 186"/>
                    <a:gd name="T22" fmla="*/ 222 w 300"/>
                    <a:gd name="T23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00" h="186">
                      <a:moveTo>
                        <a:pt x="222" y="0"/>
                      </a:moveTo>
                      <a:lnTo>
                        <a:pt x="294" y="42"/>
                      </a:lnTo>
                      <a:lnTo>
                        <a:pt x="300" y="138"/>
                      </a:lnTo>
                      <a:lnTo>
                        <a:pt x="276" y="168"/>
                      </a:lnTo>
                      <a:lnTo>
                        <a:pt x="186" y="186"/>
                      </a:lnTo>
                      <a:lnTo>
                        <a:pt x="96" y="162"/>
                      </a:lnTo>
                      <a:lnTo>
                        <a:pt x="24" y="120"/>
                      </a:lnTo>
                      <a:lnTo>
                        <a:pt x="0" y="48"/>
                      </a:lnTo>
                      <a:lnTo>
                        <a:pt x="30" y="12"/>
                      </a:lnTo>
                      <a:lnTo>
                        <a:pt x="72" y="6"/>
                      </a:lnTo>
                      <a:lnTo>
                        <a:pt x="144" y="6"/>
                      </a:lnTo>
                      <a:lnTo>
                        <a:pt x="22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8" name="Freeform 109">
                  <a:extLst>
                    <a:ext uri="{FF2B5EF4-FFF2-40B4-BE49-F238E27FC236}">
                      <a16:creationId xmlns:a16="http://schemas.microsoft.com/office/drawing/2014/main" id="{46CD379E-14F4-4EAF-A5FF-4DDDB2A8E20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09" y="-2232"/>
                  <a:ext cx="1866" cy="1074"/>
                </a:xfrm>
                <a:custGeom>
                  <a:avLst/>
                  <a:gdLst>
                    <a:gd name="T0" fmla="*/ 78 w 1866"/>
                    <a:gd name="T1" fmla="*/ 612 h 1074"/>
                    <a:gd name="T2" fmla="*/ 78 w 1866"/>
                    <a:gd name="T3" fmla="*/ 612 h 1074"/>
                    <a:gd name="T4" fmla="*/ 468 w 1866"/>
                    <a:gd name="T5" fmla="*/ 90 h 1074"/>
                    <a:gd name="T6" fmla="*/ 672 w 1866"/>
                    <a:gd name="T7" fmla="*/ 240 h 1074"/>
                    <a:gd name="T8" fmla="*/ 930 w 1866"/>
                    <a:gd name="T9" fmla="*/ 198 h 1074"/>
                    <a:gd name="T10" fmla="*/ 1032 w 1866"/>
                    <a:gd name="T11" fmla="*/ 288 h 1074"/>
                    <a:gd name="T12" fmla="*/ 1134 w 1866"/>
                    <a:gd name="T13" fmla="*/ 390 h 1074"/>
                    <a:gd name="T14" fmla="*/ 1248 w 1866"/>
                    <a:gd name="T15" fmla="*/ 528 h 1074"/>
                    <a:gd name="T16" fmla="*/ 1446 w 1866"/>
                    <a:gd name="T17" fmla="*/ 468 h 1074"/>
                    <a:gd name="T18" fmla="*/ 1566 w 1866"/>
                    <a:gd name="T19" fmla="*/ 360 h 1074"/>
                    <a:gd name="T20" fmla="*/ 1608 w 1866"/>
                    <a:gd name="T21" fmla="*/ 444 h 1074"/>
                    <a:gd name="T22" fmla="*/ 1698 w 1866"/>
                    <a:gd name="T23" fmla="*/ 474 h 1074"/>
                    <a:gd name="T24" fmla="*/ 1824 w 1866"/>
                    <a:gd name="T25" fmla="*/ 504 h 1074"/>
                    <a:gd name="T26" fmla="*/ 1854 w 1866"/>
                    <a:gd name="T27" fmla="*/ 582 h 1074"/>
                    <a:gd name="T28" fmla="*/ 1722 w 1866"/>
                    <a:gd name="T29" fmla="*/ 612 h 1074"/>
                    <a:gd name="T30" fmla="*/ 1620 w 1866"/>
                    <a:gd name="T31" fmla="*/ 546 h 1074"/>
                    <a:gd name="T32" fmla="*/ 1530 w 1866"/>
                    <a:gd name="T33" fmla="*/ 558 h 1074"/>
                    <a:gd name="T34" fmla="*/ 1476 w 1866"/>
                    <a:gd name="T35" fmla="*/ 678 h 1074"/>
                    <a:gd name="T36" fmla="*/ 1374 w 1866"/>
                    <a:gd name="T37" fmla="*/ 744 h 1074"/>
                    <a:gd name="T38" fmla="*/ 1446 w 1866"/>
                    <a:gd name="T39" fmla="*/ 834 h 1074"/>
                    <a:gd name="T40" fmla="*/ 1452 w 1866"/>
                    <a:gd name="T41" fmla="*/ 984 h 1074"/>
                    <a:gd name="T42" fmla="*/ 1410 w 1866"/>
                    <a:gd name="T43" fmla="*/ 1074 h 1074"/>
                    <a:gd name="T44" fmla="*/ 1356 w 1866"/>
                    <a:gd name="T45" fmla="*/ 1068 h 1074"/>
                    <a:gd name="T46" fmla="*/ 1314 w 1866"/>
                    <a:gd name="T47" fmla="*/ 1056 h 1074"/>
                    <a:gd name="T48" fmla="*/ 1302 w 1866"/>
                    <a:gd name="T49" fmla="*/ 1056 h 1074"/>
                    <a:gd name="T50" fmla="*/ 1248 w 1866"/>
                    <a:gd name="T51" fmla="*/ 930 h 1074"/>
                    <a:gd name="T52" fmla="*/ 1080 w 1866"/>
                    <a:gd name="T53" fmla="*/ 912 h 1074"/>
                    <a:gd name="T54" fmla="*/ 960 w 1866"/>
                    <a:gd name="T55" fmla="*/ 804 h 1074"/>
                    <a:gd name="T56" fmla="*/ 834 w 1866"/>
                    <a:gd name="T57" fmla="*/ 762 h 1074"/>
                    <a:gd name="T58" fmla="*/ 762 w 1866"/>
                    <a:gd name="T59" fmla="*/ 702 h 1074"/>
                    <a:gd name="T60" fmla="*/ 738 w 1866"/>
                    <a:gd name="T61" fmla="*/ 630 h 1074"/>
                    <a:gd name="T62" fmla="*/ 714 w 1866"/>
                    <a:gd name="T63" fmla="*/ 612 h 1074"/>
                    <a:gd name="T64" fmla="*/ 684 w 1866"/>
                    <a:gd name="T65" fmla="*/ 588 h 1074"/>
                    <a:gd name="T66" fmla="*/ 660 w 1866"/>
                    <a:gd name="T67" fmla="*/ 576 h 1074"/>
                    <a:gd name="T68" fmla="*/ 600 w 1866"/>
                    <a:gd name="T69" fmla="*/ 612 h 1074"/>
                    <a:gd name="T70" fmla="*/ 474 w 1866"/>
                    <a:gd name="T71" fmla="*/ 522 h 1074"/>
                    <a:gd name="T72" fmla="*/ 450 w 1866"/>
                    <a:gd name="T73" fmla="*/ 426 h 1074"/>
                    <a:gd name="T74" fmla="*/ 294 w 1866"/>
                    <a:gd name="T75" fmla="*/ 420 h 1074"/>
                    <a:gd name="T76" fmla="*/ 186 w 1866"/>
                    <a:gd name="T77" fmla="*/ 588 h 1074"/>
                    <a:gd name="T78" fmla="*/ 42 w 1866"/>
                    <a:gd name="T79" fmla="*/ 396 h 1074"/>
                    <a:gd name="T80" fmla="*/ 186 w 1866"/>
                    <a:gd name="T81" fmla="*/ 6 h 10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866" h="1074">
                      <a:moveTo>
                        <a:pt x="78" y="612"/>
                      </a:moveTo>
                      <a:lnTo>
                        <a:pt x="78" y="612"/>
                      </a:lnTo>
                      <a:lnTo>
                        <a:pt x="78" y="612"/>
                      </a:lnTo>
                      <a:lnTo>
                        <a:pt x="78" y="612"/>
                      </a:lnTo>
                      <a:close/>
                      <a:moveTo>
                        <a:pt x="342" y="0"/>
                      </a:moveTo>
                      <a:lnTo>
                        <a:pt x="468" y="90"/>
                      </a:lnTo>
                      <a:lnTo>
                        <a:pt x="588" y="228"/>
                      </a:lnTo>
                      <a:lnTo>
                        <a:pt x="672" y="240"/>
                      </a:lnTo>
                      <a:lnTo>
                        <a:pt x="792" y="228"/>
                      </a:lnTo>
                      <a:lnTo>
                        <a:pt x="930" y="198"/>
                      </a:lnTo>
                      <a:lnTo>
                        <a:pt x="990" y="198"/>
                      </a:lnTo>
                      <a:lnTo>
                        <a:pt x="1032" y="288"/>
                      </a:lnTo>
                      <a:lnTo>
                        <a:pt x="1074" y="306"/>
                      </a:lnTo>
                      <a:lnTo>
                        <a:pt x="1134" y="390"/>
                      </a:lnTo>
                      <a:lnTo>
                        <a:pt x="1194" y="474"/>
                      </a:lnTo>
                      <a:lnTo>
                        <a:pt x="1248" y="528"/>
                      </a:lnTo>
                      <a:lnTo>
                        <a:pt x="1338" y="516"/>
                      </a:lnTo>
                      <a:lnTo>
                        <a:pt x="1446" y="468"/>
                      </a:lnTo>
                      <a:lnTo>
                        <a:pt x="1512" y="414"/>
                      </a:lnTo>
                      <a:lnTo>
                        <a:pt x="1566" y="360"/>
                      </a:lnTo>
                      <a:lnTo>
                        <a:pt x="1608" y="366"/>
                      </a:lnTo>
                      <a:lnTo>
                        <a:pt x="1608" y="444"/>
                      </a:lnTo>
                      <a:lnTo>
                        <a:pt x="1632" y="462"/>
                      </a:lnTo>
                      <a:lnTo>
                        <a:pt x="1698" y="474"/>
                      </a:lnTo>
                      <a:lnTo>
                        <a:pt x="1764" y="468"/>
                      </a:lnTo>
                      <a:lnTo>
                        <a:pt x="1824" y="504"/>
                      </a:lnTo>
                      <a:lnTo>
                        <a:pt x="1866" y="522"/>
                      </a:lnTo>
                      <a:lnTo>
                        <a:pt x="1854" y="582"/>
                      </a:lnTo>
                      <a:lnTo>
                        <a:pt x="1782" y="600"/>
                      </a:lnTo>
                      <a:lnTo>
                        <a:pt x="1722" y="612"/>
                      </a:lnTo>
                      <a:lnTo>
                        <a:pt x="1680" y="612"/>
                      </a:lnTo>
                      <a:lnTo>
                        <a:pt x="1620" y="546"/>
                      </a:lnTo>
                      <a:lnTo>
                        <a:pt x="1566" y="534"/>
                      </a:lnTo>
                      <a:lnTo>
                        <a:pt x="1530" y="558"/>
                      </a:lnTo>
                      <a:lnTo>
                        <a:pt x="1488" y="624"/>
                      </a:lnTo>
                      <a:lnTo>
                        <a:pt x="1476" y="678"/>
                      </a:lnTo>
                      <a:lnTo>
                        <a:pt x="1416" y="696"/>
                      </a:lnTo>
                      <a:lnTo>
                        <a:pt x="1374" y="744"/>
                      </a:lnTo>
                      <a:lnTo>
                        <a:pt x="1368" y="810"/>
                      </a:lnTo>
                      <a:lnTo>
                        <a:pt x="1446" y="834"/>
                      </a:lnTo>
                      <a:lnTo>
                        <a:pt x="1464" y="900"/>
                      </a:lnTo>
                      <a:lnTo>
                        <a:pt x="1452" y="984"/>
                      </a:lnTo>
                      <a:lnTo>
                        <a:pt x="1446" y="1074"/>
                      </a:lnTo>
                      <a:lnTo>
                        <a:pt x="1410" y="1074"/>
                      </a:lnTo>
                      <a:lnTo>
                        <a:pt x="1380" y="1068"/>
                      </a:lnTo>
                      <a:lnTo>
                        <a:pt x="1356" y="1068"/>
                      </a:lnTo>
                      <a:lnTo>
                        <a:pt x="1332" y="1062"/>
                      </a:lnTo>
                      <a:lnTo>
                        <a:pt x="1314" y="1056"/>
                      </a:lnTo>
                      <a:lnTo>
                        <a:pt x="1302" y="1056"/>
                      </a:lnTo>
                      <a:lnTo>
                        <a:pt x="1302" y="1056"/>
                      </a:lnTo>
                      <a:lnTo>
                        <a:pt x="1284" y="984"/>
                      </a:lnTo>
                      <a:lnTo>
                        <a:pt x="1248" y="930"/>
                      </a:lnTo>
                      <a:lnTo>
                        <a:pt x="1158" y="924"/>
                      </a:lnTo>
                      <a:lnTo>
                        <a:pt x="1080" y="912"/>
                      </a:lnTo>
                      <a:lnTo>
                        <a:pt x="1014" y="822"/>
                      </a:lnTo>
                      <a:lnTo>
                        <a:pt x="960" y="804"/>
                      </a:lnTo>
                      <a:lnTo>
                        <a:pt x="876" y="804"/>
                      </a:lnTo>
                      <a:lnTo>
                        <a:pt x="834" y="762"/>
                      </a:lnTo>
                      <a:lnTo>
                        <a:pt x="774" y="726"/>
                      </a:lnTo>
                      <a:lnTo>
                        <a:pt x="762" y="702"/>
                      </a:lnTo>
                      <a:lnTo>
                        <a:pt x="750" y="666"/>
                      </a:lnTo>
                      <a:lnTo>
                        <a:pt x="738" y="630"/>
                      </a:lnTo>
                      <a:lnTo>
                        <a:pt x="726" y="624"/>
                      </a:lnTo>
                      <a:lnTo>
                        <a:pt x="714" y="612"/>
                      </a:lnTo>
                      <a:lnTo>
                        <a:pt x="696" y="600"/>
                      </a:lnTo>
                      <a:lnTo>
                        <a:pt x="684" y="588"/>
                      </a:lnTo>
                      <a:lnTo>
                        <a:pt x="672" y="582"/>
                      </a:lnTo>
                      <a:lnTo>
                        <a:pt x="660" y="576"/>
                      </a:lnTo>
                      <a:lnTo>
                        <a:pt x="660" y="576"/>
                      </a:lnTo>
                      <a:lnTo>
                        <a:pt x="600" y="612"/>
                      </a:lnTo>
                      <a:lnTo>
                        <a:pt x="546" y="588"/>
                      </a:lnTo>
                      <a:lnTo>
                        <a:pt x="474" y="522"/>
                      </a:lnTo>
                      <a:lnTo>
                        <a:pt x="486" y="468"/>
                      </a:lnTo>
                      <a:lnTo>
                        <a:pt x="450" y="426"/>
                      </a:lnTo>
                      <a:lnTo>
                        <a:pt x="366" y="426"/>
                      </a:lnTo>
                      <a:lnTo>
                        <a:pt x="294" y="420"/>
                      </a:lnTo>
                      <a:lnTo>
                        <a:pt x="180" y="498"/>
                      </a:lnTo>
                      <a:lnTo>
                        <a:pt x="186" y="588"/>
                      </a:lnTo>
                      <a:lnTo>
                        <a:pt x="78" y="612"/>
                      </a:lnTo>
                      <a:lnTo>
                        <a:pt x="42" y="396"/>
                      </a:lnTo>
                      <a:lnTo>
                        <a:pt x="0" y="90"/>
                      </a:lnTo>
                      <a:lnTo>
                        <a:pt x="186" y="6"/>
                      </a:lnTo>
                      <a:lnTo>
                        <a:pt x="34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49" name="Freeform 110">
                  <a:extLst>
                    <a:ext uri="{FF2B5EF4-FFF2-40B4-BE49-F238E27FC236}">
                      <a16:creationId xmlns:a16="http://schemas.microsoft.com/office/drawing/2014/main" id="{CD978C60-80AE-4626-8899-FE4F23E0D3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09" y="96"/>
                  <a:ext cx="594" cy="720"/>
                </a:xfrm>
                <a:custGeom>
                  <a:avLst/>
                  <a:gdLst>
                    <a:gd name="T0" fmla="*/ 126 w 594"/>
                    <a:gd name="T1" fmla="*/ 36 h 720"/>
                    <a:gd name="T2" fmla="*/ 198 w 594"/>
                    <a:gd name="T3" fmla="*/ 60 h 720"/>
                    <a:gd name="T4" fmla="*/ 246 w 594"/>
                    <a:gd name="T5" fmla="*/ 168 h 720"/>
                    <a:gd name="T6" fmla="*/ 372 w 594"/>
                    <a:gd name="T7" fmla="*/ 156 h 720"/>
                    <a:gd name="T8" fmla="*/ 474 w 594"/>
                    <a:gd name="T9" fmla="*/ 228 h 720"/>
                    <a:gd name="T10" fmla="*/ 384 w 594"/>
                    <a:gd name="T11" fmla="*/ 300 h 720"/>
                    <a:gd name="T12" fmla="*/ 420 w 594"/>
                    <a:gd name="T13" fmla="*/ 396 h 720"/>
                    <a:gd name="T14" fmla="*/ 510 w 594"/>
                    <a:gd name="T15" fmla="*/ 384 h 720"/>
                    <a:gd name="T16" fmla="*/ 576 w 594"/>
                    <a:gd name="T17" fmla="*/ 438 h 720"/>
                    <a:gd name="T18" fmla="*/ 558 w 594"/>
                    <a:gd name="T19" fmla="*/ 588 h 720"/>
                    <a:gd name="T20" fmla="*/ 528 w 594"/>
                    <a:gd name="T21" fmla="*/ 720 h 720"/>
                    <a:gd name="T22" fmla="*/ 510 w 594"/>
                    <a:gd name="T23" fmla="*/ 702 h 720"/>
                    <a:gd name="T24" fmla="*/ 492 w 594"/>
                    <a:gd name="T25" fmla="*/ 690 h 720"/>
                    <a:gd name="T26" fmla="*/ 492 w 594"/>
                    <a:gd name="T27" fmla="*/ 660 h 720"/>
                    <a:gd name="T28" fmla="*/ 498 w 594"/>
                    <a:gd name="T29" fmla="*/ 630 h 720"/>
                    <a:gd name="T30" fmla="*/ 486 w 594"/>
                    <a:gd name="T31" fmla="*/ 588 h 720"/>
                    <a:gd name="T32" fmla="*/ 462 w 594"/>
                    <a:gd name="T33" fmla="*/ 558 h 720"/>
                    <a:gd name="T34" fmla="*/ 432 w 594"/>
                    <a:gd name="T35" fmla="*/ 534 h 720"/>
                    <a:gd name="T36" fmla="*/ 420 w 594"/>
                    <a:gd name="T37" fmla="*/ 528 h 720"/>
                    <a:gd name="T38" fmla="*/ 420 w 594"/>
                    <a:gd name="T39" fmla="*/ 540 h 720"/>
                    <a:gd name="T40" fmla="*/ 426 w 594"/>
                    <a:gd name="T41" fmla="*/ 558 h 720"/>
                    <a:gd name="T42" fmla="*/ 426 w 594"/>
                    <a:gd name="T43" fmla="*/ 576 h 720"/>
                    <a:gd name="T44" fmla="*/ 402 w 594"/>
                    <a:gd name="T45" fmla="*/ 594 h 720"/>
                    <a:gd name="T46" fmla="*/ 378 w 594"/>
                    <a:gd name="T47" fmla="*/ 606 h 720"/>
                    <a:gd name="T48" fmla="*/ 366 w 594"/>
                    <a:gd name="T49" fmla="*/ 600 h 720"/>
                    <a:gd name="T50" fmla="*/ 360 w 594"/>
                    <a:gd name="T51" fmla="*/ 588 h 720"/>
                    <a:gd name="T52" fmla="*/ 342 w 594"/>
                    <a:gd name="T53" fmla="*/ 582 h 720"/>
                    <a:gd name="T54" fmla="*/ 330 w 594"/>
                    <a:gd name="T55" fmla="*/ 594 h 720"/>
                    <a:gd name="T56" fmla="*/ 312 w 594"/>
                    <a:gd name="T57" fmla="*/ 624 h 720"/>
                    <a:gd name="T58" fmla="*/ 300 w 594"/>
                    <a:gd name="T59" fmla="*/ 624 h 720"/>
                    <a:gd name="T60" fmla="*/ 294 w 594"/>
                    <a:gd name="T61" fmla="*/ 606 h 720"/>
                    <a:gd name="T62" fmla="*/ 282 w 594"/>
                    <a:gd name="T63" fmla="*/ 582 h 720"/>
                    <a:gd name="T64" fmla="*/ 270 w 594"/>
                    <a:gd name="T65" fmla="*/ 558 h 720"/>
                    <a:gd name="T66" fmla="*/ 264 w 594"/>
                    <a:gd name="T67" fmla="*/ 552 h 720"/>
                    <a:gd name="T68" fmla="*/ 258 w 594"/>
                    <a:gd name="T69" fmla="*/ 558 h 720"/>
                    <a:gd name="T70" fmla="*/ 252 w 594"/>
                    <a:gd name="T71" fmla="*/ 600 h 720"/>
                    <a:gd name="T72" fmla="*/ 246 w 594"/>
                    <a:gd name="T73" fmla="*/ 624 h 720"/>
                    <a:gd name="T74" fmla="*/ 234 w 594"/>
                    <a:gd name="T75" fmla="*/ 618 h 720"/>
                    <a:gd name="T76" fmla="*/ 222 w 594"/>
                    <a:gd name="T77" fmla="*/ 612 h 720"/>
                    <a:gd name="T78" fmla="*/ 216 w 594"/>
                    <a:gd name="T79" fmla="*/ 624 h 720"/>
                    <a:gd name="T80" fmla="*/ 204 w 594"/>
                    <a:gd name="T81" fmla="*/ 642 h 720"/>
                    <a:gd name="T82" fmla="*/ 186 w 594"/>
                    <a:gd name="T83" fmla="*/ 636 h 720"/>
                    <a:gd name="T84" fmla="*/ 168 w 594"/>
                    <a:gd name="T85" fmla="*/ 612 h 720"/>
                    <a:gd name="T86" fmla="*/ 168 w 594"/>
                    <a:gd name="T87" fmla="*/ 582 h 720"/>
                    <a:gd name="T88" fmla="*/ 156 w 594"/>
                    <a:gd name="T89" fmla="*/ 576 h 720"/>
                    <a:gd name="T90" fmla="*/ 138 w 594"/>
                    <a:gd name="T91" fmla="*/ 576 h 720"/>
                    <a:gd name="T92" fmla="*/ 132 w 594"/>
                    <a:gd name="T93" fmla="*/ 576 h 720"/>
                    <a:gd name="T94" fmla="*/ 156 w 594"/>
                    <a:gd name="T95" fmla="*/ 492 h 720"/>
                    <a:gd name="T96" fmla="*/ 138 w 594"/>
                    <a:gd name="T97" fmla="*/ 426 h 720"/>
                    <a:gd name="T98" fmla="*/ 78 w 594"/>
                    <a:gd name="T99" fmla="*/ 354 h 720"/>
                    <a:gd name="T100" fmla="*/ 48 w 594"/>
                    <a:gd name="T101" fmla="*/ 276 h 720"/>
                    <a:gd name="T102" fmla="*/ 54 w 594"/>
                    <a:gd name="T103" fmla="*/ 234 h 720"/>
                    <a:gd name="T104" fmla="*/ 66 w 594"/>
                    <a:gd name="T105" fmla="*/ 204 h 720"/>
                    <a:gd name="T106" fmla="*/ 66 w 594"/>
                    <a:gd name="T107" fmla="*/ 192 h 720"/>
                    <a:gd name="T108" fmla="*/ 0 w 594"/>
                    <a:gd name="T109" fmla="*/ 78 h 720"/>
                    <a:gd name="T110" fmla="*/ 84 w 594"/>
                    <a:gd name="T111" fmla="*/ 0 h 7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94" h="720">
                      <a:moveTo>
                        <a:pt x="84" y="0"/>
                      </a:moveTo>
                      <a:lnTo>
                        <a:pt x="126" y="36"/>
                      </a:lnTo>
                      <a:lnTo>
                        <a:pt x="156" y="54"/>
                      </a:lnTo>
                      <a:lnTo>
                        <a:pt x="198" y="60"/>
                      </a:lnTo>
                      <a:lnTo>
                        <a:pt x="204" y="126"/>
                      </a:lnTo>
                      <a:lnTo>
                        <a:pt x="246" y="168"/>
                      </a:lnTo>
                      <a:lnTo>
                        <a:pt x="324" y="174"/>
                      </a:lnTo>
                      <a:lnTo>
                        <a:pt x="372" y="156"/>
                      </a:lnTo>
                      <a:lnTo>
                        <a:pt x="432" y="180"/>
                      </a:lnTo>
                      <a:lnTo>
                        <a:pt x="474" y="228"/>
                      </a:lnTo>
                      <a:lnTo>
                        <a:pt x="462" y="270"/>
                      </a:lnTo>
                      <a:lnTo>
                        <a:pt x="384" y="300"/>
                      </a:lnTo>
                      <a:lnTo>
                        <a:pt x="378" y="342"/>
                      </a:lnTo>
                      <a:lnTo>
                        <a:pt x="420" y="396"/>
                      </a:lnTo>
                      <a:lnTo>
                        <a:pt x="462" y="384"/>
                      </a:lnTo>
                      <a:lnTo>
                        <a:pt x="510" y="384"/>
                      </a:lnTo>
                      <a:lnTo>
                        <a:pt x="528" y="438"/>
                      </a:lnTo>
                      <a:lnTo>
                        <a:pt x="576" y="438"/>
                      </a:lnTo>
                      <a:lnTo>
                        <a:pt x="594" y="528"/>
                      </a:lnTo>
                      <a:lnTo>
                        <a:pt x="558" y="588"/>
                      </a:lnTo>
                      <a:lnTo>
                        <a:pt x="564" y="672"/>
                      </a:lnTo>
                      <a:lnTo>
                        <a:pt x="528" y="720"/>
                      </a:lnTo>
                      <a:lnTo>
                        <a:pt x="522" y="708"/>
                      </a:lnTo>
                      <a:lnTo>
                        <a:pt x="510" y="702"/>
                      </a:lnTo>
                      <a:lnTo>
                        <a:pt x="498" y="696"/>
                      </a:lnTo>
                      <a:lnTo>
                        <a:pt x="492" y="690"/>
                      </a:lnTo>
                      <a:lnTo>
                        <a:pt x="486" y="678"/>
                      </a:lnTo>
                      <a:lnTo>
                        <a:pt x="492" y="660"/>
                      </a:lnTo>
                      <a:lnTo>
                        <a:pt x="492" y="648"/>
                      </a:lnTo>
                      <a:lnTo>
                        <a:pt x="498" y="630"/>
                      </a:lnTo>
                      <a:lnTo>
                        <a:pt x="498" y="612"/>
                      </a:lnTo>
                      <a:lnTo>
                        <a:pt x="486" y="588"/>
                      </a:lnTo>
                      <a:lnTo>
                        <a:pt x="474" y="570"/>
                      </a:lnTo>
                      <a:lnTo>
                        <a:pt x="462" y="558"/>
                      </a:lnTo>
                      <a:lnTo>
                        <a:pt x="444" y="540"/>
                      </a:lnTo>
                      <a:lnTo>
                        <a:pt x="432" y="534"/>
                      </a:lnTo>
                      <a:lnTo>
                        <a:pt x="426" y="528"/>
                      </a:lnTo>
                      <a:lnTo>
                        <a:pt x="420" y="528"/>
                      </a:lnTo>
                      <a:lnTo>
                        <a:pt x="420" y="534"/>
                      </a:lnTo>
                      <a:lnTo>
                        <a:pt x="420" y="540"/>
                      </a:lnTo>
                      <a:lnTo>
                        <a:pt x="420" y="552"/>
                      </a:lnTo>
                      <a:lnTo>
                        <a:pt x="426" y="558"/>
                      </a:lnTo>
                      <a:lnTo>
                        <a:pt x="426" y="570"/>
                      </a:lnTo>
                      <a:lnTo>
                        <a:pt x="426" y="576"/>
                      </a:lnTo>
                      <a:lnTo>
                        <a:pt x="420" y="588"/>
                      </a:lnTo>
                      <a:lnTo>
                        <a:pt x="402" y="594"/>
                      </a:lnTo>
                      <a:lnTo>
                        <a:pt x="390" y="600"/>
                      </a:lnTo>
                      <a:lnTo>
                        <a:pt x="378" y="606"/>
                      </a:lnTo>
                      <a:lnTo>
                        <a:pt x="372" y="600"/>
                      </a:lnTo>
                      <a:lnTo>
                        <a:pt x="366" y="600"/>
                      </a:lnTo>
                      <a:lnTo>
                        <a:pt x="360" y="594"/>
                      </a:lnTo>
                      <a:lnTo>
                        <a:pt x="360" y="588"/>
                      </a:lnTo>
                      <a:lnTo>
                        <a:pt x="348" y="582"/>
                      </a:lnTo>
                      <a:lnTo>
                        <a:pt x="342" y="582"/>
                      </a:lnTo>
                      <a:lnTo>
                        <a:pt x="342" y="582"/>
                      </a:lnTo>
                      <a:lnTo>
                        <a:pt x="330" y="594"/>
                      </a:lnTo>
                      <a:lnTo>
                        <a:pt x="324" y="612"/>
                      </a:lnTo>
                      <a:lnTo>
                        <a:pt x="312" y="624"/>
                      </a:lnTo>
                      <a:lnTo>
                        <a:pt x="306" y="630"/>
                      </a:lnTo>
                      <a:lnTo>
                        <a:pt x="300" y="624"/>
                      </a:lnTo>
                      <a:lnTo>
                        <a:pt x="300" y="618"/>
                      </a:lnTo>
                      <a:lnTo>
                        <a:pt x="294" y="606"/>
                      </a:lnTo>
                      <a:lnTo>
                        <a:pt x="288" y="594"/>
                      </a:lnTo>
                      <a:lnTo>
                        <a:pt x="282" y="582"/>
                      </a:lnTo>
                      <a:lnTo>
                        <a:pt x="276" y="570"/>
                      </a:lnTo>
                      <a:lnTo>
                        <a:pt x="270" y="558"/>
                      </a:lnTo>
                      <a:lnTo>
                        <a:pt x="264" y="552"/>
                      </a:lnTo>
                      <a:lnTo>
                        <a:pt x="264" y="552"/>
                      </a:lnTo>
                      <a:lnTo>
                        <a:pt x="258" y="552"/>
                      </a:lnTo>
                      <a:lnTo>
                        <a:pt x="258" y="558"/>
                      </a:lnTo>
                      <a:lnTo>
                        <a:pt x="258" y="576"/>
                      </a:lnTo>
                      <a:lnTo>
                        <a:pt x="252" y="600"/>
                      </a:lnTo>
                      <a:lnTo>
                        <a:pt x="252" y="618"/>
                      </a:lnTo>
                      <a:lnTo>
                        <a:pt x="246" y="624"/>
                      </a:lnTo>
                      <a:lnTo>
                        <a:pt x="240" y="624"/>
                      </a:lnTo>
                      <a:lnTo>
                        <a:pt x="234" y="618"/>
                      </a:lnTo>
                      <a:lnTo>
                        <a:pt x="228" y="612"/>
                      </a:lnTo>
                      <a:lnTo>
                        <a:pt x="222" y="612"/>
                      </a:lnTo>
                      <a:lnTo>
                        <a:pt x="216" y="618"/>
                      </a:lnTo>
                      <a:lnTo>
                        <a:pt x="216" y="624"/>
                      </a:lnTo>
                      <a:lnTo>
                        <a:pt x="210" y="636"/>
                      </a:lnTo>
                      <a:lnTo>
                        <a:pt x="204" y="642"/>
                      </a:lnTo>
                      <a:lnTo>
                        <a:pt x="198" y="642"/>
                      </a:lnTo>
                      <a:lnTo>
                        <a:pt x="186" y="636"/>
                      </a:lnTo>
                      <a:lnTo>
                        <a:pt x="174" y="624"/>
                      </a:lnTo>
                      <a:lnTo>
                        <a:pt x="168" y="612"/>
                      </a:lnTo>
                      <a:lnTo>
                        <a:pt x="168" y="588"/>
                      </a:lnTo>
                      <a:lnTo>
                        <a:pt x="168" y="582"/>
                      </a:lnTo>
                      <a:lnTo>
                        <a:pt x="162" y="576"/>
                      </a:lnTo>
                      <a:lnTo>
                        <a:pt x="156" y="576"/>
                      </a:lnTo>
                      <a:lnTo>
                        <a:pt x="150" y="576"/>
                      </a:lnTo>
                      <a:lnTo>
                        <a:pt x="138" y="576"/>
                      </a:lnTo>
                      <a:lnTo>
                        <a:pt x="132" y="576"/>
                      </a:lnTo>
                      <a:lnTo>
                        <a:pt x="132" y="576"/>
                      </a:lnTo>
                      <a:lnTo>
                        <a:pt x="156" y="504"/>
                      </a:lnTo>
                      <a:lnTo>
                        <a:pt x="156" y="492"/>
                      </a:lnTo>
                      <a:lnTo>
                        <a:pt x="150" y="462"/>
                      </a:lnTo>
                      <a:lnTo>
                        <a:pt x="138" y="426"/>
                      </a:lnTo>
                      <a:lnTo>
                        <a:pt x="114" y="390"/>
                      </a:lnTo>
                      <a:lnTo>
                        <a:pt x="78" y="354"/>
                      </a:lnTo>
                      <a:lnTo>
                        <a:pt x="54" y="318"/>
                      </a:lnTo>
                      <a:lnTo>
                        <a:pt x="48" y="276"/>
                      </a:lnTo>
                      <a:lnTo>
                        <a:pt x="48" y="252"/>
                      </a:lnTo>
                      <a:lnTo>
                        <a:pt x="54" y="234"/>
                      </a:lnTo>
                      <a:lnTo>
                        <a:pt x="60" y="216"/>
                      </a:lnTo>
                      <a:lnTo>
                        <a:pt x="66" y="204"/>
                      </a:lnTo>
                      <a:lnTo>
                        <a:pt x="66" y="192"/>
                      </a:lnTo>
                      <a:lnTo>
                        <a:pt x="66" y="192"/>
                      </a:lnTo>
                      <a:lnTo>
                        <a:pt x="48" y="120"/>
                      </a:lnTo>
                      <a:lnTo>
                        <a:pt x="0" y="78"/>
                      </a:lnTo>
                      <a:lnTo>
                        <a:pt x="24" y="18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0" name="Freeform 111">
                  <a:extLst>
                    <a:ext uri="{FF2B5EF4-FFF2-40B4-BE49-F238E27FC236}">
                      <a16:creationId xmlns:a16="http://schemas.microsoft.com/office/drawing/2014/main" id="{FE6DD1B2-B686-431D-940E-580B2B4E28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5" y="-1332"/>
                  <a:ext cx="1380" cy="1290"/>
                </a:xfrm>
                <a:custGeom>
                  <a:avLst/>
                  <a:gdLst>
                    <a:gd name="T0" fmla="*/ 984 w 1380"/>
                    <a:gd name="T1" fmla="*/ 0 h 1290"/>
                    <a:gd name="T2" fmla="*/ 1002 w 1380"/>
                    <a:gd name="T3" fmla="*/ 12 h 1290"/>
                    <a:gd name="T4" fmla="*/ 1008 w 1380"/>
                    <a:gd name="T5" fmla="*/ 30 h 1290"/>
                    <a:gd name="T6" fmla="*/ 1026 w 1380"/>
                    <a:gd name="T7" fmla="*/ 36 h 1290"/>
                    <a:gd name="T8" fmla="*/ 1044 w 1380"/>
                    <a:gd name="T9" fmla="*/ 42 h 1290"/>
                    <a:gd name="T10" fmla="*/ 1062 w 1380"/>
                    <a:gd name="T11" fmla="*/ 54 h 1290"/>
                    <a:gd name="T12" fmla="*/ 1074 w 1380"/>
                    <a:gd name="T13" fmla="*/ 84 h 1290"/>
                    <a:gd name="T14" fmla="*/ 1074 w 1380"/>
                    <a:gd name="T15" fmla="*/ 126 h 1290"/>
                    <a:gd name="T16" fmla="*/ 1086 w 1380"/>
                    <a:gd name="T17" fmla="*/ 156 h 1290"/>
                    <a:gd name="T18" fmla="*/ 1104 w 1380"/>
                    <a:gd name="T19" fmla="*/ 168 h 1290"/>
                    <a:gd name="T20" fmla="*/ 1128 w 1380"/>
                    <a:gd name="T21" fmla="*/ 162 h 1290"/>
                    <a:gd name="T22" fmla="*/ 1152 w 1380"/>
                    <a:gd name="T23" fmla="*/ 150 h 1290"/>
                    <a:gd name="T24" fmla="*/ 1182 w 1380"/>
                    <a:gd name="T25" fmla="*/ 126 h 1290"/>
                    <a:gd name="T26" fmla="*/ 1200 w 1380"/>
                    <a:gd name="T27" fmla="*/ 108 h 1290"/>
                    <a:gd name="T28" fmla="*/ 1278 w 1380"/>
                    <a:gd name="T29" fmla="*/ 66 h 1290"/>
                    <a:gd name="T30" fmla="*/ 1380 w 1380"/>
                    <a:gd name="T31" fmla="*/ 120 h 1290"/>
                    <a:gd name="T32" fmla="*/ 1296 w 1380"/>
                    <a:gd name="T33" fmla="*/ 162 h 1290"/>
                    <a:gd name="T34" fmla="*/ 1182 w 1380"/>
                    <a:gd name="T35" fmla="*/ 228 h 1290"/>
                    <a:gd name="T36" fmla="*/ 1104 w 1380"/>
                    <a:gd name="T37" fmla="*/ 324 h 1290"/>
                    <a:gd name="T38" fmla="*/ 1158 w 1380"/>
                    <a:gd name="T39" fmla="*/ 522 h 1290"/>
                    <a:gd name="T40" fmla="*/ 1050 w 1380"/>
                    <a:gd name="T41" fmla="*/ 600 h 1290"/>
                    <a:gd name="T42" fmla="*/ 1074 w 1380"/>
                    <a:gd name="T43" fmla="*/ 678 h 1290"/>
                    <a:gd name="T44" fmla="*/ 990 w 1380"/>
                    <a:gd name="T45" fmla="*/ 912 h 1290"/>
                    <a:gd name="T46" fmla="*/ 852 w 1380"/>
                    <a:gd name="T47" fmla="*/ 912 h 1290"/>
                    <a:gd name="T48" fmla="*/ 804 w 1380"/>
                    <a:gd name="T49" fmla="*/ 996 h 1290"/>
                    <a:gd name="T50" fmla="*/ 726 w 1380"/>
                    <a:gd name="T51" fmla="*/ 1110 h 1290"/>
                    <a:gd name="T52" fmla="*/ 636 w 1380"/>
                    <a:gd name="T53" fmla="*/ 1224 h 1290"/>
                    <a:gd name="T54" fmla="*/ 498 w 1380"/>
                    <a:gd name="T55" fmla="*/ 1260 h 1290"/>
                    <a:gd name="T56" fmla="*/ 336 w 1380"/>
                    <a:gd name="T57" fmla="*/ 1272 h 1290"/>
                    <a:gd name="T58" fmla="*/ 216 w 1380"/>
                    <a:gd name="T59" fmla="*/ 1284 h 1290"/>
                    <a:gd name="T60" fmla="*/ 132 w 1380"/>
                    <a:gd name="T61" fmla="*/ 1128 h 1290"/>
                    <a:gd name="T62" fmla="*/ 198 w 1380"/>
                    <a:gd name="T63" fmla="*/ 990 h 1290"/>
                    <a:gd name="T64" fmla="*/ 24 w 1380"/>
                    <a:gd name="T65" fmla="*/ 876 h 1290"/>
                    <a:gd name="T66" fmla="*/ 6 w 1380"/>
                    <a:gd name="T67" fmla="*/ 684 h 1290"/>
                    <a:gd name="T68" fmla="*/ 0 w 1380"/>
                    <a:gd name="T69" fmla="*/ 408 h 1290"/>
                    <a:gd name="T70" fmla="*/ 108 w 1380"/>
                    <a:gd name="T71" fmla="*/ 450 h 1290"/>
                    <a:gd name="T72" fmla="*/ 234 w 1380"/>
                    <a:gd name="T73" fmla="*/ 450 h 1290"/>
                    <a:gd name="T74" fmla="*/ 306 w 1380"/>
                    <a:gd name="T75" fmla="*/ 348 h 1290"/>
                    <a:gd name="T76" fmla="*/ 396 w 1380"/>
                    <a:gd name="T77" fmla="*/ 252 h 1290"/>
                    <a:gd name="T78" fmla="*/ 474 w 1380"/>
                    <a:gd name="T79" fmla="*/ 210 h 1290"/>
                    <a:gd name="T80" fmla="*/ 546 w 1380"/>
                    <a:gd name="T81" fmla="*/ 156 h 1290"/>
                    <a:gd name="T82" fmla="*/ 576 w 1380"/>
                    <a:gd name="T83" fmla="*/ 162 h 1290"/>
                    <a:gd name="T84" fmla="*/ 624 w 1380"/>
                    <a:gd name="T85" fmla="*/ 168 h 1290"/>
                    <a:gd name="T86" fmla="*/ 690 w 1380"/>
                    <a:gd name="T87" fmla="*/ 174 h 1290"/>
                    <a:gd name="T88" fmla="*/ 810 w 1380"/>
                    <a:gd name="T89" fmla="*/ 150 h 1290"/>
                    <a:gd name="T90" fmla="*/ 840 w 1380"/>
                    <a:gd name="T91" fmla="*/ 138 h 1290"/>
                    <a:gd name="T92" fmla="*/ 846 w 1380"/>
                    <a:gd name="T93" fmla="*/ 120 h 1290"/>
                    <a:gd name="T94" fmla="*/ 852 w 1380"/>
                    <a:gd name="T95" fmla="*/ 108 h 1290"/>
                    <a:gd name="T96" fmla="*/ 870 w 1380"/>
                    <a:gd name="T97" fmla="*/ 96 h 1290"/>
                    <a:gd name="T98" fmla="*/ 900 w 1380"/>
                    <a:gd name="T99" fmla="*/ 96 h 1290"/>
                    <a:gd name="T100" fmla="*/ 918 w 1380"/>
                    <a:gd name="T101" fmla="*/ 96 h 1290"/>
                    <a:gd name="T102" fmla="*/ 918 w 1380"/>
                    <a:gd name="T103" fmla="*/ 84 h 1290"/>
                    <a:gd name="T104" fmla="*/ 906 w 1380"/>
                    <a:gd name="T105" fmla="*/ 54 h 1290"/>
                    <a:gd name="T106" fmla="*/ 912 w 1380"/>
                    <a:gd name="T107" fmla="*/ 36 h 1290"/>
                    <a:gd name="T108" fmla="*/ 930 w 1380"/>
                    <a:gd name="T109" fmla="*/ 24 h 1290"/>
                    <a:gd name="T110" fmla="*/ 960 w 1380"/>
                    <a:gd name="T111" fmla="*/ 6 h 1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380" h="1290">
                      <a:moveTo>
                        <a:pt x="978" y="0"/>
                      </a:moveTo>
                      <a:lnTo>
                        <a:pt x="984" y="0"/>
                      </a:lnTo>
                      <a:lnTo>
                        <a:pt x="996" y="6"/>
                      </a:lnTo>
                      <a:lnTo>
                        <a:pt x="1002" y="12"/>
                      </a:lnTo>
                      <a:lnTo>
                        <a:pt x="1002" y="18"/>
                      </a:lnTo>
                      <a:lnTo>
                        <a:pt x="1008" y="30"/>
                      </a:lnTo>
                      <a:lnTo>
                        <a:pt x="1014" y="36"/>
                      </a:lnTo>
                      <a:lnTo>
                        <a:pt x="1026" y="36"/>
                      </a:lnTo>
                      <a:lnTo>
                        <a:pt x="1032" y="36"/>
                      </a:lnTo>
                      <a:lnTo>
                        <a:pt x="1044" y="42"/>
                      </a:lnTo>
                      <a:lnTo>
                        <a:pt x="1056" y="48"/>
                      </a:lnTo>
                      <a:lnTo>
                        <a:pt x="1062" y="54"/>
                      </a:lnTo>
                      <a:lnTo>
                        <a:pt x="1068" y="66"/>
                      </a:lnTo>
                      <a:lnTo>
                        <a:pt x="1074" y="84"/>
                      </a:lnTo>
                      <a:lnTo>
                        <a:pt x="1074" y="108"/>
                      </a:lnTo>
                      <a:lnTo>
                        <a:pt x="1074" y="126"/>
                      </a:lnTo>
                      <a:lnTo>
                        <a:pt x="1080" y="144"/>
                      </a:lnTo>
                      <a:lnTo>
                        <a:pt x="1086" y="156"/>
                      </a:lnTo>
                      <a:lnTo>
                        <a:pt x="1092" y="162"/>
                      </a:lnTo>
                      <a:lnTo>
                        <a:pt x="1104" y="168"/>
                      </a:lnTo>
                      <a:lnTo>
                        <a:pt x="1116" y="168"/>
                      </a:lnTo>
                      <a:lnTo>
                        <a:pt x="1128" y="162"/>
                      </a:lnTo>
                      <a:lnTo>
                        <a:pt x="1140" y="156"/>
                      </a:lnTo>
                      <a:lnTo>
                        <a:pt x="1152" y="150"/>
                      </a:lnTo>
                      <a:lnTo>
                        <a:pt x="1170" y="138"/>
                      </a:lnTo>
                      <a:lnTo>
                        <a:pt x="1182" y="126"/>
                      </a:lnTo>
                      <a:lnTo>
                        <a:pt x="1194" y="114"/>
                      </a:lnTo>
                      <a:lnTo>
                        <a:pt x="1200" y="108"/>
                      </a:lnTo>
                      <a:lnTo>
                        <a:pt x="1200" y="108"/>
                      </a:lnTo>
                      <a:lnTo>
                        <a:pt x="1278" y="66"/>
                      </a:lnTo>
                      <a:lnTo>
                        <a:pt x="1356" y="78"/>
                      </a:lnTo>
                      <a:lnTo>
                        <a:pt x="1380" y="120"/>
                      </a:lnTo>
                      <a:lnTo>
                        <a:pt x="1362" y="144"/>
                      </a:lnTo>
                      <a:lnTo>
                        <a:pt x="1296" y="162"/>
                      </a:lnTo>
                      <a:lnTo>
                        <a:pt x="1242" y="216"/>
                      </a:lnTo>
                      <a:lnTo>
                        <a:pt x="1182" y="228"/>
                      </a:lnTo>
                      <a:lnTo>
                        <a:pt x="1116" y="264"/>
                      </a:lnTo>
                      <a:lnTo>
                        <a:pt x="1104" y="324"/>
                      </a:lnTo>
                      <a:lnTo>
                        <a:pt x="1158" y="378"/>
                      </a:lnTo>
                      <a:lnTo>
                        <a:pt x="1158" y="522"/>
                      </a:lnTo>
                      <a:lnTo>
                        <a:pt x="1122" y="570"/>
                      </a:lnTo>
                      <a:lnTo>
                        <a:pt x="1050" y="600"/>
                      </a:lnTo>
                      <a:lnTo>
                        <a:pt x="1026" y="636"/>
                      </a:lnTo>
                      <a:lnTo>
                        <a:pt x="1074" y="678"/>
                      </a:lnTo>
                      <a:lnTo>
                        <a:pt x="996" y="774"/>
                      </a:lnTo>
                      <a:lnTo>
                        <a:pt x="990" y="912"/>
                      </a:lnTo>
                      <a:lnTo>
                        <a:pt x="942" y="882"/>
                      </a:lnTo>
                      <a:lnTo>
                        <a:pt x="852" y="912"/>
                      </a:lnTo>
                      <a:lnTo>
                        <a:pt x="852" y="978"/>
                      </a:lnTo>
                      <a:lnTo>
                        <a:pt x="804" y="996"/>
                      </a:lnTo>
                      <a:lnTo>
                        <a:pt x="750" y="1044"/>
                      </a:lnTo>
                      <a:lnTo>
                        <a:pt x="726" y="1110"/>
                      </a:lnTo>
                      <a:lnTo>
                        <a:pt x="732" y="1170"/>
                      </a:lnTo>
                      <a:lnTo>
                        <a:pt x="636" y="1224"/>
                      </a:lnTo>
                      <a:lnTo>
                        <a:pt x="552" y="1224"/>
                      </a:lnTo>
                      <a:lnTo>
                        <a:pt x="498" y="1260"/>
                      </a:lnTo>
                      <a:lnTo>
                        <a:pt x="456" y="1260"/>
                      </a:lnTo>
                      <a:lnTo>
                        <a:pt x="336" y="1272"/>
                      </a:lnTo>
                      <a:lnTo>
                        <a:pt x="210" y="1290"/>
                      </a:lnTo>
                      <a:lnTo>
                        <a:pt x="216" y="1284"/>
                      </a:lnTo>
                      <a:lnTo>
                        <a:pt x="150" y="1206"/>
                      </a:lnTo>
                      <a:lnTo>
                        <a:pt x="132" y="1128"/>
                      </a:lnTo>
                      <a:lnTo>
                        <a:pt x="210" y="1086"/>
                      </a:lnTo>
                      <a:lnTo>
                        <a:pt x="198" y="990"/>
                      </a:lnTo>
                      <a:lnTo>
                        <a:pt x="84" y="966"/>
                      </a:lnTo>
                      <a:lnTo>
                        <a:pt x="24" y="876"/>
                      </a:lnTo>
                      <a:lnTo>
                        <a:pt x="36" y="744"/>
                      </a:lnTo>
                      <a:lnTo>
                        <a:pt x="6" y="684"/>
                      </a:lnTo>
                      <a:lnTo>
                        <a:pt x="0" y="582"/>
                      </a:lnTo>
                      <a:lnTo>
                        <a:pt x="0" y="408"/>
                      </a:lnTo>
                      <a:lnTo>
                        <a:pt x="54" y="438"/>
                      </a:lnTo>
                      <a:lnTo>
                        <a:pt x="108" y="450"/>
                      </a:lnTo>
                      <a:lnTo>
                        <a:pt x="174" y="474"/>
                      </a:lnTo>
                      <a:lnTo>
                        <a:pt x="234" y="450"/>
                      </a:lnTo>
                      <a:lnTo>
                        <a:pt x="246" y="396"/>
                      </a:lnTo>
                      <a:lnTo>
                        <a:pt x="306" y="348"/>
                      </a:lnTo>
                      <a:lnTo>
                        <a:pt x="378" y="306"/>
                      </a:lnTo>
                      <a:lnTo>
                        <a:pt x="396" y="252"/>
                      </a:lnTo>
                      <a:lnTo>
                        <a:pt x="426" y="198"/>
                      </a:lnTo>
                      <a:lnTo>
                        <a:pt x="474" y="210"/>
                      </a:lnTo>
                      <a:lnTo>
                        <a:pt x="546" y="156"/>
                      </a:lnTo>
                      <a:lnTo>
                        <a:pt x="546" y="156"/>
                      </a:lnTo>
                      <a:lnTo>
                        <a:pt x="558" y="156"/>
                      </a:lnTo>
                      <a:lnTo>
                        <a:pt x="576" y="162"/>
                      </a:lnTo>
                      <a:lnTo>
                        <a:pt x="600" y="168"/>
                      </a:lnTo>
                      <a:lnTo>
                        <a:pt x="624" y="168"/>
                      </a:lnTo>
                      <a:lnTo>
                        <a:pt x="654" y="174"/>
                      </a:lnTo>
                      <a:lnTo>
                        <a:pt x="690" y="174"/>
                      </a:lnTo>
                      <a:lnTo>
                        <a:pt x="750" y="168"/>
                      </a:lnTo>
                      <a:lnTo>
                        <a:pt x="810" y="150"/>
                      </a:lnTo>
                      <a:lnTo>
                        <a:pt x="828" y="144"/>
                      </a:lnTo>
                      <a:lnTo>
                        <a:pt x="840" y="138"/>
                      </a:lnTo>
                      <a:lnTo>
                        <a:pt x="846" y="126"/>
                      </a:lnTo>
                      <a:lnTo>
                        <a:pt x="846" y="120"/>
                      </a:lnTo>
                      <a:lnTo>
                        <a:pt x="852" y="114"/>
                      </a:lnTo>
                      <a:lnTo>
                        <a:pt x="852" y="108"/>
                      </a:lnTo>
                      <a:lnTo>
                        <a:pt x="858" y="102"/>
                      </a:lnTo>
                      <a:lnTo>
                        <a:pt x="870" y="96"/>
                      </a:lnTo>
                      <a:lnTo>
                        <a:pt x="888" y="96"/>
                      </a:lnTo>
                      <a:lnTo>
                        <a:pt x="900" y="96"/>
                      </a:lnTo>
                      <a:lnTo>
                        <a:pt x="912" y="96"/>
                      </a:lnTo>
                      <a:lnTo>
                        <a:pt x="918" y="96"/>
                      </a:lnTo>
                      <a:lnTo>
                        <a:pt x="918" y="90"/>
                      </a:lnTo>
                      <a:lnTo>
                        <a:pt x="918" y="84"/>
                      </a:lnTo>
                      <a:lnTo>
                        <a:pt x="912" y="66"/>
                      </a:lnTo>
                      <a:lnTo>
                        <a:pt x="906" y="54"/>
                      </a:lnTo>
                      <a:lnTo>
                        <a:pt x="906" y="42"/>
                      </a:lnTo>
                      <a:lnTo>
                        <a:pt x="912" y="36"/>
                      </a:lnTo>
                      <a:lnTo>
                        <a:pt x="918" y="30"/>
                      </a:lnTo>
                      <a:lnTo>
                        <a:pt x="930" y="24"/>
                      </a:lnTo>
                      <a:lnTo>
                        <a:pt x="942" y="12"/>
                      </a:lnTo>
                      <a:lnTo>
                        <a:pt x="960" y="6"/>
                      </a:lnTo>
                      <a:lnTo>
                        <a:pt x="97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1" name="Freeform 112">
                  <a:extLst>
                    <a:ext uri="{FF2B5EF4-FFF2-40B4-BE49-F238E27FC236}">
                      <a16:creationId xmlns:a16="http://schemas.microsoft.com/office/drawing/2014/main" id="{C3930661-430F-411E-93CB-4D1976F5D9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63" y="-2046"/>
                  <a:ext cx="1014" cy="558"/>
                </a:xfrm>
                <a:custGeom>
                  <a:avLst/>
                  <a:gdLst>
                    <a:gd name="T0" fmla="*/ 672 w 1014"/>
                    <a:gd name="T1" fmla="*/ 0 h 558"/>
                    <a:gd name="T2" fmla="*/ 774 w 1014"/>
                    <a:gd name="T3" fmla="*/ 0 h 558"/>
                    <a:gd name="T4" fmla="*/ 834 w 1014"/>
                    <a:gd name="T5" fmla="*/ 42 h 558"/>
                    <a:gd name="T6" fmla="*/ 906 w 1014"/>
                    <a:gd name="T7" fmla="*/ 48 h 558"/>
                    <a:gd name="T8" fmla="*/ 1014 w 1014"/>
                    <a:gd name="T9" fmla="*/ 60 h 558"/>
                    <a:gd name="T10" fmla="*/ 1002 w 1014"/>
                    <a:gd name="T11" fmla="*/ 120 h 558"/>
                    <a:gd name="T12" fmla="*/ 894 w 1014"/>
                    <a:gd name="T13" fmla="*/ 186 h 558"/>
                    <a:gd name="T14" fmla="*/ 870 w 1014"/>
                    <a:gd name="T15" fmla="*/ 246 h 558"/>
                    <a:gd name="T16" fmla="*/ 798 w 1014"/>
                    <a:gd name="T17" fmla="*/ 270 h 558"/>
                    <a:gd name="T18" fmla="*/ 750 w 1014"/>
                    <a:gd name="T19" fmla="*/ 300 h 558"/>
                    <a:gd name="T20" fmla="*/ 630 w 1014"/>
                    <a:gd name="T21" fmla="*/ 402 h 558"/>
                    <a:gd name="T22" fmla="*/ 588 w 1014"/>
                    <a:gd name="T23" fmla="*/ 366 h 558"/>
                    <a:gd name="T24" fmla="*/ 540 w 1014"/>
                    <a:gd name="T25" fmla="*/ 384 h 558"/>
                    <a:gd name="T26" fmla="*/ 474 w 1014"/>
                    <a:gd name="T27" fmla="*/ 432 h 558"/>
                    <a:gd name="T28" fmla="*/ 480 w 1014"/>
                    <a:gd name="T29" fmla="*/ 516 h 558"/>
                    <a:gd name="T30" fmla="*/ 438 w 1014"/>
                    <a:gd name="T31" fmla="*/ 516 h 558"/>
                    <a:gd name="T32" fmla="*/ 402 w 1014"/>
                    <a:gd name="T33" fmla="*/ 552 h 558"/>
                    <a:gd name="T34" fmla="*/ 300 w 1014"/>
                    <a:gd name="T35" fmla="*/ 558 h 558"/>
                    <a:gd name="T36" fmla="*/ 162 w 1014"/>
                    <a:gd name="T37" fmla="*/ 558 h 558"/>
                    <a:gd name="T38" fmla="*/ 96 w 1014"/>
                    <a:gd name="T39" fmla="*/ 540 h 558"/>
                    <a:gd name="T40" fmla="*/ 12 w 1014"/>
                    <a:gd name="T41" fmla="*/ 534 h 558"/>
                    <a:gd name="T42" fmla="*/ 0 w 1014"/>
                    <a:gd name="T43" fmla="*/ 516 h 558"/>
                    <a:gd name="T44" fmla="*/ 0 w 1014"/>
                    <a:gd name="T45" fmla="*/ 474 h 558"/>
                    <a:gd name="T46" fmla="*/ 84 w 1014"/>
                    <a:gd name="T47" fmla="*/ 462 h 558"/>
                    <a:gd name="T48" fmla="*/ 120 w 1014"/>
                    <a:gd name="T49" fmla="*/ 426 h 558"/>
                    <a:gd name="T50" fmla="*/ 126 w 1014"/>
                    <a:gd name="T51" fmla="*/ 426 h 558"/>
                    <a:gd name="T52" fmla="*/ 168 w 1014"/>
                    <a:gd name="T53" fmla="*/ 426 h 558"/>
                    <a:gd name="T54" fmla="*/ 228 w 1014"/>
                    <a:gd name="T55" fmla="*/ 414 h 558"/>
                    <a:gd name="T56" fmla="*/ 300 w 1014"/>
                    <a:gd name="T57" fmla="*/ 396 h 558"/>
                    <a:gd name="T58" fmla="*/ 312 w 1014"/>
                    <a:gd name="T59" fmla="*/ 336 h 558"/>
                    <a:gd name="T60" fmla="*/ 270 w 1014"/>
                    <a:gd name="T61" fmla="*/ 318 h 558"/>
                    <a:gd name="T62" fmla="*/ 210 w 1014"/>
                    <a:gd name="T63" fmla="*/ 282 h 558"/>
                    <a:gd name="T64" fmla="*/ 144 w 1014"/>
                    <a:gd name="T65" fmla="*/ 288 h 558"/>
                    <a:gd name="T66" fmla="*/ 78 w 1014"/>
                    <a:gd name="T67" fmla="*/ 276 h 558"/>
                    <a:gd name="T68" fmla="*/ 54 w 1014"/>
                    <a:gd name="T69" fmla="*/ 258 h 558"/>
                    <a:gd name="T70" fmla="*/ 54 w 1014"/>
                    <a:gd name="T71" fmla="*/ 180 h 558"/>
                    <a:gd name="T72" fmla="*/ 48 w 1014"/>
                    <a:gd name="T73" fmla="*/ 180 h 558"/>
                    <a:gd name="T74" fmla="*/ 66 w 1014"/>
                    <a:gd name="T75" fmla="*/ 126 h 558"/>
                    <a:gd name="T76" fmla="*/ 102 w 1014"/>
                    <a:gd name="T77" fmla="*/ 84 h 558"/>
                    <a:gd name="T78" fmla="*/ 156 w 1014"/>
                    <a:gd name="T79" fmla="*/ 84 h 558"/>
                    <a:gd name="T80" fmla="*/ 210 w 1014"/>
                    <a:gd name="T81" fmla="*/ 114 h 558"/>
                    <a:gd name="T82" fmla="*/ 270 w 1014"/>
                    <a:gd name="T83" fmla="*/ 132 h 558"/>
                    <a:gd name="T84" fmla="*/ 300 w 1014"/>
                    <a:gd name="T85" fmla="*/ 96 h 558"/>
                    <a:gd name="T86" fmla="*/ 288 w 1014"/>
                    <a:gd name="T87" fmla="*/ 30 h 558"/>
                    <a:gd name="T88" fmla="*/ 348 w 1014"/>
                    <a:gd name="T89" fmla="*/ 0 h 558"/>
                    <a:gd name="T90" fmla="*/ 432 w 1014"/>
                    <a:gd name="T91" fmla="*/ 18 h 558"/>
                    <a:gd name="T92" fmla="*/ 444 w 1014"/>
                    <a:gd name="T93" fmla="*/ 18 h 558"/>
                    <a:gd name="T94" fmla="*/ 474 w 1014"/>
                    <a:gd name="T95" fmla="*/ 18 h 558"/>
                    <a:gd name="T96" fmla="*/ 510 w 1014"/>
                    <a:gd name="T97" fmla="*/ 12 h 558"/>
                    <a:gd name="T98" fmla="*/ 546 w 1014"/>
                    <a:gd name="T99" fmla="*/ 12 h 558"/>
                    <a:gd name="T100" fmla="*/ 558 w 1014"/>
                    <a:gd name="T101" fmla="*/ 12 h 558"/>
                    <a:gd name="T102" fmla="*/ 576 w 1014"/>
                    <a:gd name="T103" fmla="*/ 12 h 558"/>
                    <a:gd name="T104" fmla="*/ 618 w 1014"/>
                    <a:gd name="T105" fmla="*/ 6 h 558"/>
                    <a:gd name="T106" fmla="*/ 654 w 1014"/>
                    <a:gd name="T107" fmla="*/ 0 h 558"/>
                    <a:gd name="T108" fmla="*/ 672 w 1014"/>
                    <a:gd name="T109" fmla="*/ 0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14" h="558">
                      <a:moveTo>
                        <a:pt x="672" y="0"/>
                      </a:moveTo>
                      <a:lnTo>
                        <a:pt x="774" y="0"/>
                      </a:lnTo>
                      <a:lnTo>
                        <a:pt x="834" y="42"/>
                      </a:lnTo>
                      <a:lnTo>
                        <a:pt x="906" y="48"/>
                      </a:lnTo>
                      <a:lnTo>
                        <a:pt x="1014" y="60"/>
                      </a:lnTo>
                      <a:lnTo>
                        <a:pt x="1002" y="120"/>
                      </a:lnTo>
                      <a:lnTo>
                        <a:pt x="894" y="186"/>
                      </a:lnTo>
                      <a:lnTo>
                        <a:pt x="870" y="246"/>
                      </a:lnTo>
                      <a:lnTo>
                        <a:pt x="798" y="270"/>
                      </a:lnTo>
                      <a:lnTo>
                        <a:pt x="750" y="300"/>
                      </a:lnTo>
                      <a:lnTo>
                        <a:pt x="630" y="402"/>
                      </a:lnTo>
                      <a:lnTo>
                        <a:pt x="588" y="366"/>
                      </a:lnTo>
                      <a:lnTo>
                        <a:pt x="540" y="384"/>
                      </a:lnTo>
                      <a:lnTo>
                        <a:pt x="474" y="432"/>
                      </a:lnTo>
                      <a:lnTo>
                        <a:pt x="480" y="516"/>
                      </a:lnTo>
                      <a:lnTo>
                        <a:pt x="438" y="516"/>
                      </a:lnTo>
                      <a:lnTo>
                        <a:pt x="402" y="552"/>
                      </a:lnTo>
                      <a:lnTo>
                        <a:pt x="300" y="558"/>
                      </a:lnTo>
                      <a:lnTo>
                        <a:pt x="162" y="558"/>
                      </a:lnTo>
                      <a:lnTo>
                        <a:pt x="96" y="540"/>
                      </a:lnTo>
                      <a:lnTo>
                        <a:pt x="12" y="534"/>
                      </a:lnTo>
                      <a:lnTo>
                        <a:pt x="0" y="516"/>
                      </a:lnTo>
                      <a:lnTo>
                        <a:pt x="0" y="474"/>
                      </a:lnTo>
                      <a:lnTo>
                        <a:pt x="84" y="462"/>
                      </a:lnTo>
                      <a:lnTo>
                        <a:pt x="120" y="426"/>
                      </a:lnTo>
                      <a:lnTo>
                        <a:pt x="126" y="426"/>
                      </a:lnTo>
                      <a:lnTo>
                        <a:pt x="168" y="426"/>
                      </a:lnTo>
                      <a:lnTo>
                        <a:pt x="228" y="414"/>
                      </a:lnTo>
                      <a:lnTo>
                        <a:pt x="300" y="396"/>
                      </a:lnTo>
                      <a:lnTo>
                        <a:pt x="312" y="336"/>
                      </a:lnTo>
                      <a:lnTo>
                        <a:pt x="270" y="318"/>
                      </a:lnTo>
                      <a:lnTo>
                        <a:pt x="210" y="282"/>
                      </a:lnTo>
                      <a:lnTo>
                        <a:pt x="144" y="288"/>
                      </a:lnTo>
                      <a:lnTo>
                        <a:pt x="78" y="276"/>
                      </a:lnTo>
                      <a:lnTo>
                        <a:pt x="54" y="258"/>
                      </a:lnTo>
                      <a:lnTo>
                        <a:pt x="54" y="180"/>
                      </a:lnTo>
                      <a:lnTo>
                        <a:pt x="48" y="180"/>
                      </a:lnTo>
                      <a:lnTo>
                        <a:pt x="66" y="126"/>
                      </a:lnTo>
                      <a:lnTo>
                        <a:pt x="102" y="84"/>
                      </a:lnTo>
                      <a:lnTo>
                        <a:pt x="156" y="84"/>
                      </a:lnTo>
                      <a:lnTo>
                        <a:pt x="210" y="114"/>
                      </a:lnTo>
                      <a:lnTo>
                        <a:pt x="270" y="132"/>
                      </a:lnTo>
                      <a:lnTo>
                        <a:pt x="300" y="96"/>
                      </a:lnTo>
                      <a:lnTo>
                        <a:pt x="288" y="30"/>
                      </a:lnTo>
                      <a:lnTo>
                        <a:pt x="348" y="0"/>
                      </a:lnTo>
                      <a:lnTo>
                        <a:pt x="432" y="18"/>
                      </a:lnTo>
                      <a:lnTo>
                        <a:pt x="444" y="18"/>
                      </a:lnTo>
                      <a:lnTo>
                        <a:pt x="474" y="18"/>
                      </a:lnTo>
                      <a:lnTo>
                        <a:pt x="510" y="12"/>
                      </a:lnTo>
                      <a:lnTo>
                        <a:pt x="546" y="12"/>
                      </a:lnTo>
                      <a:lnTo>
                        <a:pt x="558" y="12"/>
                      </a:lnTo>
                      <a:lnTo>
                        <a:pt x="576" y="12"/>
                      </a:lnTo>
                      <a:lnTo>
                        <a:pt x="618" y="6"/>
                      </a:lnTo>
                      <a:lnTo>
                        <a:pt x="654" y="0"/>
                      </a:lnTo>
                      <a:lnTo>
                        <a:pt x="67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2" name="Freeform 113">
                  <a:extLst>
                    <a:ext uri="{FF2B5EF4-FFF2-40B4-BE49-F238E27FC236}">
                      <a16:creationId xmlns:a16="http://schemas.microsoft.com/office/drawing/2014/main" id="{0F08C680-861F-4DD4-AFF1-1AC47E487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77" y="-1698"/>
                  <a:ext cx="846" cy="540"/>
                </a:xfrm>
                <a:custGeom>
                  <a:avLst/>
                  <a:gdLst>
                    <a:gd name="T0" fmla="*/ 252 w 846"/>
                    <a:gd name="T1" fmla="*/ 12 h 540"/>
                    <a:gd name="T2" fmla="*/ 306 w 846"/>
                    <a:gd name="T3" fmla="*/ 78 h 540"/>
                    <a:gd name="T4" fmla="*/ 186 w 846"/>
                    <a:gd name="T5" fmla="*/ 126 h 540"/>
                    <a:gd name="T6" fmla="*/ 198 w 846"/>
                    <a:gd name="T7" fmla="*/ 186 h 540"/>
                    <a:gd name="T8" fmla="*/ 348 w 846"/>
                    <a:gd name="T9" fmla="*/ 210 h 540"/>
                    <a:gd name="T10" fmla="*/ 588 w 846"/>
                    <a:gd name="T11" fmla="*/ 204 h 540"/>
                    <a:gd name="T12" fmla="*/ 708 w 846"/>
                    <a:gd name="T13" fmla="*/ 270 h 540"/>
                    <a:gd name="T14" fmla="*/ 810 w 846"/>
                    <a:gd name="T15" fmla="*/ 336 h 540"/>
                    <a:gd name="T16" fmla="*/ 846 w 846"/>
                    <a:gd name="T17" fmla="*/ 462 h 540"/>
                    <a:gd name="T18" fmla="*/ 744 w 846"/>
                    <a:gd name="T19" fmla="*/ 444 h 540"/>
                    <a:gd name="T20" fmla="*/ 588 w 846"/>
                    <a:gd name="T21" fmla="*/ 474 h 540"/>
                    <a:gd name="T22" fmla="*/ 582 w 846"/>
                    <a:gd name="T23" fmla="*/ 480 h 540"/>
                    <a:gd name="T24" fmla="*/ 558 w 846"/>
                    <a:gd name="T25" fmla="*/ 504 h 540"/>
                    <a:gd name="T26" fmla="*/ 528 w 846"/>
                    <a:gd name="T27" fmla="*/ 522 h 540"/>
                    <a:gd name="T28" fmla="*/ 504 w 846"/>
                    <a:gd name="T29" fmla="*/ 534 h 540"/>
                    <a:gd name="T30" fmla="*/ 480 w 846"/>
                    <a:gd name="T31" fmla="*/ 528 h 540"/>
                    <a:gd name="T32" fmla="*/ 468 w 846"/>
                    <a:gd name="T33" fmla="*/ 510 h 540"/>
                    <a:gd name="T34" fmla="*/ 462 w 846"/>
                    <a:gd name="T35" fmla="*/ 474 h 540"/>
                    <a:gd name="T36" fmla="*/ 456 w 846"/>
                    <a:gd name="T37" fmla="*/ 432 h 540"/>
                    <a:gd name="T38" fmla="*/ 444 w 846"/>
                    <a:gd name="T39" fmla="*/ 414 h 540"/>
                    <a:gd name="T40" fmla="*/ 420 w 846"/>
                    <a:gd name="T41" fmla="*/ 402 h 540"/>
                    <a:gd name="T42" fmla="*/ 402 w 846"/>
                    <a:gd name="T43" fmla="*/ 402 h 540"/>
                    <a:gd name="T44" fmla="*/ 390 w 846"/>
                    <a:gd name="T45" fmla="*/ 384 h 540"/>
                    <a:gd name="T46" fmla="*/ 384 w 846"/>
                    <a:gd name="T47" fmla="*/ 372 h 540"/>
                    <a:gd name="T48" fmla="*/ 366 w 846"/>
                    <a:gd name="T49" fmla="*/ 366 h 540"/>
                    <a:gd name="T50" fmla="*/ 330 w 846"/>
                    <a:gd name="T51" fmla="*/ 378 h 540"/>
                    <a:gd name="T52" fmla="*/ 306 w 846"/>
                    <a:gd name="T53" fmla="*/ 396 h 540"/>
                    <a:gd name="T54" fmla="*/ 294 w 846"/>
                    <a:gd name="T55" fmla="*/ 408 h 540"/>
                    <a:gd name="T56" fmla="*/ 300 w 846"/>
                    <a:gd name="T57" fmla="*/ 432 h 540"/>
                    <a:gd name="T58" fmla="*/ 306 w 846"/>
                    <a:gd name="T59" fmla="*/ 456 h 540"/>
                    <a:gd name="T60" fmla="*/ 300 w 846"/>
                    <a:gd name="T61" fmla="*/ 462 h 540"/>
                    <a:gd name="T62" fmla="*/ 276 w 846"/>
                    <a:gd name="T63" fmla="*/ 462 h 540"/>
                    <a:gd name="T64" fmla="*/ 246 w 846"/>
                    <a:gd name="T65" fmla="*/ 468 h 540"/>
                    <a:gd name="T66" fmla="*/ 240 w 846"/>
                    <a:gd name="T67" fmla="*/ 480 h 540"/>
                    <a:gd name="T68" fmla="*/ 234 w 846"/>
                    <a:gd name="T69" fmla="*/ 492 h 540"/>
                    <a:gd name="T70" fmla="*/ 216 w 846"/>
                    <a:gd name="T71" fmla="*/ 510 h 540"/>
                    <a:gd name="T72" fmla="*/ 138 w 846"/>
                    <a:gd name="T73" fmla="*/ 534 h 540"/>
                    <a:gd name="T74" fmla="*/ 84 w 846"/>
                    <a:gd name="T75" fmla="*/ 450 h 540"/>
                    <a:gd name="T76" fmla="*/ 78 w 846"/>
                    <a:gd name="T77" fmla="*/ 300 h 540"/>
                    <a:gd name="T78" fmla="*/ 6 w 846"/>
                    <a:gd name="T79" fmla="*/ 210 h 540"/>
                    <a:gd name="T80" fmla="*/ 108 w 846"/>
                    <a:gd name="T81" fmla="*/ 144 h 540"/>
                    <a:gd name="T82" fmla="*/ 162 w 846"/>
                    <a:gd name="T83" fmla="*/ 24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846" h="540">
                      <a:moveTo>
                        <a:pt x="198" y="0"/>
                      </a:moveTo>
                      <a:lnTo>
                        <a:pt x="252" y="12"/>
                      </a:lnTo>
                      <a:lnTo>
                        <a:pt x="312" y="78"/>
                      </a:lnTo>
                      <a:lnTo>
                        <a:pt x="306" y="78"/>
                      </a:lnTo>
                      <a:lnTo>
                        <a:pt x="270" y="114"/>
                      </a:lnTo>
                      <a:lnTo>
                        <a:pt x="186" y="126"/>
                      </a:lnTo>
                      <a:lnTo>
                        <a:pt x="186" y="168"/>
                      </a:lnTo>
                      <a:lnTo>
                        <a:pt x="198" y="186"/>
                      </a:lnTo>
                      <a:lnTo>
                        <a:pt x="282" y="192"/>
                      </a:lnTo>
                      <a:lnTo>
                        <a:pt x="348" y="210"/>
                      </a:lnTo>
                      <a:lnTo>
                        <a:pt x="486" y="210"/>
                      </a:lnTo>
                      <a:lnTo>
                        <a:pt x="588" y="204"/>
                      </a:lnTo>
                      <a:lnTo>
                        <a:pt x="648" y="252"/>
                      </a:lnTo>
                      <a:lnTo>
                        <a:pt x="708" y="270"/>
                      </a:lnTo>
                      <a:lnTo>
                        <a:pt x="756" y="300"/>
                      </a:lnTo>
                      <a:lnTo>
                        <a:pt x="810" y="336"/>
                      </a:lnTo>
                      <a:lnTo>
                        <a:pt x="816" y="402"/>
                      </a:lnTo>
                      <a:lnTo>
                        <a:pt x="846" y="462"/>
                      </a:lnTo>
                      <a:lnTo>
                        <a:pt x="768" y="486"/>
                      </a:lnTo>
                      <a:lnTo>
                        <a:pt x="744" y="444"/>
                      </a:lnTo>
                      <a:lnTo>
                        <a:pt x="666" y="432"/>
                      </a:lnTo>
                      <a:lnTo>
                        <a:pt x="588" y="474"/>
                      </a:lnTo>
                      <a:lnTo>
                        <a:pt x="588" y="474"/>
                      </a:lnTo>
                      <a:lnTo>
                        <a:pt x="582" y="480"/>
                      </a:lnTo>
                      <a:lnTo>
                        <a:pt x="570" y="492"/>
                      </a:lnTo>
                      <a:lnTo>
                        <a:pt x="558" y="504"/>
                      </a:lnTo>
                      <a:lnTo>
                        <a:pt x="540" y="516"/>
                      </a:lnTo>
                      <a:lnTo>
                        <a:pt x="528" y="522"/>
                      </a:lnTo>
                      <a:lnTo>
                        <a:pt x="516" y="528"/>
                      </a:lnTo>
                      <a:lnTo>
                        <a:pt x="504" y="534"/>
                      </a:lnTo>
                      <a:lnTo>
                        <a:pt x="492" y="534"/>
                      </a:lnTo>
                      <a:lnTo>
                        <a:pt x="480" y="528"/>
                      </a:lnTo>
                      <a:lnTo>
                        <a:pt x="474" y="522"/>
                      </a:lnTo>
                      <a:lnTo>
                        <a:pt x="468" y="510"/>
                      </a:lnTo>
                      <a:lnTo>
                        <a:pt x="462" y="492"/>
                      </a:lnTo>
                      <a:lnTo>
                        <a:pt x="462" y="474"/>
                      </a:lnTo>
                      <a:lnTo>
                        <a:pt x="462" y="450"/>
                      </a:lnTo>
                      <a:lnTo>
                        <a:pt x="456" y="432"/>
                      </a:lnTo>
                      <a:lnTo>
                        <a:pt x="450" y="420"/>
                      </a:lnTo>
                      <a:lnTo>
                        <a:pt x="444" y="414"/>
                      </a:lnTo>
                      <a:lnTo>
                        <a:pt x="432" y="408"/>
                      </a:lnTo>
                      <a:lnTo>
                        <a:pt x="420" y="402"/>
                      </a:lnTo>
                      <a:lnTo>
                        <a:pt x="414" y="402"/>
                      </a:lnTo>
                      <a:lnTo>
                        <a:pt x="402" y="402"/>
                      </a:lnTo>
                      <a:lnTo>
                        <a:pt x="396" y="396"/>
                      </a:lnTo>
                      <a:lnTo>
                        <a:pt x="390" y="384"/>
                      </a:lnTo>
                      <a:lnTo>
                        <a:pt x="390" y="378"/>
                      </a:lnTo>
                      <a:lnTo>
                        <a:pt x="384" y="372"/>
                      </a:lnTo>
                      <a:lnTo>
                        <a:pt x="372" y="366"/>
                      </a:lnTo>
                      <a:lnTo>
                        <a:pt x="366" y="366"/>
                      </a:lnTo>
                      <a:lnTo>
                        <a:pt x="348" y="372"/>
                      </a:lnTo>
                      <a:lnTo>
                        <a:pt x="330" y="378"/>
                      </a:lnTo>
                      <a:lnTo>
                        <a:pt x="318" y="390"/>
                      </a:lnTo>
                      <a:lnTo>
                        <a:pt x="306" y="396"/>
                      </a:lnTo>
                      <a:lnTo>
                        <a:pt x="300" y="402"/>
                      </a:lnTo>
                      <a:lnTo>
                        <a:pt x="294" y="408"/>
                      </a:lnTo>
                      <a:lnTo>
                        <a:pt x="294" y="420"/>
                      </a:lnTo>
                      <a:lnTo>
                        <a:pt x="300" y="432"/>
                      </a:lnTo>
                      <a:lnTo>
                        <a:pt x="306" y="450"/>
                      </a:lnTo>
                      <a:lnTo>
                        <a:pt x="306" y="456"/>
                      </a:lnTo>
                      <a:lnTo>
                        <a:pt x="306" y="462"/>
                      </a:lnTo>
                      <a:lnTo>
                        <a:pt x="300" y="462"/>
                      </a:lnTo>
                      <a:lnTo>
                        <a:pt x="288" y="462"/>
                      </a:lnTo>
                      <a:lnTo>
                        <a:pt x="276" y="462"/>
                      </a:lnTo>
                      <a:lnTo>
                        <a:pt x="258" y="462"/>
                      </a:lnTo>
                      <a:lnTo>
                        <a:pt x="246" y="468"/>
                      </a:lnTo>
                      <a:lnTo>
                        <a:pt x="240" y="474"/>
                      </a:lnTo>
                      <a:lnTo>
                        <a:pt x="240" y="480"/>
                      </a:lnTo>
                      <a:lnTo>
                        <a:pt x="234" y="486"/>
                      </a:lnTo>
                      <a:lnTo>
                        <a:pt x="234" y="492"/>
                      </a:lnTo>
                      <a:lnTo>
                        <a:pt x="228" y="504"/>
                      </a:lnTo>
                      <a:lnTo>
                        <a:pt x="216" y="510"/>
                      </a:lnTo>
                      <a:lnTo>
                        <a:pt x="198" y="516"/>
                      </a:lnTo>
                      <a:lnTo>
                        <a:pt x="138" y="534"/>
                      </a:lnTo>
                      <a:lnTo>
                        <a:pt x="78" y="540"/>
                      </a:lnTo>
                      <a:lnTo>
                        <a:pt x="84" y="450"/>
                      </a:lnTo>
                      <a:lnTo>
                        <a:pt x="96" y="366"/>
                      </a:lnTo>
                      <a:lnTo>
                        <a:pt x="78" y="300"/>
                      </a:lnTo>
                      <a:lnTo>
                        <a:pt x="0" y="276"/>
                      </a:lnTo>
                      <a:lnTo>
                        <a:pt x="6" y="210"/>
                      </a:lnTo>
                      <a:lnTo>
                        <a:pt x="48" y="162"/>
                      </a:lnTo>
                      <a:lnTo>
                        <a:pt x="108" y="144"/>
                      </a:lnTo>
                      <a:lnTo>
                        <a:pt x="120" y="90"/>
                      </a:lnTo>
                      <a:lnTo>
                        <a:pt x="162" y="24"/>
                      </a:lnTo>
                      <a:lnTo>
                        <a:pt x="19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3" name="Freeform 114">
                  <a:extLst>
                    <a:ext uri="{FF2B5EF4-FFF2-40B4-BE49-F238E27FC236}">
                      <a16:creationId xmlns:a16="http://schemas.microsoft.com/office/drawing/2014/main" id="{6F1C525F-7240-4E77-9B8E-5DC5B9332E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37" y="-204"/>
                  <a:ext cx="1026" cy="2418"/>
                </a:xfrm>
                <a:custGeom>
                  <a:avLst/>
                  <a:gdLst>
                    <a:gd name="T0" fmla="*/ 870 w 1026"/>
                    <a:gd name="T1" fmla="*/ 2418 h 2418"/>
                    <a:gd name="T2" fmla="*/ 492 w 1026"/>
                    <a:gd name="T3" fmla="*/ 60 h 2418"/>
                    <a:gd name="T4" fmla="*/ 588 w 1026"/>
                    <a:gd name="T5" fmla="*/ 186 h 2418"/>
                    <a:gd name="T6" fmla="*/ 588 w 1026"/>
                    <a:gd name="T7" fmla="*/ 396 h 2418"/>
                    <a:gd name="T8" fmla="*/ 534 w 1026"/>
                    <a:gd name="T9" fmla="*/ 576 h 2418"/>
                    <a:gd name="T10" fmla="*/ 768 w 1026"/>
                    <a:gd name="T11" fmla="*/ 696 h 2418"/>
                    <a:gd name="T12" fmla="*/ 864 w 1026"/>
                    <a:gd name="T13" fmla="*/ 888 h 2418"/>
                    <a:gd name="T14" fmla="*/ 996 w 1026"/>
                    <a:gd name="T15" fmla="*/ 930 h 2418"/>
                    <a:gd name="T16" fmla="*/ 900 w 1026"/>
                    <a:gd name="T17" fmla="*/ 1056 h 2418"/>
                    <a:gd name="T18" fmla="*/ 756 w 1026"/>
                    <a:gd name="T19" fmla="*/ 1146 h 2418"/>
                    <a:gd name="T20" fmla="*/ 600 w 1026"/>
                    <a:gd name="T21" fmla="*/ 1212 h 2418"/>
                    <a:gd name="T22" fmla="*/ 684 w 1026"/>
                    <a:gd name="T23" fmla="*/ 1398 h 2418"/>
                    <a:gd name="T24" fmla="*/ 828 w 1026"/>
                    <a:gd name="T25" fmla="*/ 1554 h 2418"/>
                    <a:gd name="T26" fmla="*/ 774 w 1026"/>
                    <a:gd name="T27" fmla="*/ 1794 h 2418"/>
                    <a:gd name="T28" fmla="*/ 858 w 1026"/>
                    <a:gd name="T29" fmla="*/ 1908 h 2418"/>
                    <a:gd name="T30" fmla="*/ 942 w 1026"/>
                    <a:gd name="T31" fmla="*/ 2124 h 2418"/>
                    <a:gd name="T32" fmla="*/ 870 w 1026"/>
                    <a:gd name="T33" fmla="*/ 2418 h 2418"/>
                    <a:gd name="T34" fmla="*/ 864 w 1026"/>
                    <a:gd name="T35" fmla="*/ 2382 h 2418"/>
                    <a:gd name="T36" fmla="*/ 876 w 1026"/>
                    <a:gd name="T37" fmla="*/ 2340 h 2418"/>
                    <a:gd name="T38" fmla="*/ 864 w 1026"/>
                    <a:gd name="T39" fmla="*/ 2310 h 2418"/>
                    <a:gd name="T40" fmla="*/ 822 w 1026"/>
                    <a:gd name="T41" fmla="*/ 2190 h 2418"/>
                    <a:gd name="T42" fmla="*/ 804 w 1026"/>
                    <a:gd name="T43" fmla="*/ 2154 h 2418"/>
                    <a:gd name="T44" fmla="*/ 810 w 1026"/>
                    <a:gd name="T45" fmla="*/ 2124 h 2418"/>
                    <a:gd name="T46" fmla="*/ 858 w 1026"/>
                    <a:gd name="T47" fmla="*/ 2094 h 2418"/>
                    <a:gd name="T48" fmla="*/ 816 w 1026"/>
                    <a:gd name="T49" fmla="*/ 2016 h 2418"/>
                    <a:gd name="T50" fmla="*/ 786 w 1026"/>
                    <a:gd name="T51" fmla="*/ 1962 h 2418"/>
                    <a:gd name="T52" fmla="*/ 750 w 1026"/>
                    <a:gd name="T53" fmla="*/ 1944 h 2418"/>
                    <a:gd name="T54" fmla="*/ 726 w 1026"/>
                    <a:gd name="T55" fmla="*/ 1920 h 2418"/>
                    <a:gd name="T56" fmla="*/ 726 w 1026"/>
                    <a:gd name="T57" fmla="*/ 1848 h 2418"/>
                    <a:gd name="T58" fmla="*/ 684 w 1026"/>
                    <a:gd name="T59" fmla="*/ 1746 h 2418"/>
                    <a:gd name="T60" fmla="*/ 690 w 1026"/>
                    <a:gd name="T61" fmla="*/ 1632 h 2418"/>
                    <a:gd name="T62" fmla="*/ 624 w 1026"/>
                    <a:gd name="T63" fmla="*/ 1518 h 2418"/>
                    <a:gd name="T64" fmla="*/ 600 w 1026"/>
                    <a:gd name="T65" fmla="*/ 1476 h 2418"/>
                    <a:gd name="T66" fmla="*/ 582 w 1026"/>
                    <a:gd name="T67" fmla="*/ 1482 h 2418"/>
                    <a:gd name="T68" fmla="*/ 576 w 1026"/>
                    <a:gd name="T69" fmla="*/ 1530 h 2418"/>
                    <a:gd name="T70" fmla="*/ 540 w 1026"/>
                    <a:gd name="T71" fmla="*/ 1560 h 2418"/>
                    <a:gd name="T72" fmla="*/ 498 w 1026"/>
                    <a:gd name="T73" fmla="*/ 1602 h 2418"/>
                    <a:gd name="T74" fmla="*/ 462 w 1026"/>
                    <a:gd name="T75" fmla="*/ 1626 h 2418"/>
                    <a:gd name="T76" fmla="*/ 432 w 1026"/>
                    <a:gd name="T77" fmla="*/ 1650 h 2418"/>
                    <a:gd name="T78" fmla="*/ 396 w 1026"/>
                    <a:gd name="T79" fmla="*/ 1644 h 2418"/>
                    <a:gd name="T80" fmla="*/ 366 w 1026"/>
                    <a:gd name="T81" fmla="*/ 1632 h 2418"/>
                    <a:gd name="T82" fmla="*/ 342 w 1026"/>
                    <a:gd name="T83" fmla="*/ 1632 h 2418"/>
                    <a:gd name="T84" fmla="*/ 324 w 1026"/>
                    <a:gd name="T85" fmla="*/ 1554 h 2418"/>
                    <a:gd name="T86" fmla="*/ 336 w 1026"/>
                    <a:gd name="T87" fmla="*/ 1428 h 2418"/>
                    <a:gd name="T88" fmla="*/ 252 w 1026"/>
                    <a:gd name="T89" fmla="*/ 1284 h 2418"/>
                    <a:gd name="T90" fmla="*/ 72 w 1026"/>
                    <a:gd name="T91" fmla="*/ 1134 h 2418"/>
                    <a:gd name="T92" fmla="*/ 0 w 1026"/>
                    <a:gd name="T93" fmla="*/ 1074 h 2418"/>
                    <a:gd name="T94" fmla="*/ 0 w 1026"/>
                    <a:gd name="T95" fmla="*/ 1032 h 2418"/>
                    <a:gd name="T96" fmla="*/ 30 w 1026"/>
                    <a:gd name="T97" fmla="*/ 888 h 2418"/>
                    <a:gd name="T98" fmla="*/ 42 w 1026"/>
                    <a:gd name="T99" fmla="*/ 738 h 2418"/>
                    <a:gd name="T100" fmla="*/ 156 w 1026"/>
                    <a:gd name="T101" fmla="*/ 612 h 2418"/>
                    <a:gd name="T102" fmla="*/ 204 w 1026"/>
                    <a:gd name="T103" fmla="*/ 276 h 2418"/>
                    <a:gd name="T104" fmla="*/ 354 w 1026"/>
                    <a:gd name="T105" fmla="*/ 36 h 24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26" h="2418">
                      <a:moveTo>
                        <a:pt x="870" y="2418"/>
                      </a:moveTo>
                      <a:lnTo>
                        <a:pt x="870" y="2418"/>
                      </a:lnTo>
                      <a:lnTo>
                        <a:pt x="870" y="2418"/>
                      </a:lnTo>
                      <a:lnTo>
                        <a:pt x="870" y="2418"/>
                      </a:lnTo>
                      <a:close/>
                      <a:moveTo>
                        <a:pt x="444" y="0"/>
                      </a:moveTo>
                      <a:lnTo>
                        <a:pt x="492" y="60"/>
                      </a:lnTo>
                      <a:lnTo>
                        <a:pt x="522" y="96"/>
                      </a:lnTo>
                      <a:lnTo>
                        <a:pt x="534" y="138"/>
                      </a:lnTo>
                      <a:lnTo>
                        <a:pt x="588" y="186"/>
                      </a:lnTo>
                      <a:lnTo>
                        <a:pt x="606" y="240"/>
                      </a:lnTo>
                      <a:lnTo>
                        <a:pt x="594" y="318"/>
                      </a:lnTo>
                      <a:lnTo>
                        <a:pt x="588" y="396"/>
                      </a:lnTo>
                      <a:lnTo>
                        <a:pt x="528" y="450"/>
                      </a:lnTo>
                      <a:lnTo>
                        <a:pt x="516" y="516"/>
                      </a:lnTo>
                      <a:lnTo>
                        <a:pt x="534" y="576"/>
                      </a:lnTo>
                      <a:lnTo>
                        <a:pt x="642" y="588"/>
                      </a:lnTo>
                      <a:lnTo>
                        <a:pt x="660" y="642"/>
                      </a:lnTo>
                      <a:lnTo>
                        <a:pt x="768" y="696"/>
                      </a:lnTo>
                      <a:lnTo>
                        <a:pt x="762" y="840"/>
                      </a:lnTo>
                      <a:lnTo>
                        <a:pt x="822" y="852"/>
                      </a:lnTo>
                      <a:lnTo>
                        <a:pt x="864" y="888"/>
                      </a:lnTo>
                      <a:lnTo>
                        <a:pt x="1008" y="888"/>
                      </a:lnTo>
                      <a:lnTo>
                        <a:pt x="1026" y="912"/>
                      </a:lnTo>
                      <a:lnTo>
                        <a:pt x="996" y="930"/>
                      </a:lnTo>
                      <a:lnTo>
                        <a:pt x="960" y="936"/>
                      </a:lnTo>
                      <a:lnTo>
                        <a:pt x="906" y="954"/>
                      </a:lnTo>
                      <a:lnTo>
                        <a:pt x="900" y="1056"/>
                      </a:lnTo>
                      <a:lnTo>
                        <a:pt x="834" y="1056"/>
                      </a:lnTo>
                      <a:lnTo>
                        <a:pt x="798" y="1098"/>
                      </a:lnTo>
                      <a:lnTo>
                        <a:pt x="756" y="1146"/>
                      </a:lnTo>
                      <a:lnTo>
                        <a:pt x="672" y="1146"/>
                      </a:lnTo>
                      <a:lnTo>
                        <a:pt x="612" y="1164"/>
                      </a:lnTo>
                      <a:lnTo>
                        <a:pt x="600" y="1212"/>
                      </a:lnTo>
                      <a:lnTo>
                        <a:pt x="600" y="1296"/>
                      </a:lnTo>
                      <a:lnTo>
                        <a:pt x="630" y="1344"/>
                      </a:lnTo>
                      <a:lnTo>
                        <a:pt x="684" y="1398"/>
                      </a:lnTo>
                      <a:lnTo>
                        <a:pt x="744" y="1446"/>
                      </a:lnTo>
                      <a:lnTo>
                        <a:pt x="756" y="1494"/>
                      </a:lnTo>
                      <a:lnTo>
                        <a:pt x="828" y="1554"/>
                      </a:lnTo>
                      <a:lnTo>
                        <a:pt x="828" y="1602"/>
                      </a:lnTo>
                      <a:lnTo>
                        <a:pt x="786" y="1692"/>
                      </a:lnTo>
                      <a:lnTo>
                        <a:pt x="774" y="1794"/>
                      </a:lnTo>
                      <a:lnTo>
                        <a:pt x="810" y="1842"/>
                      </a:lnTo>
                      <a:lnTo>
                        <a:pt x="810" y="1884"/>
                      </a:lnTo>
                      <a:lnTo>
                        <a:pt x="858" y="1908"/>
                      </a:lnTo>
                      <a:lnTo>
                        <a:pt x="906" y="1980"/>
                      </a:lnTo>
                      <a:lnTo>
                        <a:pt x="900" y="2064"/>
                      </a:lnTo>
                      <a:lnTo>
                        <a:pt x="942" y="2124"/>
                      </a:lnTo>
                      <a:lnTo>
                        <a:pt x="942" y="2226"/>
                      </a:lnTo>
                      <a:lnTo>
                        <a:pt x="906" y="2358"/>
                      </a:lnTo>
                      <a:lnTo>
                        <a:pt x="870" y="2418"/>
                      </a:lnTo>
                      <a:lnTo>
                        <a:pt x="870" y="2406"/>
                      </a:lnTo>
                      <a:lnTo>
                        <a:pt x="864" y="2394"/>
                      </a:lnTo>
                      <a:lnTo>
                        <a:pt x="864" y="2382"/>
                      </a:lnTo>
                      <a:lnTo>
                        <a:pt x="864" y="2364"/>
                      </a:lnTo>
                      <a:lnTo>
                        <a:pt x="870" y="2352"/>
                      </a:lnTo>
                      <a:lnTo>
                        <a:pt x="876" y="2340"/>
                      </a:lnTo>
                      <a:lnTo>
                        <a:pt x="876" y="2334"/>
                      </a:lnTo>
                      <a:lnTo>
                        <a:pt x="870" y="2322"/>
                      </a:lnTo>
                      <a:lnTo>
                        <a:pt x="864" y="2310"/>
                      </a:lnTo>
                      <a:lnTo>
                        <a:pt x="858" y="2292"/>
                      </a:lnTo>
                      <a:lnTo>
                        <a:pt x="840" y="2244"/>
                      </a:lnTo>
                      <a:lnTo>
                        <a:pt x="822" y="2190"/>
                      </a:lnTo>
                      <a:lnTo>
                        <a:pt x="816" y="2178"/>
                      </a:lnTo>
                      <a:lnTo>
                        <a:pt x="810" y="2166"/>
                      </a:lnTo>
                      <a:lnTo>
                        <a:pt x="804" y="2154"/>
                      </a:lnTo>
                      <a:lnTo>
                        <a:pt x="804" y="2142"/>
                      </a:lnTo>
                      <a:lnTo>
                        <a:pt x="804" y="2130"/>
                      </a:lnTo>
                      <a:lnTo>
                        <a:pt x="810" y="2124"/>
                      </a:lnTo>
                      <a:lnTo>
                        <a:pt x="816" y="2112"/>
                      </a:lnTo>
                      <a:lnTo>
                        <a:pt x="834" y="2106"/>
                      </a:lnTo>
                      <a:lnTo>
                        <a:pt x="858" y="2094"/>
                      </a:lnTo>
                      <a:lnTo>
                        <a:pt x="852" y="2070"/>
                      </a:lnTo>
                      <a:lnTo>
                        <a:pt x="840" y="2046"/>
                      </a:lnTo>
                      <a:lnTo>
                        <a:pt x="816" y="2016"/>
                      </a:lnTo>
                      <a:lnTo>
                        <a:pt x="804" y="1992"/>
                      </a:lnTo>
                      <a:lnTo>
                        <a:pt x="798" y="1974"/>
                      </a:lnTo>
                      <a:lnTo>
                        <a:pt x="786" y="1962"/>
                      </a:lnTo>
                      <a:lnTo>
                        <a:pt x="780" y="1950"/>
                      </a:lnTo>
                      <a:lnTo>
                        <a:pt x="762" y="1944"/>
                      </a:lnTo>
                      <a:lnTo>
                        <a:pt x="750" y="1944"/>
                      </a:lnTo>
                      <a:lnTo>
                        <a:pt x="738" y="1938"/>
                      </a:lnTo>
                      <a:lnTo>
                        <a:pt x="726" y="1932"/>
                      </a:lnTo>
                      <a:lnTo>
                        <a:pt x="726" y="1920"/>
                      </a:lnTo>
                      <a:lnTo>
                        <a:pt x="720" y="1902"/>
                      </a:lnTo>
                      <a:lnTo>
                        <a:pt x="726" y="1884"/>
                      </a:lnTo>
                      <a:lnTo>
                        <a:pt x="726" y="1848"/>
                      </a:lnTo>
                      <a:lnTo>
                        <a:pt x="720" y="1812"/>
                      </a:lnTo>
                      <a:lnTo>
                        <a:pt x="702" y="1782"/>
                      </a:lnTo>
                      <a:lnTo>
                        <a:pt x="684" y="1746"/>
                      </a:lnTo>
                      <a:lnTo>
                        <a:pt x="678" y="1716"/>
                      </a:lnTo>
                      <a:lnTo>
                        <a:pt x="690" y="1668"/>
                      </a:lnTo>
                      <a:lnTo>
                        <a:pt x="690" y="1632"/>
                      </a:lnTo>
                      <a:lnTo>
                        <a:pt x="666" y="1590"/>
                      </a:lnTo>
                      <a:lnTo>
                        <a:pt x="642" y="1554"/>
                      </a:lnTo>
                      <a:lnTo>
                        <a:pt x="624" y="1518"/>
                      </a:lnTo>
                      <a:lnTo>
                        <a:pt x="618" y="1500"/>
                      </a:lnTo>
                      <a:lnTo>
                        <a:pt x="612" y="1488"/>
                      </a:lnTo>
                      <a:lnTo>
                        <a:pt x="600" y="1476"/>
                      </a:lnTo>
                      <a:lnTo>
                        <a:pt x="594" y="1470"/>
                      </a:lnTo>
                      <a:lnTo>
                        <a:pt x="588" y="1476"/>
                      </a:lnTo>
                      <a:lnTo>
                        <a:pt x="582" y="1482"/>
                      </a:lnTo>
                      <a:lnTo>
                        <a:pt x="582" y="1494"/>
                      </a:lnTo>
                      <a:lnTo>
                        <a:pt x="582" y="1512"/>
                      </a:lnTo>
                      <a:lnTo>
                        <a:pt x="576" y="1530"/>
                      </a:lnTo>
                      <a:lnTo>
                        <a:pt x="570" y="1542"/>
                      </a:lnTo>
                      <a:lnTo>
                        <a:pt x="558" y="1554"/>
                      </a:lnTo>
                      <a:lnTo>
                        <a:pt x="540" y="1560"/>
                      </a:lnTo>
                      <a:lnTo>
                        <a:pt x="522" y="1572"/>
                      </a:lnTo>
                      <a:lnTo>
                        <a:pt x="510" y="1584"/>
                      </a:lnTo>
                      <a:lnTo>
                        <a:pt x="498" y="1602"/>
                      </a:lnTo>
                      <a:lnTo>
                        <a:pt x="480" y="1614"/>
                      </a:lnTo>
                      <a:lnTo>
                        <a:pt x="474" y="1620"/>
                      </a:lnTo>
                      <a:lnTo>
                        <a:pt x="462" y="1626"/>
                      </a:lnTo>
                      <a:lnTo>
                        <a:pt x="450" y="1632"/>
                      </a:lnTo>
                      <a:lnTo>
                        <a:pt x="444" y="1644"/>
                      </a:lnTo>
                      <a:lnTo>
                        <a:pt x="432" y="1650"/>
                      </a:lnTo>
                      <a:lnTo>
                        <a:pt x="420" y="1656"/>
                      </a:lnTo>
                      <a:lnTo>
                        <a:pt x="408" y="1656"/>
                      </a:lnTo>
                      <a:lnTo>
                        <a:pt x="396" y="1644"/>
                      </a:lnTo>
                      <a:lnTo>
                        <a:pt x="390" y="1638"/>
                      </a:lnTo>
                      <a:lnTo>
                        <a:pt x="378" y="1632"/>
                      </a:lnTo>
                      <a:lnTo>
                        <a:pt x="366" y="1632"/>
                      </a:lnTo>
                      <a:lnTo>
                        <a:pt x="360" y="1632"/>
                      </a:lnTo>
                      <a:lnTo>
                        <a:pt x="348" y="1638"/>
                      </a:lnTo>
                      <a:lnTo>
                        <a:pt x="342" y="1632"/>
                      </a:lnTo>
                      <a:lnTo>
                        <a:pt x="330" y="1626"/>
                      </a:lnTo>
                      <a:lnTo>
                        <a:pt x="324" y="1596"/>
                      </a:lnTo>
                      <a:lnTo>
                        <a:pt x="324" y="1554"/>
                      </a:lnTo>
                      <a:lnTo>
                        <a:pt x="336" y="1506"/>
                      </a:lnTo>
                      <a:lnTo>
                        <a:pt x="342" y="1470"/>
                      </a:lnTo>
                      <a:lnTo>
                        <a:pt x="336" y="1428"/>
                      </a:lnTo>
                      <a:lnTo>
                        <a:pt x="318" y="1386"/>
                      </a:lnTo>
                      <a:lnTo>
                        <a:pt x="288" y="1338"/>
                      </a:lnTo>
                      <a:lnTo>
                        <a:pt x="252" y="1284"/>
                      </a:lnTo>
                      <a:lnTo>
                        <a:pt x="192" y="1236"/>
                      </a:lnTo>
                      <a:lnTo>
                        <a:pt x="138" y="1188"/>
                      </a:lnTo>
                      <a:lnTo>
                        <a:pt x="72" y="1134"/>
                      </a:lnTo>
                      <a:lnTo>
                        <a:pt x="12" y="1092"/>
                      </a:lnTo>
                      <a:lnTo>
                        <a:pt x="6" y="1086"/>
                      </a:lnTo>
                      <a:lnTo>
                        <a:pt x="0" y="1074"/>
                      </a:lnTo>
                      <a:lnTo>
                        <a:pt x="0" y="1062"/>
                      </a:lnTo>
                      <a:lnTo>
                        <a:pt x="0" y="1044"/>
                      </a:lnTo>
                      <a:lnTo>
                        <a:pt x="0" y="1032"/>
                      </a:lnTo>
                      <a:lnTo>
                        <a:pt x="0" y="1020"/>
                      </a:lnTo>
                      <a:lnTo>
                        <a:pt x="36" y="972"/>
                      </a:lnTo>
                      <a:lnTo>
                        <a:pt x="30" y="888"/>
                      </a:lnTo>
                      <a:lnTo>
                        <a:pt x="66" y="828"/>
                      </a:lnTo>
                      <a:lnTo>
                        <a:pt x="48" y="738"/>
                      </a:lnTo>
                      <a:lnTo>
                        <a:pt x="42" y="738"/>
                      </a:lnTo>
                      <a:lnTo>
                        <a:pt x="54" y="660"/>
                      </a:lnTo>
                      <a:lnTo>
                        <a:pt x="84" y="612"/>
                      </a:lnTo>
                      <a:lnTo>
                        <a:pt x="156" y="612"/>
                      </a:lnTo>
                      <a:lnTo>
                        <a:pt x="162" y="480"/>
                      </a:lnTo>
                      <a:lnTo>
                        <a:pt x="210" y="384"/>
                      </a:lnTo>
                      <a:lnTo>
                        <a:pt x="204" y="276"/>
                      </a:lnTo>
                      <a:lnTo>
                        <a:pt x="276" y="192"/>
                      </a:lnTo>
                      <a:lnTo>
                        <a:pt x="354" y="162"/>
                      </a:lnTo>
                      <a:lnTo>
                        <a:pt x="354" y="36"/>
                      </a:lnTo>
                      <a:lnTo>
                        <a:pt x="354" y="36"/>
                      </a:lnTo>
                      <a:lnTo>
                        <a:pt x="44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4" name="Freeform 115">
                  <a:extLst>
                    <a:ext uri="{FF2B5EF4-FFF2-40B4-BE49-F238E27FC236}">
                      <a16:creationId xmlns:a16="http://schemas.microsoft.com/office/drawing/2014/main" id="{1A253823-3469-4ED1-9B8E-A9B470E9EC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15" y="1560"/>
                  <a:ext cx="546" cy="558"/>
                </a:xfrm>
                <a:custGeom>
                  <a:avLst/>
                  <a:gdLst>
                    <a:gd name="T0" fmla="*/ 438 w 546"/>
                    <a:gd name="T1" fmla="*/ 0 h 558"/>
                    <a:gd name="T2" fmla="*/ 504 w 546"/>
                    <a:gd name="T3" fmla="*/ 12 h 558"/>
                    <a:gd name="T4" fmla="*/ 504 w 546"/>
                    <a:gd name="T5" fmla="*/ 12 h 558"/>
                    <a:gd name="T6" fmla="*/ 510 w 546"/>
                    <a:gd name="T7" fmla="*/ 48 h 558"/>
                    <a:gd name="T8" fmla="*/ 504 w 546"/>
                    <a:gd name="T9" fmla="*/ 90 h 558"/>
                    <a:gd name="T10" fmla="*/ 534 w 546"/>
                    <a:gd name="T11" fmla="*/ 138 h 558"/>
                    <a:gd name="T12" fmla="*/ 546 w 546"/>
                    <a:gd name="T13" fmla="*/ 198 h 558"/>
                    <a:gd name="T14" fmla="*/ 546 w 546"/>
                    <a:gd name="T15" fmla="*/ 288 h 558"/>
                    <a:gd name="T16" fmla="*/ 534 w 546"/>
                    <a:gd name="T17" fmla="*/ 348 h 558"/>
                    <a:gd name="T18" fmla="*/ 462 w 546"/>
                    <a:gd name="T19" fmla="*/ 348 h 558"/>
                    <a:gd name="T20" fmla="*/ 408 w 546"/>
                    <a:gd name="T21" fmla="*/ 360 h 558"/>
                    <a:gd name="T22" fmla="*/ 378 w 546"/>
                    <a:gd name="T23" fmla="*/ 414 h 558"/>
                    <a:gd name="T24" fmla="*/ 402 w 546"/>
                    <a:gd name="T25" fmla="*/ 450 h 558"/>
                    <a:gd name="T26" fmla="*/ 420 w 546"/>
                    <a:gd name="T27" fmla="*/ 486 h 558"/>
                    <a:gd name="T28" fmla="*/ 396 w 546"/>
                    <a:gd name="T29" fmla="*/ 534 h 558"/>
                    <a:gd name="T30" fmla="*/ 336 w 546"/>
                    <a:gd name="T31" fmla="*/ 534 h 558"/>
                    <a:gd name="T32" fmla="*/ 294 w 546"/>
                    <a:gd name="T33" fmla="*/ 516 h 558"/>
                    <a:gd name="T34" fmla="*/ 258 w 546"/>
                    <a:gd name="T35" fmla="*/ 534 h 558"/>
                    <a:gd name="T36" fmla="*/ 216 w 546"/>
                    <a:gd name="T37" fmla="*/ 558 h 558"/>
                    <a:gd name="T38" fmla="*/ 222 w 546"/>
                    <a:gd name="T39" fmla="*/ 558 h 558"/>
                    <a:gd name="T40" fmla="*/ 210 w 546"/>
                    <a:gd name="T41" fmla="*/ 552 h 558"/>
                    <a:gd name="T42" fmla="*/ 198 w 546"/>
                    <a:gd name="T43" fmla="*/ 546 h 558"/>
                    <a:gd name="T44" fmla="*/ 186 w 546"/>
                    <a:gd name="T45" fmla="*/ 546 h 558"/>
                    <a:gd name="T46" fmla="*/ 174 w 546"/>
                    <a:gd name="T47" fmla="*/ 540 h 558"/>
                    <a:gd name="T48" fmla="*/ 168 w 546"/>
                    <a:gd name="T49" fmla="*/ 534 h 558"/>
                    <a:gd name="T50" fmla="*/ 162 w 546"/>
                    <a:gd name="T51" fmla="*/ 522 h 558"/>
                    <a:gd name="T52" fmla="*/ 162 w 546"/>
                    <a:gd name="T53" fmla="*/ 510 h 558"/>
                    <a:gd name="T54" fmla="*/ 156 w 546"/>
                    <a:gd name="T55" fmla="*/ 504 h 558"/>
                    <a:gd name="T56" fmla="*/ 150 w 546"/>
                    <a:gd name="T57" fmla="*/ 504 h 558"/>
                    <a:gd name="T58" fmla="*/ 138 w 546"/>
                    <a:gd name="T59" fmla="*/ 510 h 558"/>
                    <a:gd name="T60" fmla="*/ 132 w 546"/>
                    <a:gd name="T61" fmla="*/ 510 h 558"/>
                    <a:gd name="T62" fmla="*/ 120 w 546"/>
                    <a:gd name="T63" fmla="*/ 510 h 558"/>
                    <a:gd name="T64" fmla="*/ 114 w 546"/>
                    <a:gd name="T65" fmla="*/ 510 h 558"/>
                    <a:gd name="T66" fmla="*/ 102 w 546"/>
                    <a:gd name="T67" fmla="*/ 504 h 558"/>
                    <a:gd name="T68" fmla="*/ 90 w 546"/>
                    <a:gd name="T69" fmla="*/ 492 h 558"/>
                    <a:gd name="T70" fmla="*/ 84 w 546"/>
                    <a:gd name="T71" fmla="*/ 486 h 558"/>
                    <a:gd name="T72" fmla="*/ 84 w 546"/>
                    <a:gd name="T73" fmla="*/ 474 h 558"/>
                    <a:gd name="T74" fmla="*/ 78 w 546"/>
                    <a:gd name="T75" fmla="*/ 462 h 558"/>
                    <a:gd name="T76" fmla="*/ 78 w 546"/>
                    <a:gd name="T77" fmla="*/ 450 h 558"/>
                    <a:gd name="T78" fmla="*/ 72 w 546"/>
                    <a:gd name="T79" fmla="*/ 432 h 558"/>
                    <a:gd name="T80" fmla="*/ 66 w 546"/>
                    <a:gd name="T81" fmla="*/ 408 h 558"/>
                    <a:gd name="T82" fmla="*/ 54 w 546"/>
                    <a:gd name="T83" fmla="*/ 390 h 558"/>
                    <a:gd name="T84" fmla="*/ 48 w 546"/>
                    <a:gd name="T85" fmla="*/ 378 h 558"/>
                    <a:gd name="T86" fmla="*/ 48 w 546"/>
                    <a:gd name="T87" fmla="*/ 378 h 558"/>
                    <a:gd name="T88" fmla="*/ 84 w 546"/>
                    <a:gd name="T89" fmla="*/ 330 h 558"/>
                    <a:gd name="T90" fmla="*/ 72 w 546"/>
                    <a:gd name="T91" fmla="*/ 294 h 558"/>
                    <a:gd name="T92" fmla="*/ 0 w 546"/>
                    <a:gd name="T93" fmla="*/ 252 h 558"/>
                    <a:gd name="T94" fmla="*/ 0 w 546"/>
                    <a:gd name="T95" fmla="*/ 180 h 558"/>
                    <a:gd name="T96" fmla="*/ 12 w 546"/>
                    <a:gd name="T97" fmla="*/ 108 h 558"/>
                    <a:gd name="T98" fmla="*/ 30 w 546"/>
                    <a:gd name="T99" fmla="*/ 54 h 558"/>
                    <a:gd name="T100" fmla="*/ 96 w 546"/>
                    <a:gd name="T101" fmla="*/ 24 h 558"/>
                    <a:gd name="T102" fmla="*/ 168 w 546"/>
                    <a:gd name="T103" fmla="*/ 24 h 558"/>
                    <a:gd name="T104" fmla="*/ 222 w 546"/>
                    <a:gd name="T105" fmla="*/ 12 h 558"/>
                    <a:gd name="T106" fmla="*/ 276 w 546"/>
                    <a:gd name="T107" fmla="*/ 54 h 558"/>
                    <a:gd name="T108" fmla="*/ 336 w 546"/>
                    <a:gd name="T109" fmla="*/ 72 h 558"/>
                    <a:gd name="T110" fmla="*/ 384 w 546"/>
                    <a:gd name="T111" fmla="*/ 90 h 558"/>
                    <a:gd name="T112" fmla="*/ 402 w 546"/>
                    <a:gd name="T113" fmla="*/ 66 h 558"/>
                    <a:gd name="T114" fmla="*/ 438 w 546"/>
                    <a:gd name="T115" fmla="*/ 0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46" h="558">
                      <a:moveTo>
                        <a:pt x="438" y="0"/>
                      </a:moveTo>
                      <a:lnTo>
                        <a:pt x="504" y="12"/>
                      </a:lnTo>
                      <a:lnTo>
                        <a:pt x="504" y="12"/>
                      </a:lnTo>
                      <a:lnTo>
                        <a:pt x="510" y="48"/>
                      </a:lnTo>
                      <a:lnTo>
                        <a:pt x="504" y="90"/>
                      </a:lnTo>
                      <a:lnTo>
                        <a:pt x="534" y="138"/>
                      </a:lnTo>
                      <a:lnTo>
                        <a:pt x="546" y="198"/>
                      </a:lnTo>
                      <a:lnTo>
                        <a:pt x="546" y="288"/>
                      </a:lnTo>
                      <a:lnTo>
                        <a:pt x="534" y="348"/>
                      </a:lnTo>
                      <a:lnTo>
                        <a:pt x="462" y="348"/>
                      </a:lnTo>
                      <a:lnTo>
                        <a:pt x="408" y="360"/>
                      </a:lnTo>
                      <a:lnTo>
                        <a:pt x="378" y="414"/>
                      </a:lnTo>
                      <a:lnTo>
                        <a:pt x="402" y="450"/>
                      </a:lnTo>
                      <a:lnTo>
                        <a:pt x="420" y="486"/>
                      </a:lnTo>
                      <a:lnTo>
                        <a:pt x="396" y="534"/>
                      </a:lnTo>
                      <a:lnTo>
                        <a:pt x="336" y="534"/>
                      </a:lnTo>
                      <a:lnTo>
                        <a:pt x="294" y="516"/>
                      </a:lnTo>
                      <a:lnTo>
                        <a:pt x="258" y="534"/>
                      </a:lnTo>
                      <a:lnTo>
                        <a:pt x="216" y="558"/>
                      </a:lnTo>
                      <a:lnTo>
                        <a:pt x="222" y="558"/>
                      </a:lnTo>
                      <a:lnTo>
                        <a:pt x="210" y="552"/>
                      </a:lnTo>
                      <a:lnTo>
                        <a:pt x="198" y="546"/>
                      </a:lnTo>
                      <a:lnTo>
                        <a:pt x="186" y="546"/>
                      </a:lnTo>
                      <a:lnTo>
                        <a:pt x="174" y="540"/>
                      </a:lnTo>
                      <a:lnTo>
                        <a:pt x="168" y="534"/>
                      </a:lnTo>
                      <a:lnTo>
                        <a:pt x="162" y="522"/>
                      </a:lnTo>
                      <a:lnTo>
                        <a:pt x="162" y="510"/>
                      </a:lnTo>
                      <a:lnTo>
                        <a:pt x="156" y="504"/>
                      </a:lnTo>
                      <a:lnTo>
                        <a:pt x="150" y="504"/>
                      </a:lnTo>
                      <a:lnTo>
                        <a:pt x="138" y="510"/>
                      </a:lnTo>
                      <a:lnTo>
                        <a:pt x="132" y="510"/>
                      </a:lnTo>
                      <a:lnTo>
                        <a:pt x="120" y="510"/>
                      </a:lnTo>
                      <a:lnTo>
                        <a:pt x="114" y="510"/>
                      </a:lnTo>
                      <a:lnTo>
                        <a:pt x="102" y="504"/>
                      </a:lnTo>
                      <a:lnTo>
                        <a:pt x="90" y="492"/>
                      </a:lnTo>
                      <a:lnTo>
                        <a:pt x="84" y="486"/>
                      </a:lnTo>
                      <a:lnTo>
                        <a:pt x="84" y="474"/>
                      </a:lnTo>
                      <a:lnTo>
                        <a:pt x="78" y="462"/>
                      </a:lnTo>
                      <a:lnTo>
                        <a:pt x="78" y="450"/>
                      </a:lnTo>
                      <a:lnTo>
                        <a:pt x="72" y="432"/>
                      </a:lnTo>
                      <a:lnTo>
                        <a:pt x="66" y="408"/>
                      </a:lnTo>
                      <a:lnTo>
                        <a:pt x="54" y="390"/>
                      </a:lnTo>
                      <a:lnTo>
                        <a:pt x="48" y="378"/>
                      </a:lnTo>
                      <a:lnTo>
                        <a:pt x="48" y="378"/>
                      </a:lnTo>
                      <a:lnTo>
                        <a:pt x="84" y="330"/>
                      </a:lnTo>
                      <a:lnTo>
                        <a:pt x="72" y="294"/>
                      </a:lnTo>
                      <a:lnTo>
                        <a:pt x="0" y="252"/>
                      </a:lnTo>
                      <a:lnTo>
                        <a:pt x="0" y="180"/>
                      </a:lnTo>
                      <a:lnTo>
                        <a:pt x="12" y="108"/>
                      </a:lnTo>
                      <a:lnTo>
                        <a:pt x="30" y="54"/>
                      </a:lnTo>
                      <a:lnTo>
                        <a:pt x="96" y="24"/>
                      </a:lnTo>
                      <a:lnTo>
                        <a:pt x="168" y="24"/>
                      </a:lnTo>
                      <a:lnTo>
                        <a:pt x="222" y="12"/>
                      </a:lnTo>
                      <a:lnTo>
                        <a:pt x="276" y="54"/>
                      </a:lnTo>
                      <a:lnTo>
                        <a:pt x="336" y="72"/>
                      </a:lnTo>
                      <a:lnTo>
                        <a:pt x="384" y="90"/>
                      </a:lnTo>
                      <a:lnTo>
                        <a:pt x="402" y="66"/>
                      </a:lnTo>
                      <a:lnTo>
                        <a:pt x="43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5" name="Freeform 116">
                  <a:extLst>
                    <a:ext uri="{FF2B5EF4-FFF2-40B4-BE49-F238E27FC236}">
                      <a16:creationId xmlns:a16="http://schemas.microsoft.com/office/drawing/2014/main" id="{98212E91-B021-4E88-B734-0AA2F9A95D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33" y="-906"/>
                  <a:ext cx="2958" cy="3414"/>
                </a:xfrm>
                <a:custGeom>
                  <a:avLst/>
                  <a:gdLst>
                    <a:gd name="T0" fmla="*/ 822 w 2958"/>
                    <a:gd name="T1" fmla="*/ 18 h 3414"/>
                    <a:gd name="T2" fmla="*/ 936 w 2958"/>
                    <a:gd name="T3" fmla="*/ 312 h 3414"/>
                    <a:gd name="T4" fmla="*/ 1206 w 2958"/>
                    <a:gd name="T5" fmla="*/ 576 h 3414"/>
                    <a:gd name="T6" fmla="*/ 1374 w 2958"/>
                    <a:gd name="T7" fmla="*/ 882 h 3414"/>
                    <a:gd name="T8" fmla="*/ 1818 w 2958"/>
                    <a:gd name="T9" fmla="*/ 966 h 3414"/>
                    <a:gd name="T10" fmla="*/ 2058 w 2958"/>
                    <a:gd name="T11" fmla="*/ 822 h 3414"/>
                    <a:gd name="T12" fmla="*/ 2424 w 2958"/>
                    <a:gd name="T13" fmla="*/ 930 h 3414"/>
                    <a:gd name="T14" fmla="*/ 2670 w 2958"/>
                    <a:gd name="T15" fmla="*/ 618 h 3414"/>
                    <a:gd name="T16" fmla="*/ 2904 w 2958"/>
                    <a:gd name="T17" fmla="*/ 708 h 3414"/>
                    <a:gd name="T18" fmla="*/ 2766 w 2958"/>
                    <a:gd name="T19" fmla="*/ 1182 h 3414"/>
                    <a:gd name="T20" fmla="*/ 2586 w 2958"/>
                    <a:gd name="T21" fmla="*/ 1386 h 3414"/>
                    <a:gd name="T22" fmla="*/ 2550 w 2958"/>
                    <a:gd name="T23" fmla="*/ 1230 h 3414"/>
                    <a:gd name="T24" fmla="*/ 2274 w 2958"/>
                    <a:gd name="T25" fmla="*/ 1062 h 3414"/>
                    <a:gd name="T26" fmla="*/ 2124 w 2958"/>
                    <a:gd name="T27" fmla="*/ 1122 h 3414"/>
                    <a:gd name="T28" fmla="*/ 2124 w 2958"/>
                    <a:gd name="T29" fmla="*/ 1254 h 3414"/>
                    <a:gd name="T30" fmla="*/ 2226 w 2958"/>
                    <a:gd name="T31" fmla="*/ 1464 h 3414"/>
                    <a:gd name="T32" fmla="*/ 2196 w 2958"/>
                    <a:gd name="T33" fmla="*/ 1566 h 3414"/>
                    <a:gd name="T34" fmla="*/ 2148 w 2958"/>
                    <a:gd name="T35" fmla="*/ 1614 h 3414"/>
                    <a:gd name="T36" fmla="*/ 2058 w 2958"/>
                    <a:gd name="T37" fmla="*/ 1704 h 3414"/>
                    <a:gd name="T38" fmla="*/ 2106 w 2958"/>
                    <a:gd name="T39" fmla="*/ 1758 h 3414"/>
                    <a:gd name="T40" fmla="*/ 2028 w 2958"/>
                    <a:gd name="T41" fmla="*/ 1860 h 3414"/>
                    <a:gd name="T42" fmla="*/ 1956 w 2958"/>
                    <a:gd name="T43" fmla="*/ 1926 h 3414"/>
                    <a:gd name="T44" fmla="*/ 1896 w 2958"/>
                    <a:gd name="T45" fmla="*/ 1914 h 3414"/>
                    <a:gd name="T46" fmla="*/ 1902 w 2958"/>
                    <a:gd name="T47" fmla="*/ 1974 h 3414"/>
                    <a:gd name="T48" fmla="*/ 1752 w 2958"/>
                    <a:gd name="T49" fmla="*/ 2148 h 3414"/>
                    <a:gd name="T50" fmla="*/ 1644 w 2958"/>
                    <a:gd name="T51" fmla="*/ 2298 h 3414"/>
                    <a:gd name="T52" fmla="*/ 1536 w 2958"/>
                    <a:gd name="T53" fmla="*/ 2376 h 3414"/>
                    <a:gd name="T54" fmla="*/ 1470 w 2958"/>
                    <a:gd name="T55" fmla="*/ 2448 h 3414"/>
                    <a:gd name="T56" fmla="*/ 1458 w 2958"/>
                    <a:gd name="T57" fmla="*/ 2706 h 3414"/>
                    <a:gd name="T58" fmla="*/ 1428 w 2958"/>
                    <a:gd name="T59" fmla="*/ 2940 h 3414"/>
                    <a:gd name="T60" fmla="*/ 1464 w 2958"/>
                    <a:gd name="T61" fmla="*/ 3126 h 3414"/>
                    <a:gd name="T62" fmla="*/ 1392 w 2958"/>
                    <a:gd name="T63" fmla="*/ 3162 h 3414"/>
                    <a:gd name="T64" fmla="*/ 1380 w 2958"/>
                    <a:gd name="T65" fmla="*/ 3228 h 3414"/>
                    <a:gd name="T66" fmla="*/ 1362 w 2958"/>
                    <a:gd name="T67" fmla="*/ 3264 h 3414"/>
                    <a:gd name="T68" fmla="*/ 1290 w 2958"/>
                    <a:gd name="T69" fmla="*/ 3294 h 3414"/>
                    <a:gd name="T70" fmla="*/ 1266 w 2958"/>
                    <a:gd name="T71" fmla="*/ 3384 h 3414"/>
                    <a:gd name="T72" fmla="*/ 1128 w 2958"/>
                    <a:gd name="T73" fmla="*/ 3384 h 3414"/>
                    <a:gd name="T74" fmla="*/ 1062 w 2958"/>
                    <a:gd name="T75" fmla="*/ 3246 h 3414"/>
                    <a:gd name="T76" fmla="*/ 1074 w 2958"/>
                    <a:gd name="T77" fmla="*/ 3216 h 3414"/>
                    <a:gd name="T78" fmla="*/ 864 w 2958"/>
                    <a:gd name="T79" fmla="*/ 2736 h 3414"/>
                    <a:gd name="T80" fmla="*/ 744 w 2958"/>
                    <a:gd name="T81" fmla="*/ 2538 h 3414"/>
                    <a:gd name="T82" fmla="*/ 588 w 2958"/>
                    <a:gd name="T83" fmla="*/ 2202 h 3414"/>
                    <a:gd name="T84" fmla="*/ 540 w 2958"/>
                    <a:gd name="T85" fmla="*/ 1872 h 3414"/>
                    <a:gd name="T86" fmla="*/ 504 w 2958"/>
                    <a:gd name="T87" fmla="*/ 1698 h 3414"/>
                    <a:gd name="T88" fmla="*/ 498 w 2958"/>
                    <a:gd name="T89" fmla="*/ 1620 h 3414"/>
                    <a:gd name="T90" fmla="*/ 432 w 2958"/>
                    <a:gd name="T91" fmla="*/ 1758 h 3414"/>
                    <a:gd name="T92" fmla="*/ 366 w 2958"/>
                    <a:gd name="T93" fmla="*/ 1860 h 3414"/>
                    <a:gd name="T94" fmla="*/ 144 w 2958"/>
                    <a:gd name="T95" fmla="*/ 1728 h 3414"/>
                    <a:gd name="T96" fmla="*/ 102 w 2958"/>
                    <a:gd name="T97" fmla="*/ 1650 h 3414"/>
                    <a:gd name="T98" fmla="*/ 198 w 2958"/>
                    <a:gd name="T99" fmla="*/ 1608 h 3414"/>
                    <a:gd name="T100" fmla="*/ 198 w 2958"/>
                    <a:gd name="T101" fmla="*/ 1554 h 3414"/>
                    <a:gd name="T102" fmla="*/ 54 w 2958"/>
                    <a:gd name="T103" fmla="*/ 1572 h 3414"/>
                    <a:gd name="T104" fmla="*/ 6 w 2958"/>
                    <a:gd name="T105" fmla="*/ 1500 h 3414"/>
                    <a:gd name="T106" fmla="*/ 234 w 2958"/>
                    <a:gd name="T107" fmla="*/ 1320 h 3414"/>
                    <a:gd name="T108" fmla="*/ 132 w 2958"/>
                    <a:gd name="T109" fmla="*/ 960 h 3414"/>
                    <a:gd name="T110" fmla="*/ 444 w 2958"/>
                    <a:gd name="T111" fmla="*/ 690 h 3414"/>
                    <a:gd name="T112" fmla="*/ 402 w 2958"/>
                    <a:gd name="T113" fmla="*/ 240 h 3414"/>
                    <a:gd name="T114" fmla="*/ 534 w 2958"/>
                    <a:gd name="T115" fmla="*/ 30 h 34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958" h="3414">
                      <a:moveTo>
                        <a:pt x="2208" y="1578"/>
                      </a:moveTo>
                      <a:lnTo>
                        <a:pt x="2208" y="1578"/>
                      </a:lnTo>
                      <a:lnTo>
                        <a:pt x="2208" y="1578"/>
                      </a:lnTo>
                      <a:lnTo>
                        <a:pt x="2208" y="1578"/>
                      </a:lnTo>
                      <a:close/>
                      <a:moveTo>
                        <a:pt x="768" y="0"/>
                      </a:moveTo>
                      <a:lnTo>
                        <a:pt x="822" y="18"/>
                      </a:lnTo>
                      <a:lnTo>
                        <a:pt x="858" y="66"/>
                      </a:lnTo>
                      <a:lnTo>
                        <a:pt x="918" y="96"/>
                      </a:lnTo>
                      <a:lnTo>
                        <a:pt x="954" y="198"/>
                      </a:lnTo>
                      <a:lnTo>
                        <a:pt x="1014" y="228"/>
                      </a:lnTo>
                      <a:lnTo>
                        <a:pt x="990" y="288"/>
                      </a:lnTo>
                      <a:lnTo>
                        <a:pt x="936" y="312"/>
                      </a:lnTo>
                      <a:lnTo>
                        <a:pt x="972" y="432"/>
                      </a:lnTo>
                      <a:lnTo>
                        <a:pt x="1020" y="480"/>
                      </a:lnTo>
                      <a:lnTo>
                        <a:pt x="1080" y="516"/>
                      </a:lnTo>
                      <a:lnTo>
                        <a:pt x="1146" y="534"/>
                      </a:lnTo>
                      <a:lnTo>
                        <a:pt x="1212" y="576"/>
                      </a:lnTo>
                      <a:lnTo>
                        <a:pt x="1206" y="576"/>
                      </a:lnTo>
                      <a:lnTo>
                        <a:pt x="1158" y="660"/>
                      </a:lnTo>
                      <a:lnTo>
                        <a:pt x="1158" y="720"/>
                      </a:lnTo>
                      <a:lnTo>
                        <a:pt x="1182" y="786"/>
                      </a:lnTo>
                      <a:lnTo>
                        <a:pt x="1254" y="798"/>
                      </a:lnTo>
                      <a:lnTo>
                        <a:pt x="1326" y="828"/>
                      </a:lnTo>
                      <a:lnTo>
                        <a:pt x="1374" y="882"/>
                      </a:lnTo>
                      <a:lnTo>
                        <a:pt x="1440" y="906"/>
                      </a:lnTo>
                      <a:lnTo>
                        <a:pt x="1530" y="924"/>
                      </a:lnTo>
                      <a:lnTo>
                        <a:pt x="1602" y="906"/>
                      </a:lnTo>
                      <a:lnTo>
                        <a:pt x="1656" y="954"/>
                      </a:lnTo>
                      <a:lnTo>
                        <a:pt x="1746" y="990"/>
                      </a:lnTo>
                      <a:lnTo>
                        <a:pt x="1818" y="966"/>
                      </a:lnTo>
                      <a:lnTo>
                        <a:pt x="1890" y="966"/>
                      </a:lnTo>
                      <a:lnTo>
                        <a:pt x="1962" y="1002"/>
                      </a:lnTo>
                      <a:lnTo>
                        <a:pt x="2028" y="990"/>
                      </a:lnTo>
                      <a:lnTo>
                        <a:pt x="2052" y="912"/>
                      </a:lnTo>
                      <a:lnTo>
                        <a:pt x="2022" y="840"/>
                      </a:lnTo>
                      <a:lnTo>
                        <a:pt x="2058" y="822"/>
                      </a:lnTo>
                      <a:lnTo>
                        <a:pt x="2124" y="840"/>
                      </a:lnTo>
                      <a:lnTo>
                        <a:pt x="2148" y="912"/>
                      </a:lnTo>
                      <a:lnTo>
                        <a:pt x="2220" y="954"/>
                      </a:lnTo>
                      <a:lnTo>
                        <a:pt x="2310" y="978"/>
                      </a:lnTo>
                      <a:lnTo>
                        <a:pt x="2400" y="960"/>
                      </a:lnTo>
                      <a:lnTo>
                        <a:pt x="2424" y="930"/>
                      </a:lnTo>
                      <a:lnTo>
                        <a:pt x="2418" y="834"/>
                      </a:lnTo>
                      <a:lnTo>
                        <a:pt x="2496" y="810"/>
                      </a:lnTo>
                      <a:lnTo>
                        <a:pt x="2526" y="780"/>
                      </a:lnTo>
                      <a:lnTo>
                        <a:pt x="2562" y="732"/>
                      </a:lnTo>
                      <a:lnTo>
                        <a:pt x="2640" y="630"/>
                      </a:lnTo>
                      <a:lnTo>
                        <a:pt x="2670" y="618"/>
                      </a:lnTo>
                      <a:lnTo>
                        <a:pt x="2742" y="642"/>
                      </a:lnTo>
                      <a:lnTo>
                        <a:pt x="2790" y="630"/>
                      </a:lnTo>
                      <a:lnTo>
                        <a:pt x="2826" y="594"/>
                      </a:lnTo>
                      <a:lnTo>
                        <a:pt x="2850" y="576"/>
                      </a:lnTo>
                      <a:lnTo>
                        <a:pt x="2892" y="636"/>
                      </a:lnTo>
                      <a:lnTo>
                        <a:pt x="2904" y="708"/>
                      </a:lnTo>
                      <a:lnTo>
                        <a:pt x="2958" y="732"/>
                      </a:lnTo>
                      <a:lnTo>
                        <a:pt x="2958" y="864"/>
                      </a:lnTo>
                      <a:lnTo>
                        <a:pt x="2880" y="894"/>
                      </a:lnTo>
                      <a:lnTo>
                        <a:pt x="2808" y="978"/>
                      </a:lnTo>
                      <a:lnTo>
                        <a:pt x="2814" y="1086"/>
                      </a:lnTo>
                      <a:lnTo>
                        <a:pt x="2766" y="1182"/>
                      </a:lnTo>
                      <a:lnTo>
                        <a:pt x="2760" y="1314"/>
                      </a:lnTo>
                      <a:lnTo>
                        <a:pt x="2688" y="1314"/>
                      </a:lnTo>
                      <a:lnTo>
                        <a:pt x="2658" y="1362"/>
                      </a:lnTo>
                      <a:lnTo>
                        <a:pt x="2646" y="1440"/>
                      </a:lnTo>
                      <a:lnTo>
                        <a:pt x="2604" y="1440"/>
                      </a:lnTo>
                      <a:lnTo>
                        <a:pt x="2586" y="1386"/>
                      </a:lnTo>
                      <a:lnTo>
                        <a:pt x="2538" y="1386"/>
                      </a:lnTo>
                      <a:lnTo>
                        <a:pt x="2496" y="1398"/>
                      </a:lnTo>
                      <a:lnTo>
                        <a:pt x="2454" y="1344"/>
                      </a:lnTo>
                      <a:lnTo>
                        <a:pt x="2460" y="1302"/>
                      </a:lnTo>
                      <a:lnTo>
                        <a:pt x="2538" y="1272"/>
                      </a:lnTo>
                      <a:lnTo>
                        <a:pt x="2550" y="1230"/>
                      </a:lnTo>
                      <a:lnTo>
                        <a:pt x="2508" y="1182"/>
                      </a:lnTo>
                      <a:lnTo>
                        <a:pt x="2448" y="1158"/>
                      </a:lnTo>
                      <a:lnTo>
                        <a:pt x="2400" y="1176"/>
                      </a:lnTo>
                      <a:lnTo>
                        <a:pt x="2322" y="1170"/>
                      </a:lnTo>
                      <a:lnTo>
                        <a:pt x="2280" y="1128"/>
                      </a:lnTo>
                      <a:lnTo>
                        <a:pt x="2274" y="1062"/>
                      </a:lnTo>
                      <a:lnTo>
                        <a:pt x="2232" y="1056"/>
                      </a:lnTo>
                      <a:lnTo>
                        <a:pt x="2202" y="1038"/>
                      </a:lnTo>
                      <a:lnTo>
                        <a:pt x="2160" y="1002"/>
                      </a:lnTo>
                      <a:lnTo>
                        <a:pt x="2100" y="1020"/>
                      </a:lnTo>
                      <a:lnTo>
                        <a:pt x="2076" y="1080"/>
                      </a:lnTo>
                      <a:lnTo>
                        <a:pt x="2124" y="1122"/>
                      </a:lnTo>
                      <a:lnTo>
                        <a:pt x="2142" y="1194"/>
                      </a:lnTo>
                      <a:lnTo>
                        <a:pt x="2142" y="1194"/>
                      </a:lnTo>
                      <a:lnTo>
                        <a:pt x="2142" y="1206"/>
                      </a:lnTo>
                      <a:lnTo>
                        <a:pt x="2136" y="1218"/>
                      </a:lnTo>
                      <a:lnTo>
                        <a:pt x="2130" y="1236"/>
                      </a:lnTo>
                      <a:lnTo>
                        <a:pt x="2124" y="1254"/>
                      </a:lnTo>
                      <a:lnTo>
                        <a:pt x="2124" y="1278"/>
                      </a:lnTo>
                      <a:lnTo>
                        <a:pt x="2130" y="1320"/>
                      </a:lnTo>
                      <a:lnTo>
                        <a:pt x="2154" y="1356"/>
                      </a:lnTo>
                      <a:lnTo>
                        <a:pt x="2190" y="1392"/>
                      </a:lnTo>
                      <a:lnTo>
                        <a:pt x="2214" y="1428"/>
                      </a:lnTo>
                      <a:lnTo>
                        <a:pt x="2226" y="1464"/>
                      </a:lnTo>
                      <a:lnTo>
                        <a:pt x="2232" y="1494"/>
                      </a:lnTo>
                      <a:lnTo>
                        <a:pt x="2232" y="1506"/>
                      </a:lnTo>
                      <a:lnTo>
                        <a:pt x="2208" y="1578"/>
                      </a:lnTo>
                      <a:lnTo>
                        <a:pt x="2202" y="1578"/>
                      </a:lnTo>
                      <a:lnTo>
                        <a:pt x="2202" y="1572"/>
                      </a:lnTo>
                      <a:lnTo>
                        <a:pt x="2196" y="1566"/>
                      </a:lnTo>
                      <a:lnTo>
                        <a:pt x="2190" y="1560"/>
                      </a:lnTo>
                      <a:lnTo>
                        <a:pt x="2178" y="1560"/>
                      </a:lnTo>
                      <a:lnTo>
                        <a:pt x="2166" y="1566"/>
                      </a:lnTo>
                      <a:lnTo>
                        <a:pt x="2160" y="1578"/>
                      </a:lnTo>
                      <a:lnTo>
                        <a:pt x="2154" y="1590"/>
                      </a:lnTo>
                      <a:lnTo>
                        <a:pt x="2148" y="1614"/>
                      </a:lnTo>
                      <a:lnTo>
                        <a:pt x="2130" y="1632"/>
                      </a:lnTo>
                      <a:lnTo>
                        <a:pt x="2112" y="1650"/>
                      </a:lnTo>
                      <a:lnTo>
                        <a:pt x="2094" y="1668"/>
                      </a:lnTo>
                      <a:lnTo>
                        <a:pt x="2070" y="1680"/>
                      </a:lnTo>
                      <a:lnTo>
                        <a:pt x="2064" y="1692"/>
                      </a:lnTo>
                      <a:lnTo>
                        <a:pt x="2058" y="1704"/>
                      </a:lnTo>
                      <a:lnTo>
                        <a:pt x="2064" y="1716"/>
                      </a:lnTo>
                      <a:lnTo>
                        <a:pt x="2070" y="1722"/>
                      </a:lnTo>
                      <a:lnTo>
                        <a:pt x="2076" y="1734"/>
                      </a:lnTo>
                      <a:lnTo>
                        <a:pt x="2088" y="1740"/>
                      </a:lnTo>
                      <a:lnTo>
                        <a:pt x="2100" y="1752"/>
                      </a:lnTo>
                      <a:lnTo>
                        <a:pt x="2106" y="1758"/>
                      </a:lnTo>
                      <a:lnTo>
                        <a:pt x="2106" y="1770"/>
                      </a:lnTo>
                      <a:lnTo>
                        <a:pt x="2100" y="1776"/>
                      </a:lnTo>
                      <a:lnTo>
                        <a:pt x="2088" y="1788"/>
                      </a:lnTo>
                      <a:lnTo>
                        <a:pt x="2070" y="1812"/>
                      </a:lnTo>
                      <a:lnTo>
                        <a:pt x="2052" y="1836"/>
                      </a:lnTo>
                      <a:lnTo>
                        <a:pt x="2028" y="1860"/>
                      </a:lnTo>
                      <a:lnTo>
                        <a:pt x="2010" y="1884"/>
                      </a:lnTo>
                      <a:lnTo>
                        <a:pt x="1998" y="1896"/>
                      </a:lnTo>
                      <a:lnTo>
                        <a:pt x="1986" y="1908"/>
                      </a:lnTo>
                      <a:lnTo>
                        <a:pt x="1980" y="1920"/>
                      </a:lnTo>
                      <a:lnTo>
                        <a:pt x="1968" y="1926"/>
                      </a:lnTo>
                      <a:lnTo>
                        <a:pt x="1956" y="1926"/>
                      </a:lnTo>
                      <a:lnTo>
                        <a:pt x="1944" y="1914"/>
                      </a:lnTo>
                      <a:lnTo>
                        <a:pt x="1926" y="1908"/>
                      </a:lnTo>
                      <a:lnTo>
                        <a:pt x="1914" y="1908"/>
                      </a:lnTo>
                      <a:lnTo>
                        <a:pt x="1908" y="1908"/>
                      </a:lnTo>
                      <a:lnTo>
                        <a:pt x="1902" y="1908"/>
                      </a:lnTo>
                      <a:lnTo>
                        <a:pt x="1896" y="1914"/>
                      </a:lnTo>
                      <a:lnTo>
                        <a:pt x="1902" y="1926"/>
                      </a:lnTo>
                      <a:lnTo>
                        <a:pt x="1908" y="1938"/>
                      </a:lnTo>
                      <a:lnTo>
                        <a:pt x="1908" y="1944"/>
                      </a:lnTo>
                      <a:lnTo>
                        <a:pt x="1914" y="1956"/>
                      </a:lnTo>
                      <a:lnTo>
                        <a:pt x="1908" y="1962"/>
                      </a:lnTo>
                      <a:lnTo>
                        <a:pt x="1902" y="1974"/>
                      </a:lnTo>
                      <a:lnTo>
                        <a:pt x="1890" y="1986"/>
                      </a:lnTo>
                      <a:lnTo>
                        <a:pt x="1866" y="1998"/>
                      </a:lnTo>
                      <a:lnTo>
                        <a:pt x="1824" y="2028"/>
                      </a:lnTo>
                      <a:lnTo>
                        <a:pt x="1788" y="2070"/>
                      </a:lnTo>
                      <a:lnTo>
                        <a:pt x="1764" y="2112"/>
                      </a:lnTo>
                      <a:lnTo>
                        <a:pt x="1752" y="2148"/>
                      </a:lnTo>
                      <a:lnTo>
                        <a:pt x="1722" y="2190"/>
                      </a:lnTo>
                      <a:lnTo>
                        <a:pt x="1686" y="2220"/>
                      </a:lnTo>
                      <a:lnTo>
                        <a:pt x="1662" y="2250"/>
                      </a:lnTo>
                      <a:lnTo>
                        <a:pt x="1656" y="2268"/>
                      </a:lnTo>
                      <a:lnTo>
                        <a:pt x="1650" y="2280"/>
                      </a:lnTo>
                      <a:lnTo>
                        <a:pt x="1644" y="2298"/>
                      </a:lnTo>
                      <a:lnTo>
                        <a:pt x="1638" y="2310"/>
                      </a:lnTo>
                      <a:lnTo>
                        <a:pt x="1632" y="2328"/>
                      </a:lnTo>
                      <a:lnTo>
                        <a:pt x="1620" y="2334"/>
                      </a:lnTo>
                      <a:lnTo>
                        <a:pt x="1608" y="2340"/>
                      </a:lnTo>
                      <a:lnTo>
                        <a:pt x="1566" y="2352"/>
                      </a:lnTo>
                      <a:lnTo>
                        <a:pt x="1536" y="2376"/>
                      </a:lnTo>
                      <a:lnTo>
                        <a:pt x="1512" y="2388"/>
                      </a:lnTo>
                      <a:lnTo>
                        <a:pt x="1500" y="2394"/>
                      </a:lnTo>
                      <a:lnTo>
                        <a:pt x="1488" y="2400"/>
                      </a:lnTo>
                      <a:lnTo>
                        <a:pt x="1482" y="2412"/>
                      </a:lnTo>
                      <a:lnTo>
                        <a:pt x="1476" y="2430"/>
                      </a:lnTo>
                      <a:lnTo>
                        <a:pt x="1470" y="2448"/>
                      </a:lnTo>
                      <a:lnTo>
                        <a:pt x="1458" y="2502"/>
                      </a:lnTo>
                      <a:lnTo>
                        <a:pt x="1458" y="2562"/>
                      </a:lnTo>
                      <a:lnTo>
                        <a:pt x="1458" y="2622"/>
                      </a:lnTo>
                      <a:lnTo>
                        <a:pt x="1452" y="2652"/>
                      </a:lnTo>
                      <a:lnTo>
                        <a:pt x="1452" y="2682"/>
                      </a:lnTo>
                      <a:lnTo>
                        <a:pt x="1458" y="2706"/>
                      </a:lnTo>
                      <a:lnTo>
                        <a:pt x="1470" y="2742"/>
                      </a:lnTo>
                      <a:lnTo>
                        <a:pt x="1482" y="2784"/>
                      </a:lnTo>
                      <a:lnTo>
                        <a:pt x="1476" y="2832"/>
                      </a:lnTo>
                      <a:lnTo>
                        <a:pt x="1464" y="2874"/>
                      </a:lnTo>
                      <a:lnTo>
                        <a:pt x="1446" y="2904"/>
                      </a:lnTo>
                      <a:lnTo>
                        <a:pt x="1428" y="2940"/>
                      </a:lnTo>
                      <a:lnTo>
                        <a:pt x="1434" y="3000"/>
                      </a:lnTo>
                      <a:lnTo>
                        <a:pt x="1458" y="3066"/>
                      </a:lnTo>
                      <a:lnTo>
                        <a:pt x="1464" y="3084"/>
                      </a:lnTo>
                      <a:lnTo>
                        <a:pt x="1470" y="3102"/>
                      </a:lnTo>
                      <a:lnTo>
                        <a:pt x="1470" y="3114"/>
                      </a:lnTo>
                      <a:lnTo>
                        <a:pt x="1464" y="3126"/>
                      </a:lnTo>
                      <a:lnTo>
                        <a:pt x="1452" y="3132"/>
                      </a:lnTo>
                      <a:lnTo>
                        <a:pt x="1440" y="3138"/>
                      </a:lnTo>
                      <a:lnTo>
                        <a:pt x="1428" y="3144"/>
                      </a:lnTo>
                      <a:lnTo>
                        <a:pt x="1416" y="3150"/>
                      </a:lnTo>
                      <a:lnTo>
                        <a:pt x="1404" y="3156"/>
                      </a:lnTo>
                      <a:lnTo>
                        <a:pt x="1392" y="3162"/>
                      </a:lnTo>
                      <a:lnTo>
                        <a:pt x="1380" y="3174"/>
                      </a:lnTo>
                      <a:lnTo>
                        <a:pt x="1374" y="3186"/>
                      </a:lnTo>
                      <a:lnTo>
                        <a:pt x="1368" y="3198"/>
                      </a:lnTo>
                      <a:lnTo>
                        <a:pt x="1368" y="3210"/>
                      </a:lnTo>
                      <a:lnTo>
                        <a:pt x="1368" y="3222"/>
                      </a:lnTo>
                      <a:lnTo>
                        <a:pt x="1380" y="3228"/>
                      </a:lnTo>
                      <a:lnTo>
                        <a:pt x="1392" y="3234"/>
                      </a:lnTo>
                      <a:lnTo>
                        <a:pt x="1398" y="3240"/>
                      </a:lnTo>
                      <a:lnTo>
                        <a:pt x="1392" y="3246"/>
                      </a:lnTo>
                      <a:lnTo>
                        <a:pt x="1386" y="3252"/>
                      </a:lnTo>
                      <a:lnTo>
                        <a:pt x="1374" y="3258"/>
                      </a:lnTo>
                      <a:lnTo>
                        <a:pt x="1362" y="3264"/>
                      </a:lnTo>
                      <a:lnTo>
                        <a:pt x="1350" y="3270"/>
                      </a:lnTo>
                      <a:lnTo>
                        <a:pt x="1338" y="3276"/>
                      </a:lnTo>
                      <a:lnTo>
                        <a:pt x="1326" y="3276"/>
                      </a:lnTo>
                      <a:lnTo>
                        <a:pt x="1314" y="3282"/>
                      </a:lnTo>
                      <a:lnTo>
                        <a:pt x="1302" y="3288"/>
                      </a:lnTo>
                      <a:lnTo>
                        <a:pt x="1290" y="3294"/>
                      </a:lnTo>
                      <a:lnTo>
                        <a:pt x="1284" y="3300"/>
                      </a:lnTo>
                      <a:lnTo>
                        <a:pt x="1278" y="3318"/>
                      </a:lnTo>
                      <a:lnTo>
                        <a:pt x="1278" y="3336"/>
                      </a:lnTo>
                      <a:lnTo>
                        <a:pt x="1278" y="3354"/>
                      </a:lnTo>
                      <a:lnTo>
                        <a:pt x="1272" y="3372"/>
                      </a:lnTo>
                      <a:lnTo>
                        <a:pt x="1266" y="3384"/>
                      </a:lnTo>
                      <a:lnTo>
                        <a:pt x="1254" y="3390"/>
                      </a:lnTo>
                      <a:lnTo>
                        <a:pt x="1242" y="3396"/>
                      </a:lnTo>
                      <a:lnTo>
                        <a:pt x="1224" y="3408"/>
                      </a:lnTo>
                      <a:lnTo>
                        <a:pt x="1200" y="3414"/>
                      </a:lnTo>
                      <a:lnTo>
                        <a:pt x="1164" y="3414"/>
                      </a:lnTo>
                      <a:lnTo>
                        <a:pt x="1128" y="3384"/>
                      </a:lnTo>
                      <a:lnTo>
                        <a:pt x="1098" y="3336"/>
                      </a:lnTo>
                      <a:lnTo>
                        <a:pt x="1074" y="3282"/>
                      </a:lnTo>
                      <a:lnTo>
                        <a:pt x="1068" y="3264"/>
                      </a:lnTo>
                      <a:lnTo>
                        <a:pt x="1062" y="3252"/>
                      </a:lnTo>
                      <a:lnTo>
                        <a:pt x="1062" y="3246"/>
                      </a:lnTo>
                      <a:lnTo>
                        <a:pt x="1062" y="3246"/>
                      </a:lnTo>
                      <a:lnTo>
                        <a:pt x="1068" y="3240"/>
                      </a:lnTo>
                      <a:lnTo>
                        <a:pt x="1068" y="3240"/>
                      </a:lnTo>
                      <a:lnTo>
                        <a:pt x="1074" y="3240"/>
                      </a:lnTo>
                      <a:lnTo>
                        <a:pt x="1074" y="3234"/>
                      </a:lnTo>
                      <a:lnTo>
                        <a:pt x="1074" y="3228"/>
                      </a:lnTo>
                      <a:lnTo>
                        <a:pt x="1074" y="3216"/>
                      </a:lnTo>
                      <a:lnTo>
                        <a:pt x="1056" y="3162"/>
                      </a:lnTo>
                      <a:lnTo>
                        <a:pt x="1026" y="3096"/>
                      </a:lnTo>
                      <a:lnTo>
                        <a:pt x="966" y="3012"/>
                      </a:lnTo>
                      <a:lnTo>
                        <a:pt x="912" y="2922"/>
                      </a:lnTo>
                      <a:lnTo>
                        <a:pt x="882" y="2826"/>
                      </a:lnTo>
                      <a:lnTo>
                        <a:pt x="864" y="2736"/>
                      </a:lnTo>
                      <a:lnTo>
                        <a:pt x="840" y="2688"/>
                      </a:lnTo>
                      <a:lnTo>
                        <a:pt x="822" y="2658"/>
                      </a:lnTo>
                      <a:lnTo>
                        <a:pt x="798" y="2634"/>
                      </a:lnTo>
                      <a:lnTo>
                        <a:pt x="786" y="2598"/>
                      </a:lnTo>
                      <a:lnTo>
                        <a:pt x="768" y="2562"/>
                      </a:lnTo>
                      <a:lnTo>
                        <a:pt x="744" y="2538"/>
                      </a:lnTo>
                      <a:lnTo>
                        <a:pt x="720" y="2508"/>
                      </a:lnTo>
                      <a:lnTo>
                        <a:pt x="696" y="2472"/>
                      </a:lnTo>
                      <a:lnTo>
                        <a:pt x="672" y="2418"/>
                      </a:lnTo>
                      <a:lnTo>
                        <a:pt x="648" y="2352"/>
                      </a:lnTo>
                      <a:lnTo>
                        <a:pt x="618" y="2274"/>
                      </a:lnTo>
                      <a:lnTo>
                        <a:pt x="588" y="2202"/>
                      </a:lnTo>
                      <a:lnTo>
                        <a:pt x="558" y="2130"/>
                      </a:lnTo>
                      <a:lnTo>
                        <a:pt x="528" y="2064"/>
                      </a:lnTo>
                      <a:lnTo>
                        <a:pt x="510" y="2016"/>
                      </a:lnTo>
                      <a:lnTo>
                        <a:pt x="504" y="1968"/>
                      </a:lnTo>
                      <a:lnTo>
                        <a:pt x="522" y="1926"/>
                      </a:lnTo>
                      <a:lnTo>
                        <a:pt x="540" y="1872"/>
                      </a:lnTo>
                      <a:lnTo>
                        <a:pt x="540" y="1830"/>
                      </a:lnTo>
                      <a:lnTo>
                        <a:pt x="528" y="1800"/>
                      </a:lnTo>
                      <a:lnTo>
                        <a:pt x="510" y="1782"/>
                      </a:lnTo>
                      <a:lnTo>
                        <a:pt x="492" y="1758"/>
                      </a:lnTo>
                      <a:lnTo>
                        <a:pt x="492" y="1734"/>
                      </a:lnTo>
                      <a:lnTo>
                        <a:pt x="504" y="1698"/>
                      </a:lnTo>
                      <a:lnTo>
                        <a:pt x="516" y="1668"/>
                      </a:lnTo>
                      <a:lnTo>
                        <a:pt x="528" y="1644"/>
                      </a:lnTo>
                      <a:lnTo>
                        <a:pt x="522" y="1632"/>
                      </a:lnTo>
                      <a:lnTo>
                        <a:pt x="516" y="1626"/>
                      </a:lnTo>
                      <a:lnTo>
                        <a:pt x="510" y="1620"/>
                      </a:lnTo>
                      <a:lnTo>
                        <a:pt x="498" y="1620"/>
                      </a:lnTo>
                      <a:lnTo>
                        <a:pt x="486" y="1632"/>
                      </a:lnTo>
                      <a:lnTo>
                        <a:pt x="474" y="1644"/>
                      </a:lnTo>
                      <a:lnTo>
                        <a:pt x="450" y="1674"/>
                      </a:lnTo>
                      <a:lnTo>
                        <a:pt x="432" y="1710"/>
                      </a:lnTo>
                      <a:lnTo>
                        <a:pt x="432" y="1740"/>
                      </a:lnTo>
                      <a:lnTo>
                        <a:pt x="432" y="1758"/>
                      </a:lnTo>
                      <a:lnTo>
                        <a:pt x="432" y="1770"/>
                      </a:lnTo>
                      <a:lnTo>
                        <a:pt x="426" y="1782"/>
                      </a:lnTo>
                      <a:lnTo>
                        <a:pt x="414" y="1800"/>
                      </a:lnTo>
                      <a:lnTo>
                        <a:pt x="408" y="1812"/>
                      </a:lnTo>
                      <a:lnTo>
                        <a:pt x="396" y="1830"/>
                      </a:lnTo>
                      <a:lnTo>
                        <a:pt x="366" y="1860"/>
                      </a:lnTo>
                      <a:lnTo>
                        <a:pt x="330" y="1872"/>
                      </a:lnTo>
                      <a:lnTo>
                        <a:pt x="288" y="1872"/>
                      </a:lnTo>
                      <a:lnTo>
                        <a:pt x="252" y="1860"/>
                      </a:lnTo>
                      <a:lnTo>
                        <a:pt x="222" y="1824"/>
                      </a:lnTo>
                      <a:lnTo>
                        <a:pt x="180" y="1776"/>
                      </a:lnTo>
                      <a:lnTo>
                        <a:pt x="144" y="1728"/>
                      </a:lnTo>
                      <a:lnTo>
                        <a:pt x="102" y="1692"/>
                      </a:lnTo>
                      <a:lnTo>
                        <a:pt x="90" y="1680"/>
                      </a:lnTo>
                      <a:lnTo>
                        <a:pt x="84" y="1674"/>
                      </a:lnTo>
                      <a:lnTo>
                        <a:pt x="84" y="1662"/>
                      </a:lnTo>
                      <a:lnTo>
                        <a:pt x="90" y="1656"/>
                      </a:lnTo>
                      <a:lnTo>
                        <a:pt x="102" y="1650"/>
                      </a:lnTo>
                      <a:lnTo>
                        <a:pt x="114" y="1644"/>
                      </a:lnTo>
                      <a:lnTo>
                        <a:pt x="132" y="1638"/>
                      </a:lnTo>
                      <a:lnTo>
                        <a:pt x="150" y="1632"/>
                      </a:lnTo>
                      <a:lnTo>
                        <a:pt x="168" y="1626"/>
                      </a:lnTo>
                      <a:lnTo>
                        <a:pt x="186" y="1620"/>
                      </a:lnTo>
                      <a:lnTo>
                        <a:pt x="198" y="1608"/>
                      </a:lnTo>
                      <a:lnTo>
                        <a:pt x="210" y="1602"/>
                      </a:lnTo>
                      <a:lnTo>
                        <a:pt x="210" y="1590"/>
                      </a:lnTo>
                      <a:lnTo>
                        <a:pt x="210" y="1584"/>
                      </a:lnTo>
                      <a:lnTo>
                        <a:pt x="210" y="1572"/>
                      </a:lnTo>
                      <a:lnTo>
                        <a:pt x="210" y="1560"/>
                      </a:lnTo>
                      <a:lnTo>
                        <a:pt x="198" y="1554"/>
                      </a:lnTo>
                      <a:lnTo>
                        <a:pt x="192" y="1554"/>
                      </a:lnTo>
                      <a:lnTo>
                        <a:pt x="174" y="1566"/>
                      </a:lnTo>
                      <a:lnTo>
                        <a:pt x="150" y="1578"/>
                      </a:lnTo>
                      <a:lnTo>
                        <a:pt x="120" y="1584"/>
                      </a:lnTo>
                      <a:lnTo>
                        <a:pt x="78" y="1578"/>
                      </a:lnTo>
                      <a:lnTo>
                        <a:pt x="54" y="1572"/>
                      </a:lnTo>
                      <a:lnTo>
                        <a:pt x="36" y="1566"/>
                      </a:lnTo>
                      <a:lnTo>
                        <a:pt x="18" y="1554"/>
                      </a:lnTo>
                      <a:lnTo>
                        <a:pt x="6" y="1542"/>
                      </a:lnTo>
                      <a:lnTo>
                        <a:pt x="0" y="1524"/>
                      </a:lnTo>
                      <a:lnTo>
                        <a:pt x="6" y="1512"/>
                      </a:lnTo>
                      <a:lnTo>
                        <a:pt x="6" y="1500"/>
                      </a:lnTo>
                      <a:lnTo>
                        <a:pt x="6" y="1494"/>
                      </a:lnTo>
                      <a:lnTo>
                        <a:pt x="66" y="1404"/>
                      </a:lnTo>
                      <a:lnTo>
                        <a:pt x="126" y="1422"/>
                      </a:lnTo>
                      <a:lnTo>
                        <a:pt x="192" y="1422"/>
                      </a:lnTo>
                      <a:lnTo>
                        <a:pt x="240" y="1392"/>
                      </a:lnTo>
                      <a:lnTo>
                        <a:pt x="234" y="1320"/>
                      </a:lnTo>
                      <a:lnTo>
                        <a:pt x="216" y="1260"/>
                      </a:lnTo>
                      <a:lnTo>
                        <a:pt x="186" y="1212"/>
                      </a:lnTo>
                      <a:lnTo>
                        <a:pt x="120" y="1170"/>
                      </a:lnTo>
                      <a:lnTo>
                        <a:pt x="66" y="1062"/>
                      </a:lnTo>
                      <a:lnTo>
                        <a:pt x="90" y="996"/>
                      </a:lnTo>
                      <a:lnTo>
                        <a:pt x="132" y="960"/>
                      </a:lnTo>
                      <a:lnTo>
                        <a:pt x="270" y="960"/>
                      </a:lnTo>
                      <a:lnTo>
                        <a:pt x="300" y="936"/>
                      </a:lnTo>
                      <a:lnTo>
                        <a:pt x="312" y="834"/>
                      </a:lnTo>
                      <a:lnTo>
                        <a:pt x="360" y="822"/>
                      </a:lnTo>
                      <a:lnTo>
                        <a:pt x="414" y="780"/>
                      </a:lnTo>
                      <a:lnTo>
                        <a:pt x="444" y="690"/>
                      </a:lnTo>
                      <a:lnTo>
                        <a:pt x="468" y="606"/>
                      </a:lnTo>
                      <a:lnTo>
                        <a:pt x="510" y="534"/>
                      </a:lnTo>
                      <a:lnTo>
                        <a:pt x="546" y="432"/>
                      </a:lnTo>
                      <a:lnTo>
                        <a:pt x="540" y="348"/>
                      </a:lnTo>
                      <a:lnTo>
                        <a:pt x="468" y="294"/>
                      </a:lnTo>
                      <a:lnTo>
                        <a:pt x="402" y="240"/>
                      </a:lnTo>
                      <a:lnTo>
                        <a:pt x="402" y="150"/>
                      </a:lnTo>
                      <a:lnTo>
                        <a:pt x="348" y="84"/>
                      </a:lnTo>
                      <a:lnTo>
                        <a:pt x="372" y="36"/>
                      </a:lnTo>
                      <a:lnTo>
                        <a:pt x="420" y="30"/>
                      </a:lnTo>
                      <a:lnTo>
                        <a:pt x="486" y="36"/>
                      </a:lnTo>
                      <a:lnTo>
                        <a:pt x="534" y="30"/>
                      </a:lnTo>
                      <a:lnTo>
                        <a:pt x="624" y="36"/>
                      </a:lnTo>
                      <a:lnTo>
                        <a:pt x="696" y="24"/>
                      </a:lnTo>
                      <a:lnTo>
                        <a:pt x="768" y="6"/>
                      </a:lnTo>
                      <a:lnTo>
                        <a:pt x="76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6" name="Freeform 117">
                  <a:extLst>
                    <a:ext uri="{FF2B5EF4-FFF2-40B4-BE49-F238E27FC236}">
                      <a16:creationId xmlns:a16="http://schemas.microsoft.com/office/drawing/2014/main" id="{4C27AB44-D6E0-45DD-AF39-6CFFEB4A030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75" y="-1236"/>
                  <a:ext cx="1626" cy="1830"/>
                </a:xfrm>
                <a:custGeom>
                  <a:avLst/>
                  <a:gdLst>
                    <a:gd name="T0" fmla="*/ 6 w 1626"/>
                    <a:gd name="T1" fmla="*/ 1194 h 1830"/>
                    <a:gd name="T2" fmla="*/ 6 w 1626"/>
                    <a:gd name="T3" fmla="*/ 1188 h 1830"/>
                    <a:gd name="T4" fmla="*/ 1380 w 1626"/>
                    <a:gd name="T5" fmla="*/ 18 h 1830"/>
                    <a:gd name="T6" fmla="*/ 1458 w 1626"/>
                    <a:gd name="T7" fmla="*/ 120 h 1830"/>
                    <a:gd name="T8" fmla="*/ 1542 w 1626"/>
                    <a:gd name="T9" fmla="*/ 222 h 1830"/>
                    <a:gd name="T10" fmla="*/ 1626 w 1626"/>
                    <a:gd name="T11" fmla="*/ 330 h 1830"/>
                    <a:gd name="T12" fmla="*/ 1554 w 1626"/>
                    <a:gd name="T13" fmla="*/ 354 h 1830"/>
                    <a:gd name="T14" fmla="*/ 1392 w 1626"/>
                    <a:gd name="T15" fmla="*/ 360 h 1830"/>
                    <a:gd name="T16" fmla="*/ 1278 w 1626"/>
                    <a:gd name="T17" fmla="*/ 360 h 1830"/>
                    <a:gd name="T18" fmla="*/ 1206 w 1626"/>
                    <a:gd name="T19" fmla="*/ 414 h 1830"/>
                    <a:gd name="T20" fmla="*/ 1260 w 1626"/>
                    <a:gd name="T21" fmla="*/ 570 h 1830"/>
                    <a:gd name="T22" fmla="*/ 1398 w 1626"/>
                    <a:gd name="T23" fmla="*/ 678 h 1830"/>
                    <a:gd name="T24" fmla="*/ 1368 w 1626"/>
                    <a:gd name="T25" fmla="*/ 864 h 1830"/>
                    <a:gd name="T26" fmla="*/ 1302 w 1626"/>
                    <a:gd name="T27" fmla="*/ 1020 h 1830"/>
                    <a:gd name="T28" fmla="*/ 1218 w 1626"/>
                    <a:gd name="T29" fmla="*/ 1152 h 1830"/>
                    <a:gd name="T30" fmla="*/ 1158 w 1626"/>
                    <a:gd name="T31" fmla="*/ 1266 h 1830"/>
                    <a:gd name="T32" fmla="*/ 990 w 1626"/>
                    <a:gd name="T33" fmla="*/ 1290 h 1830"/>
                    <a:gd name="T34" fmla="*/ 924 w 1626"/>
                    <a:gd name="T35" fmla="*/ 1392 h 1830"/>
                    <a:gd name="T36" fmla="*/ 1044 w 1626"/>
                    <a:gd name="T37" fmla="*/ 1542 h 1830"/>
                    <a:gd name="T38" fmla="*/ 1092 w 1626"/>
                    <a:gd name="T39" fmla="*/ 1650 h 1830"/>
                    <a:gd name="T40" fmla="*/ 1050 w 1626"/>
                    <a:gd name="T41" fmla="*/ 1752 h 1830"/>
                    <a:gd name="T42" fmla="*/ 924 w 1626"/>
                    <a:gd name="T43" fmla="*/ 1734 h 1830"/>
                    <a:gd name="T44" fmla="*/ 864 w 1626"/>
                    <a:gd name="T45" fmla="*/ 1830 h 1830"/>
                    <a:gd name="T46" fmla="*/ 858 w 1626"/>
                    <a:gd name="T47" fmla="*/ 1812 h 1830"/>
                    <a:gd name="T48" fmla="*/ 822 w 1626"/>
                    <a:gd name="T49" fmla="*/ 1806 h 1830"/>
                    <a:gd name="T50" fmla="*/ 780 w 1626"/>
                    <a:gd name="T51" fmla="*/ 1794 h 1830"/>
                    <a:gd name="T52" fmla="*/ 738 w 1626"/>
                    <a:gd name="T53" fmla="*/ 1764 h 1830"/>
                    <a:gd name="T54" fmla="*/ 708 w 1626"/>
                    <a:gd name="T55" fmla="*/ 1728 h 1830"/>
                    <a:gd name="T56" fmla="*/ 636 w 1626"/>
                    <a:gd name="T57" fmla="*/ 1710 h 1830"/>
                    <a:gd name="T58" fmla="*/ 588 w 1626"/>
                    <a:gd name="T59" fmla="*/ 1668 h 1830"/>
                    <a:gd name="T60" fmla="*/ 552 w 1626"/>
                    <a:gd name="T61" fmla="*/ 1626 h 1830"/>
                    <a:gd name="T62" fmla="*/ 516 w 1626"/>
                    <a:gd name="T63" fmla="*/ 1608 h 1830"/>
                    <a:gd name="T64" fmla="*/ 492 w 1626"/>
                    <a:gd name="T65" fmla="*/ 1614 h 1830"/>
                    <a:gd name="T66" fmla="*/ 462 w 1626"/>
                    <a:gd name="T67" fmla="*/ 1632 h 1830"/>
                    <a:gd name="T68" fmla="*/ 432 w 1626"/>
                    <a:gd name="T69" fmla="*/ 1626 h 1830"/>
                    <a:gd name="T70" fmla="*/ 396 w 1626"/>
                    <a:gd name="T71" fmla="*/ 1614 h 1830"/>
                    <a:gd name="T72" fmla="*/ 378 w 1626"/>
                    <a:gd name="T73" fmla="*/ 1614 h 1830"/>
                    <a:gd name="T74" fmla="*/ 366 w 1626"/>
                    <a:gd name="T75" fmla="*/ 1626 h 1830"/>
                    <a:gd name="T76" fmla="*/ 330 w 1626"/>
                    <a:gd name="T77" fmla="*/ 1638 h 1830"/>
                    <a:gd name="T78" fmla="*/ 240 w 1626"/>
                    <a:gd name="T79" fmla="*/ 1644 h 1830"/>
                    <a:gd name="T80" fmla="*/ 162 w 1626"/>
                    <a:gd name="T81" fmla="*/ 1656 h 1830"/>
                    <a:gd name="T82" fmla="*/ 108 w 1626"/>
                    <a:gd name="T83" fmla="*/ 1650 h 1830"/>
                    <a:gd name="T84" fmla="*/ 90 w 1626"/>
                    <a:gd name="T85" fmla="*/ 1656 h 1830"/>
                    <a:gd name="T86" fmla="*/ 114 w 1626"/>
                    <a:gd name="T87" fmla="*/ 1524 h 1830"/>
                    <a:gd name="T88" fmla="*/ 222 w 1626"/>
                    <a:gd name="T89" fmla="*/ 1410 h 1830"/>
                    <a:gd name="T90" fmla="*/ 174 w 1626"/>
                    <a:gd name="T91" fmla="*/ 1344 h 1830"/>
                    <a:gd name="T92" fmla="*/ 138 w 1626"/>
                    <a:gd name="T93" fmla="*/ 1248 h 1830"/>
                    <a:gd name="T94" fmla="*/ 6 w 1626"/>
                    <a:gd name="T95" fmla="*/ 1194 h 1830"/>
                    <a:gd name="T96" fmla="*/ 246 w 1626"/>
                    <a:gd name="T97" fmla="*/ 1164 h 1830"/>
                    <a:gd name="T98" fmla="*/ 342 w 1626"/>
                    <a:gd name="T99" fmla="*/ 1128 h 1830"/>
                    <a:gd name="T100" fmla="*/ 522 w 1626"/>
                    <a:gd name="T101" fmla="*/ 1074 h 1830"/>
                    <a:gd name="T102" fmla="*/ 540 w 1626"/>
                    <a:gd name="T103" fmla="*/ 948 h 1830"/>
                    <a:gd name="T104" fmla="*/ 642 w 1626"/>
                    <a:gd name="T105" fmla="*/ 882 h 1830"/>
                    <a:gd name="T106" fmla="*/ 732 w 1626"/>
                    <a:gd name="T107" fmla="*/ 786 h 1830"/>
                    <a:gd name="T108" fmla="*/ 786 w 1626"/>
                    <a:gd name="T109" fmla="*/ 678 h 1830"/>
                    <a:gd name="T110" fmla="*/ 816 w 1626"/>
                    <a:gd name="T111" fmla="*/ 540 h 1830"/>
                    <a:gd name="T112" fmla="*/ 912 w 1626"/>
                    <a:gd name="T113" fmla="*/ 474 h 1830"/>
                    <a:gd name="T114" fmla="*/ 948 w 1626"/>
                    <a:gd name="T115" fmla="*/ 282 h 1830"/>
                    <a:gd name="T116" fmla="*/ 906 w 1626"/>
                    <a:gd name="T117" fmla="*/ 168 h 1830"/>
                    <a:gd name="T118" fmla="*/ 1032 w 1626"/>
                    <a:gd name="T119" fmla="*/ 120 h 1830"/>
                    <a:gd name="T120" fmla="*/ 1152 w 1626"/>
                    <a:gd name="T121" fmla="*/ 48 h 1830"/>
                    <a:gd name="T122" fmla="*/ 1248 w 1626"/>
                    <a:gd name="T123" fmla="*/ 0 h 18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626" h="1830">
                      <a:moveTo>
                        <a:pt x="6" y="1188"/>
                      </a:moveTo>
                      <a:lnTo>
                        <a:pt x="6" y="1194"/>
                      </a:lnTo>
                      <a:lnTo>
                        <a:pt x="0" y="1194"/>
                      </a:lnTo>
                      <a:lnTo>
                        <a:pt x="6" y="1188"/>
                      </a:lnTo>
                      <a:close/>
                      <a:moveTo>
                        <a:pt x="1248" y="0"/>
                      </a:moveTo>
                      <a:lnTo>
                        <a:pt x="1380" y="18"/>
                      </a:lnTo>
                      <a:lnTo>
                        <a:pt x="1422" y="72"/>
                      </a:lnTo>
                      <a:lnTo>
                        <a:pt x="1458" y="120"/>
                      </a:lnTo>
                      <a:lnTo>
                        <a:pt x="1494" y="186"/>
                      </a:lnTo>
                      <a:lnTo>
                        <a:pt x="1542" y="222"/>
                      </a:lnTo>
                      <a:lnTo>
                        <a:pt x="1590" y="276"/>
                      </a:lnTo>
                      <a:lnTo>
                        <a:pt x="1626" y="330"/>
                      </a:lnTo>
                      <a:lnTo>
                        <a:pt x="1626" y="336"/>
                      </a:lnTo>
                      <a:lnTo>
                        <a:pt x="1554" y="354"/>
                      </a:lnTo>
                      <a:lnTo>
                        <a:pt x="1482" y="366"/>
                      </a:lnTo>
                      <a:lnTo>
                        <a:pt x="1392" y="360"/>
                      </a:lnTo>
                      <a:lnTo>
                        <a:pt x="1344" y="366"/>
                      </a:lnTo>
                      <a:lnTo>
                        <a:pt x="1278" y="360"/>
                      </a:lnTo>
                      <a:lnTo>
                        <a:pt x="1230" y="366"/>
                      </a:lnTo>
                      <a:lnTo>
                        <a:pt x="1206" y="414"/>
                      </a:lnTo>
                      <a:lnTo>
                        <a:pt x="1260" y="480"/>
                      </a:lnTo>
                      <a:lnTo>
                        <a:pt x="1260" y="570"/>
                      </a:lnTo>
                      <a:lnTo>
                        <a:pt x="1326" y="624"/>
                      </a:lnTo>
                      <a:lnTo>
                        <a:pt x="1398" y="678"/>
                      </a:lnTo>
                      <a:lnTo>
                        <a:pt x="1404" y="762"/>
                      </a:lnTo>
                      <a:lnTo>
                        <a:pt x="1368" y="864"/>
                      </a:lnTo>
                      <a:lnTo>
                        <a:pt x="1326" y="936"/>
                      </a:lnTo>
                      <a:lnTo>
                        <a:pt x="1302" y="1020"/>
                      </a:lnTo>
                      <a:lnTo>
                        <a:pt x="1272" y="1110"/>
                      </a:lnTo>
                      <a:lnTo>
                        <a:pt x="1218" y="1152"/>
                      </a:lnTo>
                      <a:lnTo>
                        <a:pt x="1170" y="1164"/>
                      </a:lnTo>
                      <a:lnTo>
                        <a:pt x="1158" y="1266"/>
                      </a:lnTo>
                      <a:lnTo>
                        <a:pt x="1128" y="1290"/>
                      </a:lnTo>
                      <a:lnTo>
                        <a:pt x="990" y="1290"/>
                      </a:lnTo>
                      <a:lnTo>
                        <a:pt x="948" y="1326"/>
                      </a:lnTo>
                      <a:lnTo>
                        <a:pt x="924" y="1392"/>
                      </a:lnTo>
                      <a:lnTo>
                        <a:pt x="978" y="1500"/>
                      </a:lnTo>
                      <a:lnTo>
                        <a:pt x="1044" y="1542"/>
                      </a:lnTo>
                      <a:lnTo>
                        <a:pt x="1074" y="1590"/>
                      </a:lnTo>
                      <a:lnTo>
                        <a:pt x="1092" y="1650"/>
                      </a:lnTo>
                      <a:lnTo>
                        <a:pt x="1098" y="1722"/>
                      </a:lnTo>
                      <a:lnTo>
                        <a:pt x="1050" y="1752"/>
                      </a:lnTo>
                      <a:lnTo>
                        <a:pt x="984" y="1752"/>
                      </a:lnTo>
                      <a:lnTo>
                        <a:pt x="924" y="1734"/>
                      </a:lnTo>
                      <a:lnTo>
                        <a:pt x="864" y="1824"/>
                      </a:lnTo>
                      <a:lnTo>
                        <a:pt x="864" y="1830"/>
                      </a:lnTo>
                      <a:lnTo>
                        <a:pt x="864" y="1818"/>
                      </a:lnTo>
                      <a:lnTo>
                        <a:pt x="858" y="1812"/>
                      </a:lnTo>
                      <a:lnTo>
                        <a:pt x="840" y="1806"/>
                      </a:lnTo>
                      <a:lnTo>
                        <a:pt x="822" y="1806"/>
                      </a:lnTo>
                      <a:lnTo>
                        <a:pt x="804" y="1800"/>
                      </a:lnTo>
                      <a:lnTo>
                        <a:pt x="780" y="1794"/>
                      </a:lnTo>
                      <a:lnTo>
                        <a:pt x="756" y="1782"/>
                      </a:lnTo>
                      <a:lnTo>
                        <a:pt x="738" y="1764"/>
                      </a:lnTo>
                      <a:lnTo>
                        <a:pt x="726" y="1740"/>
                      </a:lnTo>
                      <a:lnTo>
                        <a:pt x="708" y="1728"/>
                      </a:lnTo>
                      <a:lnTo>
                        <a:pt x="678" y="1716"/>
                      </a:lnTo>
                      <a:lnTo>
                        <a:pt x="636" y="1710"/>
                      </a:lnTo>
                      <a:lnTo>
                        <a:pt x="612" y="1692"/>
                      </a:lnTo>
                      <a:lnTo>
                        <a:pt x="588" y="1668"/>
                      </a:lnTo>
                      <a:lnTo>
                        <a:pt x="570" y="1644"/>
                      </a:lnTo>
                      <a:lnTo>
                        <a:pt x="552" y="1626"/>
                      </a:lnTo>
                      <a:lnTo>
                        <a:pt x="534" y="1614"/>
                      </a:lnTo>
                      <a:lnTo>
                        <a:pt x="516" y="1608"/>
                      </a:lnTo>
                      <a:lnTo>
                        <a:pt x="504" y="1608"/>
                      </a:lnTo>
                      <a:lnTo>
                        <a:pt x="492" y="1614"/>
                      </a:lnTo>
                      <a:lnTo>
                        <a:pt x="480" y="1626"/>
                      </a:lnTo>
                      <a:lnTo>
                        <a:pt x="462" y="1632"/>
                      </a:lnTo>
                      <a:lnTo>
                        <a:pt x="450" y="1632"/>
                      </a:lnTo>
                      <a:lnTo>
                        <a:pt x="432" y="1626"/>
                      </a:lnTo>
                      <a:lnTo>
                        <a:pt x="408" y="1620"/>
                      </a:lnTo>
                      <a:lnTo>
                        <a:pt x="396" y="1614"/>
                      </a:lnTo>
                      <a:lnTo>
                        <a:pt x="384" y="1614"/>
                      </a:lnTo>
                      <a:lnTo>
                        <a:pt x="378" y="1614"/>
                      </a:lnTo>
                      <a:lnTo>
                        <a:pt x="372" y="1614"/>
                      </a:lnTo>
                      <a:lnTo>
                        <a:pt x="366" y="1626"/>
                      </a:lnTo>
                      <a:lnTo>
                        <a:pt x="360" y="1632"/>
                      </a:lnTo>
                      <a:lnTo>
                        <a:pt x="330" y="1638"/>
                      </a:lnTo>
                      <a:lnTo>
                        <a:pt x="288" y="1644"/>
                      </a:lnTo>
                      <a:lnTo>
                        <a:pt x="240" y="1644"/>
                      </a:lnTo>
                      <a:lnTo>
                        <a:pt x="198" y="1650"/>
                      </a:lnTo>
                      <a:lnTo>
                        <a:pt x="162" y="1656"/>
                      </a:lnTo>
                      <a:lnTo>
                        <a:pt x="126" y="1650"/>
                      </a:lnTo>
                      <a:lnTo>
                        <a:pt x="108" y="1650"/>
                      </a:lnTo>
                      <a:lnTo>
                        <a:pt x="90" y="1650"/>
                      </a:lnTo>
                      <a:lnTo>
                        <a:pt x="90" y="1656"/>
                      </a:lnTo>
                      <a:lnTo>
                        <a:pt x="84" y="1578"/>
                      </a:lnTo>
                      <a:lnTo>
                        <a:pt x="114" y="1524"/>
                      </a:lnTo>
                      <a:lnTo>
                        <a:pt x="234" y="1476"/>
                      </a:lnTo>
                      <a:lnTo>
                        <a:pt x="222" y="1410"/>
                      </a:lnTo>
                      <a:lnTo>
                        <a:pt x="156" y="1386"/>
                      </a:lnTo>
                      <a:lnTo>
                        <a:pt x="174" y="1344"/>
                      </a:lnTo>
                      <a:lnTo>
                        <a:pt x="174" y="1284"/>
                      </a:lnTo>
                      <a:lnTo>
                        <a:pt x="138" y="1248"/>
                      </a:lnTo>
                      <a:lnTo>
                        <a:pt x="66" y="1242"/>
                      </a:lnTo>
                      <a:lnTo>
                        <a:pt x="6" y="1194"/>
                      </a:lnTo>
                      <a:lnTo>
                        <a:pt x="126" y="1176"/>
                      </a:lnTo>
                      <a:lnTo>
                        <a:pt x="246" y="1164"/>
                      </a:lnTo>
                      <a:lnTo>
                        <a:pt x="288" y="1164"/>
                      </a:lnTo>
                      <a:lnTo>
                        <a:pt x="342" y="1128"/>
                      </a:lnTo>
                      <a:lnTo>
                        <a:pt x="426" y="1128"/>
                      </a:lnTo>
                      <a:lnTo>
                        <a:pt x="522" y="1074"/>
                      </a:lnTo>
                      <a:lnTo>
                        <a:pt x="516" y="1014"/>
                      </a:lnTo>
                      <a:lnTo>
                        <a:pt x="540" y="948"/>
                      </a:lnTo>
                      <a:lnTo>
                        <a:pt x="594" y="900"/>
                      </a:lnTo>
                      <a:lnTo>
                        <a:pt x="642" y="882"/>
                      </a:lnTo>
                      <a:lnTo>
                        <a:pt x="642" y="816"/>
                      </a:lnTo>
                      <a:lnTo>
                        <a:pt x="732" y="786"/>
                      </a:lnTo>
                      <a:lnTo>
                        <a:pt x="780" y="816"/>
                      </a:lnTo>
                      <a:lnTo>
                        <a:pt x="786" y="678"/>
                      </a:lnTo>
                      <a:lnTo>
                        <a:pt x="864" y="582"/>
                      </a:lnTo>
                      <a:lnTo>
                        <a:pt x="816" y="540"/>
                      </a:lnTo>
                      <a:lnTo>
                        <a:pt x="840" y="504"/>
                      </a:lnTo>
                      <a:lnTo>
                        <a:pt x="912" y="474"/>
                      </a:lnTo>
                      <a:lnTo>
                        <a:pt x="948" y="426"/>
                      </a:lnTo>
                      <a:lnTo>
                        <a:pt x="948" y="282"/>
                      </a:lnTo>
                      <a:lnTo>
                        <a:pt x="894" y="228"/>
                      </a:lnTo>
                      <a:lnTo>
                        <a:pt x="906" y="168"/>
                      </a:lnTo>
                      <a:lnTo>
                        <a:pt x="972" y="132"/>
                      </a:lnTo>
                      <a:lnTo>
                        <a:pt x="1032" y="120"/>
                      </a:lnTo>
                      <a:lnTo>
                        <a:pt x="1086" y="66"/>
                      </a:lnTo>
                      <a:lnTo>
                        <a:pt x="1152" y="48"/>
                      </a:lnTo>
                      <a:lnTo>
                        <a:pt x="1170" y="24"/>
                      </a:lnTo>
                      <a:lnTo>
                        <a:pt x="124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7" name="Freeform 118">
                  <a:extLst>
                    <a:ext uri="{FF2B5EF4-FFF2-40B4-BE49-F238E27FC236}">
                      <a16:creationId xmlns:a16="http://schemas.microsoft.com/office/drawing/2014/main" id="{CFF9FB46-B8FC-47D7-A606-8F69E90C49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31" y="558"/>
                  <a:ext cx="900" cy="1092"/>
                </a:xfrm>
                <a:custGeom>
                  <a:avLst/>
                  <a:gdLst>
                    <a:gd name="T0" fmla="*/ 222 w 900"/>
                    <a:gd name="T1" fmla="*/ 0 h 1092"/>
                    <a:gd name="T2" fmla="*/ 282 w 900"/>
                    <a:gd name="T3" fmla="*/ 84 h 1092"/>
                    <a:gd name="T4" fmla="*/ 300 w 900"/>
                    <a:gd name="T5" fmla="*/ 192 h 1092"/>
                    <a:gd name="T6" fmla="*/ 402 w 900"/>
                    <a:gd name="T7" fmla="*/ 204 h 1092"/>
                    <a:gd name="T8" fmla="*/ 516 w 900"/>
                    <a:gd name="T9" fmla="*/ 294 h 1092"/>
                    <a:gd name="T10" fmla="*/ 450 w 900"/>
                    <a:gd name="T11" fmla="*/ 402 h 1092"/>
                    <a:gd name="T12" fmla="*/ 534 w 900"/>
                    <a:gd name="T13" fmla="*/ 468 h 1092"/>
                    <a:gd name="T14" fmla="*/ 612 w 900"/>
                    <a:gd name="T15" fmla="*/ 564 h 1092"/>
                    <a:gd name="T16" fmla="*/ 690 w 900"/>
                    <a:gd name="T17" fmla="*/ 648 h 1092"/>
                    <a:gd name="T18" fmla="*/ 750 w 900"/>
                    <a:gd name="T19" fmla="*/ 762 h 1092"/>
                    <a:gd name="T20" fmla="*/ 852 w 900"/>
                    <a:gd name="T21" fmla="*/ 846 h 1092"/>
                    <a:gd name="T22" fmla="*/ 900 w 900"/>
                    <a:gd name="T23" fmla="*/ 954 h 1092"/>
                    <a:gd name="T24" fmla="*/ 822 w 900"/>
                    <a:gd name="T25" fmla="*/ 1002 h 1092"/>
                    <a:gd name="T26" fmla="*/ 768 w 900"/>
                    <a:gd name="T27" fmla="*/ 1092 h 1092"/>
                    <a:gd name="T28" fmla="*/ 720 w 900"/>
                    <a:gd name="T29" fmla="*/ 1056 h 1092"/>
                    <a:gd name="T30" fmla="*/ 702 w 900"/>
                    <a:gd name="T31" fmla="*/ 972 h 1092"/>
                    <a:gd name="T32" fmla="*/ 684 w 900"/>
                    <a:gd name="T33" fmla="*/ 888 h 1092"/>
                    <a:gd name="T34" fmla="*/ 654 w 900"/>
                    <a:gd name="T35" fmla="*/ 846 h 1092"/>
                    <a:gd name="T36" fmla="*/ 564 w 900"/>
                    <a:gd name="T37" fmla="*/ 792 h 1092"/>
                    <a:gd name="T38" fmla="*/ 546 w 900"/>
                    <a:gd name="T39" fmla="*/ 732 h 1092"/>
                    <a:gd name="T40" fmla="*/ 546 w 900"/>
                    <a:gd name="T41" fmla="*/ 666 h 1092"/>
                    <a:gd name="T42" fmla="*/ 534 w 900"/>
                    <a:gd name="T43" fmla="*/ 642 h 1092"/>
                    <a:gd name="T44" fmla="*/ 516 w 900"/>
                    <a:gd name="T45" fmla="*/ 624 h 1092"/>
                    <a:gd name="T46" fmla="*/ 492 w 900"/>
                    <a:gd name="T47" fmla="*/ 606 h 1092"/>
                    <a:gd name="T48" fmla="*/ 432 w 900"/>
                    <a:gd name="T49" fmla="*/ 582 h 1092"/>
                    <a:gd name="T50" fmla="*/ 378 w 900"/>
                    <a:gd name="T51" fmla="*/ 600 h 1092"/>
                    <a:gd name="T52" fmla="*/ 318 w 900"/>
                    <a:gd name="T53" fmla="*/ 618 h 1092"/>
                    <a:gd name="T54" fmla="*/ 282 w 900"/>
                    <a:gd name="T55" fmla="*/ 606 h 1092"/>
                    <a:gd name="T56" fmla="*/ 204 w 900"/>
                    <a:gd name="T57" fmla="*/ 666 h 1092"/>
                    <a:gd name="T58" fmla="*/ 156 w 900"/>
                    <a:gd name="T59" fmla="*/ 570 h 1092"/>
                    <a:gd name="T60" fmla="*/ 138 w 900"/>
                    <a:gd name="T61" fmla="*/ 420 h 1092"/>
                    <a:gd name="T62" fmla="*/ 54 w 900"/>
                    <a:gd name="T63" fmla="*/ 360 h 1092"/>
                    <a:gd name="T64" fmla="*/ 6 w 900"/>
                    <a:gd name="T65" fmla="*/ 294 h 1092"/>
                    <a:gd name="T66" fmla="*/ 66 w 900"/>
                    <a:gd name="T67" fmla="*/ 174 h 1092"/>
                    <a:gd name="T68" fmla="*/ 132 w 900"/>
                    <a:gd name="T69" fmla="*/ 150 h 1092"/>
                    <a:gd name="T70" fmla="*/ 102 w 900"/>
                    <a:gd name="T71" fmla="*/ 84 h 1092"/>
                    <a:gd name="T72" fmla="*/ 162 w 900"/>
                    <a:gd name="T73" fmla="*/ 0 h 10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900" h="1092">
                      <a:moveTo>
                        <a:pt x="162" y="0"/>
                      </a:moveTo>
                      <a:lnTo>
                        <a:pt x="222" y="0"/>
                      </a:lnTo>
                      <a:lnTo>
                        <a:pt x="252" y="54"/>
                      </a:lnTo>
                      <a:lnTo>
                        <a:pt x="282" y="84"/>
                      </a:lnTo>
                      <a:lnTo>
                        <a:pt x="288" y="150"/>
                      </a:lnTo>
                      <a:lnTo>
                        <a:pt x="300" y="192"/>
                      </a:lnTo>
                      <a:lnTo>
                        <a:pt x="354" y="216"/>
                      </a:lnTo>
                      <a:lnTo>
                        <a:pt x="402" y="204"/>
                      </a:lnTo>
                      <a:lnTo>
                        <a:pt x="474" y="258"/>
                      </a:lnTo>
                      <a:lnTo>
                        <a:pt x="516" y="294"/>
                      </a:lnTo>
                      <a:lnTo>
                        <a:pt x="474" y="360"/>
                      </a:lnTo>
                      <a:lnTo>
                        <a:pt x="450" y="402"/>
                      </a:lnTo>
                      <a:lnTo>
                        <a:pt x="480" y="438"/>
                      </a:lnTo>
                      <a:lnTo>
                        <a:pt x="534" y="468"/>
                      </a:lnTo>
                      <a:lnTo>
                        <a:pt x="564" y="516"/>
                      </a:lnTo>
                      <a:lnTo>
                        <a:pt x="612" y="564"/>
                      </a:lnTo>
                      <a:lnTo>
                        <a:pt x="660" y="600"/>
                      </a:lnTo>
                      <a:lnTo>
                        <a:pt x="690" y="648"/>
                      </a:lnTo>
                      <a:lnTo>
                        <a:pt x="714" y="696"/>
                      </a:lnTo>
                      <a:lnTo>
                        <a:pt x="750" y="762"/>
                      </a:lnTo>
                      <a:lnTo>
                        <a:pt x="804" y="804"/>
                      </a:lnTo>
                      <a:lnTo>
                        <a:pt x="852" y="846"/>
                      </a:lnTo>
                      <a:lnTo>
                        <a:pt x="876" y="912"/>
                      </a:lnTo>
                      <a:lnTo>
                        <a:pt x="900" y="954"/>
                      </a:lnTo>
                      <a:lnTo>
                        <a:pt x="888" y="1014"/>
                      </a:lnTo>
                      <a:lnTo>
                        <a:pt x="822" y="1002"/>
                      </a:lnTo>
                      <a:lnTo>
                        <a:pt x="786" y="1068"/>
                      </a:lnTo>
                      <a:lnTo>
                        <a:pt x="768" y="1092"/>
                      </a:lnTo>
                      <a:lnTo>
                        <a:pt x="720" y="1074"/>
                      </a:lnTo>
                      <a:lnTo>
                        <a:pt x="720" y="1056"/>
                      </a:lnTo>
                      <a:lnTo>
                        <a:pt x="714" y="1020"/>
                      </a:lnTo>
                      <a:lnTo>
                        <a:pt x="702" y="972"/>
                      </a:lnTo>
                      <a:lnTo>
                        <a:pt x="690" y="924"/>
                      </a:lnTo>
                      <a:lnTo>
                        <a:pt x="684" y="888"/>
                      </a:lnTo>
                      <a:lnTo>
                        <a:pt x="672" y="864"/>
                      </a:lnTo>
                      <a:lnTo>
                        <a:pt x="654" y="846"/>
                      </a:lnTo>
                      <a:lnTo>
                        <a:pt x="606" y="816"/>
                      </a:lnTo>
                      <a:lnTo>
                        <a:pt x="564" y="792"/>
                      </a:lnTo>
                      <a:lnTo>
                        <a:pt x="546" y="762"/>
                      </a:lnTo>
                      <a:lnTo>
                        <a:pt x="546" y="732"/>
                      </a:lnTo>
                      <a:lnTo>
                        <a:pt x="546" y="690"/>
                      </a:lnTo>
                      <a:lnTo>
                        <a:pt x="546" y="666"/>
                      </a:lnTo>
                      <a:lnTo>
                        <a:pt x="540" y="654"/>
                      </a:lnTo>
                      <a:lnTo>
                        <a:pt x="534" y="642"/>
                      </a:lnTo>
                      <a:lnTo>
                        <a:pt x="528" y="630"/>
                      </a:lnTo>
                      <a:lnTo>
                        <a:pt x="516" y="624"/>
                      </a:lnTo>
                      <a:lnTo>
                        <a:pt x="504" y="612"/>
                      </a:lnTo>
                      <a:lnTo>
                        <a:pt x="492" y="606"/>
                      </a:lnTo>
                      <a:lnTo>
                        <a:pt x="462" y="588"/>
                      </a:lnTo>
                      <a:lnTo>
                        <a:pt x="432" y="582"/>
                      </a:lnTo>
                      <a:lnTo>
                        <a:pt x="402" y="582"/>
                      </a:lnTo>
                      <a:lnTo>
                        <a:pt x="378" y="600"/>
                      </a:lnTo>
                      <a:lnTo>
                        <a:pt x="354" y="612"/>
                      </a:lnTo>
                      <a:lnTo>
                        <a:pt x="318" y="618"/>
                      </a:lnTo>
                      <a:lnTo>
                        <a:pt x="294" y="612"/>
                      </a:lnTo>
                      <a:lnTo>
                        <a:pt x="282" y="606"/>
                      </a:lnTo>
                      <a:lnTo>
                        <a:pt x="234" y="606"/>
                      </a:lnTo>
                      <a:lnTo>
                        <a:pt x="204" y="666"/>
                      </a:lnTo>
                      <a:lnTo>
                        <a:pt x="168" y="660"/>
                      </a:lnTo>
                      <a:lnTo>
                        <a:pt x="156" y="570"/>
                      </a:lnTo>
                      <a:lnTo>
                        <a:pt x="162" y="480"/>
                      </a:lnTo>
                      <a:lnTo>
                        <a:pt x="138" y="420"/>
                      </a:lnTo>
                      <a:lnTo>
                        <a:pt x="54" y="420"/>
                      </a:lnTo>
                      <a:lnTo>
                        <a:pt x="54" y="360"/>
                      </a:lnTo>
                      <a:lnTo>
                        <a:pt x="0" y="294"/>
                      </a:lnTo>
                      <a:lnTo>
                        <a:pt x="6" y="294"/>
                      </a:lnTo>
                      <a:lnTo>
                        <a:pt x="12" y="192"/>
                      </a:lnTo>
                      <a:lnTo>
                        <a:pt x="66" y="174"/>
                      </a:lnTo>
                      <a:lnTo>
                        <a:pt x="102" y="168"/>
                      </a:lnTo>
                      <a:lnTo>
                        <a:pt x="132" y="150"/>
                      </a:lnTo>
                      <a:lnTo>
                        <a:pt x="114" y="126"/>
                      </a:lnTo>
                      <a:lnTo>
                        <a:pt x="102" y="84"/>
                      </a:lnTo>
                      <a:lnTo>
                        <a:pt x="114" y="36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8" name="Freeform 119">
                  <a:extLst>
                    <a:ext uri="{FF2B5EF4-FFF2-40B4-BE49-F238E27FC236}">
                      <a16:creationId xmlns:a16="http://schemas.microsoft.com/office/drawing/2014/main" id="{8F02CC79-D27A-4B15-B3C8-1740FDFE4E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37" y="852"/>
                  <a:ext cx="1014" cy="1884"/>
                </a:xfrm>
                <a:custGeom>
                  <a:avLst/>
                  <a:gdLst>
                    <a:gd name="T0" fmla="*/ 708 w 1014"/>
                    <a:gd name="T1" fmla="*/ 1878 h 1884"/>
                    <a:gd name="T2" fmla="*/ 726 w 1014"/>
                    <a:gd name="T3" fmla="*/ 1086 h 1884"/>
                    <a:gd name="T4" fmla="*/ 348 w 1014"/>
                    <a:gd name="T5" fmla="*/ 126 h 1884"/>
                    <a:gd name="T6" fmla="*/ 462 w 1014"/>
                    <a:gd name="T7" fmla="*/ 366 h 1884"/>
                    <a:gd name="T8" fmla="*/ 588 w 1014"/>
                    <a:gd name="T9" fmla="*/ 318 h 1884"/>
                    <a:gd name="T10" fmla="*/ 696 w 1014"/>
                    <a:gd name="T11" fmla="*/ 288 h 1884"/>
                    <a:gd name="T12" fmla="*/ 798 w 1014"/>
                    <a:gd name="T13" fmla="*/ 318 h 1884"/>
                    <a:gd name="T14" fmla="*/ 834 w 1014"/>
                    <a:gd name="T15" fmla="*/ 360 h 1884"/>
                    <a:gd name="T16" fmla="*/ 840 w 1014"/>
                    <a:gd name="T17" fmla="*/ 468 h 1884"/>
                    <a:gd name="T18" fmla="*/ 966 w 1014"/>
                    <a:gd name="T19" fmla="*/ 570 h 1884"/>
                    <a:gd name="T20" fmla="*/ 1008 w 1014"/>
                    <a:gd name="T21" fmla="*/ 726 h 1884"/>
                    <a:gd name="T22" fmla="*/ 900 w 1014"/>
                    <a:gd name="T23" fmla="*/ 720 h 1884"/>
                    <a:gd name="T24" fmla="*/ 690 w 1014"/>
                    <a:gd name="T25" fmla="*/ 816 h 1884"/>
                    <a:gd name="T26" fmla="*/ 762 w 1014"/>
                    <a:gd name="T27" fmla="*/ 1038 h 1884"/>
                    <a:gd name="T28" fmla="*/ 666 w 1014"/>
                    <a:gd name="T29" fmla="*/ 1032 h 1884"/>
                    <a:gd name="T30" fmla="*/ 606 w 1014"/>
                    <a:gd name="T31" fmla="*/ 990 h 1884"/>
                    <a:gd name="T32" fmla="*/ 522 w 1014"/>
                    <a:gd name="T33" fmla="*/ 996 h 1884"/>
                    <a:gd name="T34" fmla="*/ 504 w 1014"/>
                    <a:gd name="T35" fmla="*/ 966 h 1884"/>
                    <a:gd name="T36" fmla="*/ 498 w 1014"/>
                    <a:gd name="T37" fmla="*/ 906 h 1884"/>
                    <a:gd name="T38" fmla="*/ 456 w 1014"/>
                    <a:gd name="T39" fmla="*/ 864 h 1884"/>
                    <a:gd name="T40" fmla="*/ 414 w 1014"/>
                    <a:gd name="T41" fmla="*/ 876 h 1884"/>
                    <a:gd name="T42" fmla="*/ 390 w 1014"/>
                    <a:gd name="T43" fmla="*/ 924 h 1884"/>
                    <a:gd name="T44" fmla="*/ 402 w 1014"/>
                    <a:gd name="T45" fmla="*/ 1038 h 1884"/>
                    <a:gd name="T46" fmla="*/ 378 w 1014"/>
                    <a:gd name="T47" fmla="*/ 1248 h 1884"/>
                    <a:gd name="T48" fmla="*/ 378 w 1014"/>
                    <a:gd name="T49" fmla="*/ 1392 h 1884"/>
                    <a:gd name="T50" fmla="*/ 408 w 1014"/>
                    <a:gd name="T51" fmla="*/ 1434 h 1884"/>
                    <a:gd name="T52" fmla="*/ 456 w 1014"/>
                    <a:gd name="T53" fmla="*/ 1524 h 1884"/>
                    <a:gd name="T54" fmla="*/ 468 w 1014"/>
                    <a:gd name="T55" fmla="*/ 1596 h 1884"/>
                    <a:gd name="T56" fmla="*/ 438 w 1014"/>
                    <a:gd name="T57" fmla="*/ 1608 h 1884"/>
                    <a:gd name="T58" fmla="*/ 438 w 1014"/>
                    <a:gd name="T59" fmla="*/ 1644 h 1884"/>
                    <a:gd name="T60" fmla="*/ 474 w 1014"/>
                    <a:gd name="T61" fmla="*/ 1656 h 1884"/>
                    <a:gd name="T62" fmla="*/ 492 w 1014"/>
                    <a:gd name="T63" fmla="*/ 1638 h 1884"/>
                    <a:gd name="T64" fmla="*/ 546 w 1014"/>
                    <a:gd name="T65" fmla="*/ 1692 h 1884"/>
                    <a:gd name="T66" fmla="*/ 594 w 1014"/>
                    <a:gd name="T67" fmla="*/ 1710 h 1884"/>
                    <a:gd name="T68" fmla="*/ 642 w 1014"/>
                    <a:gd name="T69" fmla="*/ 1740 h 1884"/>
                    <a:gd name="T70" fmla="*/ 648 w 1014"/>
                    <a:gd name="T71" fmla="*/ 1788 h 1884"/>
                    <a:gd name="T72" fmla="*/ 690 w 1014"/>
                    <a:gd name="T73" fmla="*/ 1854 h 1884"/>
                    <a:gd name="T74" fmla="*/ 558 w 1014"/>
                    <a:gd name="T75" fmla="*/ 1812 h 1884"/>
                    <a:gd name="T76" fmla="*/ 372 w 1014"/>
                    <a:gd name="T77" fmla="*/ 1662 h 1884"/>
                    <a:gd name="T78" fmla="*/ 330 w 1014"/>
                    <a:gd name="T79" fmla="*/ 1620 h 1884"/>
                    <a:gd name="T80" fmla="*/ 306 w 1014"/>
                    <a:gd name="T81" fmla="*/ 1560 h 1884"/>
                    <a:gd name="T82" fmla="*/ 282 w 1014"/>
                    <a:gd name="T83" fmla="*/ 1554 h 1884"/>
                    <a:gd name="T84" fmla="*/ 270 w 1014"/>
                    <a:gd name="T85" fmla="*/ 1626 h 1884"/>
                    <a:gd name="T86" fmla="*/ 246 w 1014"/>
                    <a:gd name="T87" fmla="*/ 1620 h 1884"/>
                    <a:gd name="T88" fmla="*/ 234 w 1014"/>
                    <a:gd name="T89" fmla="*/ 1488 h 1884"/>
                    <a:gd name="T90" fmla="*/ 264 w 1014"/>
                    <a:gd name="T91" fmla="*/ 1398 h 1884"/>
                    <a:gd name="T92" fmla="*/ 276 w 1014"/>
                    <a:gd name="T93" fmla="*/ 1368 h 1884"/>
                    <a:gd name="T94" fmla="*/ 306 w 1014"/>
                    <a:gd name="T95" fmla="*/ 1302 h 1884"/>
                    <a:gd name="T96" fmla="*/ 306 w 1014"/>
                    <a:gd name="T97" fmla="*/ 924 h 1884"/>
                    <a:gd name="T98" fmla="*/ 174 w 1014"/>
                    <a:gd name="T99" fmla="*/ 738 h 1884"/>
                    <a:gd name="T100" fmla="*/ 156 w 1014"/>
                    <a:gd name="T101" fmla="*/ 438 h 1884"/>
                    <a:gd name="T102" fmla="*/ 0 w 1014"/>
                    <a:gd name="T103" fmla="*/ 240 h 1884"/>
                    <a:gd name="T104" fmla="*/ 156 w 1014"/>
                    <a:gd name="T105" fmla="*/ 90 h 18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14" h="1884">
                      <a:moveTo>
                        <a:pt x="708" y="1878"/>
                      </a:moveTo>
                      <a:lnTo>
                        <a:pt x="708" y="1878"/>
                      </a:lnTo>
                      <a:lnTo>
                        <a:pt x="708" y="1878"/>
                      </a:lnTo>
                      <a:lnTo>
                        <a:pt x="708" y="1878"/>
                      </a:lnTo>
                      <a:close/>
                      <a:moveTo>
                        <a:pt x="726" y="1086"/>
                      </a:moveTo>
                      <a:lnTo>
                        <a:pt x="726" y="1086"/>
                      </a:lnTo>
                      <a:lnTo>
                        <a:pt x="726" y="1086"/>
                      </a:lnTo>
                      <a:lnTo>
                        <a:pt x="726" y="1086"/>
                      </a:lnTo>
                      <a:close/>
                      <a:moveTo>
                        <a:pt x="234" y="0"/>
                      </a:moveTo>
                      <a:lnTo>
                        <a:pt x="294" y="0"/>
                      </a:lnTo>
                      <a:lnTo>
                        <a:pt x="348" y="66"/>
                      </a:lnTo>
                      <a:lnTo>
                        <a:pt x="348" y="126"/>
                      </a:lnTo>
                      <a:lnTo>
                        <a:pt x="432" y="126"/>
                      </a:lnTo>
                      <a:lnTo>
                        <a:pt x="456" y="186"/>
                      </a:lnTo>
                      <a:lnTo>
                        <a:pt x="450" y="276"/>
                      </a:lnTo>
                      <a:lnTo>
                        <a:pt x="462" y="366"/>
                      </a:lnTo>
                      <a:lnTo>
                        <a:pt x="498" y="372"/>
                      </a:lnTo>
                      <a:lnTo>
                        <a:pt x="528" y="312"/>
                      </a:lnTo>
                      <a:lnTo>
                        <a:pt x="576" y="312"/>
                      </a:lnTo>
                      <a:lnTo>
                        <a:pt x="588" y="318"/>
                      </a:lnTo>
                      <a:lnTo>
                        <a:pt x="612" y="324"/>
                      </a:lnTo>
                      <a:lnTo>
                        <a:pt x="648" y="318"/>
                      </a:lnTo>
                      <a:lnTo>
                        <a:pt x="672" y="306"/>
                      </a:lnTo>
                      <a:lnTo>
                        <a:pt x="696" y="288"/>
                      </a:lnTo>
                      <a:lnTo>
                        <a:pt x="726" y="288"/>
                      </a:lnTo>
                      <a:lnTo>
                        <a:pt x="756" y="294"/>
                      </a:lnTo>
                      <a:lnTo>
                        <a:pt x="786" y="312"/>
                      </a:lnTo>
                      <a:lnTo>
                        <a:pt x="798" y="318"/>
                      </a:lnTo>
                      <a:lnTo>
                        <a:pt x="810" y="330"/>
                      </a:lnTo>
                      <a:lnTo>
                        <a:pt x="822" y="336"/>
                      </a:lnTo>
                      <a:lnTo>
                        <a:pt x="828" y="348"/>
                      </a:lnTo>
                      <a:lnTo>
                        <a:pt x="834" y="360"/>
                      </a:lnTo>
                      <a:lnTo>
                        <a:pt x="840" y="372"/>
                      </a:lnTo>
                      <a:lnTo>
                        <a:pt x="840" y="396"/>
                      </a:lnTo>
                      <a:lnTo>
                        <a:pt x="840" y="438"/>
                      </a:lnTo>
                      <a:lnTo>
                        <a:pt x="840" y="468"/>
                      </a:lnTo>
                      <a:lnTo>
                        <a:pt x="858" y="498"/>
                      </a:lnTo>
                      <a:lnTo>
                        <a:pt x="900" y="522"/>
                      </a:lnTo>
                      <a:lnTo>
                        <a:pt x="948" y="552"/>
                      </a:lnTo>
                      <a:lnTo>
                        <a:pt x="966" y="570"/>
                      </a:lnTo>
                      <a:lnTo>
                        <a:pt x="978" y="594"/>
                      </a:lnTo>
                      <a:lnTo>
                        <a:pt x="984" y="630"/>
                      </a:lnTo>
                      <a:lnTo>
                        <a:pt x="996" y="678"/>
                      </a:lnTo>
                      <a:lnTo>
                        <a:pt x="1008" y="726"/>
                      </a:lnTo>
                      <a:lnTo>
                        <a:pt x="1014" y="762"/>
                      </a:lnTo>
                      <a:lnTo>
                        <a:pt x="1014" y="780"/>
                      </a:lnTo>
                      <a:lnTo>
                        <a:pt x="954" y="762"/>
                      </a:lnTo>
                      <a:lnTo>
                        <a:pt x="900" y="720"/>
                      </a:lnTo>
                      <a:lnTo>
                        <a:pt x="846" y="732"/>
                      </a:lnTo>
                      <a:lnTo>
                        <a:pt x="774" y="732"/>
                      </a:lnTo>
                      <a:lnTo>
                        <a:pt x="708" y="762"/>
                      </a:lnTo>
                      <a:lnTo>
                        <a:pt x="690" y="816"/>
                      </a:lnTo>
                      <a:lnTo>
                        <a:pt x="678" y="888"/>
                      </a:lnTo>
                      <a:lnTo>
                        <a:pt x="678" y="960"/>
                      </a:lnTo>
                      <a:lnTo>
                        <a:pt x="750" y="1002"/>
                      </a:lnTo>
                      <a:lnTo>
                        <a:pt x="762" y="1038"/>
                      </a:lnTo>
                      <a:lnTo>
                        <a:pt x="726" y="1086"/>
                      </a:lnTo>
                      <a:lnTo>
                        <a:pt x="708" y="1062"/>
                      </a:lnTo>
                      <a:lnTo>
                        <a:pt x="684" y="1044"/>
                      </a:lnTo>
                      <a:lnTo>
                        <a:pt x="666" y="1032"/>
                      </a:lnTo>
                      <a:lnTo>
                        <a:pt x="648" y="1020"/>
                      </a:lnTo>
                      <a:lnTo>
                        <a:pt x="636" y="1002"/>
                      </a:lnTo>
                      <a:lnTo>
                        <a:pt x="624" y="996"/>
                      </a:lnTo>
                      <a:lnTo>
                        <a:pt x="606" y="990"/>
                      </a:lnTo>
                      <a:lnTo>
                        <a:pt x="588" y="990"/>
                      </a:lnTo>
                      <a:lnTo>
                        <a:pt x="564" y="990"/>
                      </a:lnTo>
                      <a:lnTo>
                        <a:pt x="540" y="996"/>
                      </a:lnTo>
                      <a:lnTo>
                        <a:pt x="522" y="996"/>
                      </a:lnTo>
                      <a:lnTo>
                        <a:pt x="516" y="996"/>
                      </a:lnTo>
                      <a:lnTo>
                        <a:pt x="510" y="990"/>
                      </a:lnTo>
                      <a:lnTo>
                        <a:pt x="504" y="984"/>
                      </a:lnTo>
                      <a:lnTo>
                        <a:pt x="504" y="966"/>
                      </a:lnTo>
                      <a:lnTo>
                        <a:pt x="504" y="948"/>
                      </a:lnTo>
                      <a:lnTo>
                        <a:pt x="504" y="930"/>
                      </a:lnTo>
                      <a:lnTo>
                        <a:pt x="498" y="912"/>
                      </a:lnTo>
                      <a:lnTo>
                        <a:pt x="498" y="906"/>
                      </a:lnTo>
                      <a:lnTo>
                        <a:pt x="486" y="894"/>
                      </a:lnTo>
                      <a:lnTo>
                        <a:pt x="480" y="882"/>
                      </a:lnTo>
                      <a:lnTo>
                        <a:pt x="468" y="870"/>
                      </a:lnTo>
                      <a:lnTo>
                        <a:pt x="456" y="864"/>
                      </a:lnTo>
                      <a:lnTo>
                        <a:pt x="450" y="858"/>
                      </a:lnTo>
                      <a:lnTo>
                        <a:pt x="438" y="864"/>
                      </a:lnTo>
                      <a:lnTo>
                        <a:pt x="426" y="870"/>
                      </a:lnTo>
                      <a:lnTo>
                        <a:pt x="414" y="876"/>
                      </a:lnTo>
                      <a:lnTo>
                        <a:pt x="402" y="888"/>
                      </a:lnTo>
                      <a:lnTo>
                        <a:pt x="390" y="900"/>
                      </a:lnTo>
                      <a:lnTo>
                        <a:pt x="390" y="912"/>
                      </a:lnTo>
                      <a:lnTo>
                        <a:pt x="390" y="924"/>
                      </a:lnTo>
                      <a:lnTo>
                        <a:pt x="396" y="936"/>
                      </a:lnTo>
                      <a:lnTo>
                        <a:pt x="402" y="960"/>
                      </a:lnTo>
                      <a:lnTo>
                        <a:pt x="402" y="978"/>
                      </a:lnTo>
                      <a:lnTo>
                        <a:pt x="402" y="1038"/>
                      </a:lnTo>
                      <a:lnTo>
                        <a:pt x="396" y="1098"/>
                      </a:lnTo>
                      <a:lnTo>
                        <a:pt x="390" y="1164"/>
                      </a:lnTo>
                      <a:lnTo>
                        <a:pt x="384" y="1212"/>
                      </a:lnTo>
                      <a:lnTo>
                        <a:pt x="378" y="1248"/>
                      </a:lnTo>
                      <a:lnTo>
                        <a:pt x="372" y="1284"/>
                      </a:lnTo>
                      <a:lnTo>
                        <a:pt x="366" y="1314"/>
                      </a:lnTo>
                      <a:lnTo>
                        <a:pt x="372" y="1356"/>
                      </a:lnTo>
                      <a:lnTo>
                        <a:pt x="378" y="1392"/>
                      </a:lnTo>
                      <a:lnTo>
                        <a:pt x="390" y="1410"/>
                      </a:lnTo>
                      <a:lnTo>
                        <a:pt x="402" y="1416"/>
                      </a:lnTo>
                      <a:lnTo>
                        <a:pt x="408" y="1428"/>
                      </a:lnTo>
                      <a:lnTo>
                        <a:pt x="408" y="1434"/>
                      </a:lnTo>
                      <a:lnTo>
                        <a:pt x="420" y="1446"/>
                      </a:lnTo>
                      <a:lnTo>
                        <a:pt x="432" y="1458"/>
                      </a:lnTo>
                      <a:lnTo>
                        <a:pt x="456" y="1488"/>
                      </a:lnTo>
                      <a:lnTo>
                        <a:pt x="456" y="1524"/>
                      </a:lnTo>
                      <a:lnTo>
                        <a:pt x="468" y="1566"/>
                      </a:lnTo>
                      <a:lnTo>
                        <a:pt x="474" y="1578"/>
                      </a:lnTo>
                      <a:lnTo>
                        <a:pt x="468" y="1584"/>
                      </a:lnTo>
                      <a:lnTo>
                        <a:pt x="468" y="1596"/>
                      </a:lnTo>
                      <a:lnTo>
                        <a:pt x="462" y="1596"/>
                      </a:lnTo>
                      <a:lnTo>
                        <a:pt x="450" y="1602"/>
                      </a:lnTo>
                      <a:lnTo>
                        <a:pt x="444" y="1602"/>
                      </a:lnTo>
                      <a:lnTo>
                        <a:pt x="438" y="1608"/>
                      </a:lnTo>
                      <a:lnTo>
                        <a:pt x="432" y="1614"/>
                      </a:lnTo>
                      <a:lnTo>
                        <a:pt x="432" y="1620"/>
                      </a:lnTo>
                      <a:lnTo>
                        <a:pt x="432" y="1638"/>
                      </a:lnTo>
                      <a:lnTo>
                        <a:pt x="438" y="1644"/>
                      </a:lnTo>
                      <a:lnTo>
                        <a:pt x="450" y="1656"/>
                      </a:lnTo>
                      <a:lnTo>
                        <a:pt x="456" y="1656"/>
                      </a:lnTo>
                      <a:lnTo>
                        <a:pt x="468" y="1662"/>
                      </a:lnTo>
                      <a:lnTo>
                        <a:pt x="474" y="1656"/>
                      </a:lnTo>
                      <a:lnTo>
                        <a:pt x="480" y="1650"/>
                      </a:lnTo>
                      <a:lnTo>
                        <a:pt x="480" y="1638"/>
                      </a:lnTo>
                      <a:lnTo>
                        <a:pt x="486" y="1638"/>
                      </a:lnTo>
                      <a:lnTo>
                        <a:pt x="492" y="1638"/>
                      </a:lnTo>
                      <a:lnTo>
                        <a:pt x="504" y="1644"/>
                      </a:lnTo>
                      <a:lnTo>
                        <a:pt x="516" y="1662"/>
                      </a:lnTo>
                      <a:lnTo>
                        <a:pt x="528" y="1674"/>
                      </a:lnTo>
                      <a:lnTo>
                        <a:pt x="546" y="1692"/>
                      </a:lnTo>
                      <a:lnTo>
                        <a:pt x="558" y="1698"/>
                      </a:lnTo>
                      <a:lnTo>
                        <a:pt x="570" y="1704"/>
                      </a:lnTo>
                      <a:lnTo>
                        <a:pt x="582" y="1710"/>
                      </a:lnTo>
                      <a:lnTo>
                        <a:pt x="594" y="1710"/>
                      </a:lnTo>
                      <a:lnTo>
                        <a:pt x="612" y="1716"/>
                      </a:lnTo>
                      <a:lnTo>
                        <a:pt x="624" y="1722"/>
                      </a:lnTo>
                      <a:lnTo>
                        <a:pt x="636" y="1728"/>
                      </a:lnTo>
                      <a:lnTo>
                        <a:pt x="642" y="1740"/>
                      </a:lnTo>
                      <a:lnTo>
                        <a:pt x="648" y="1752"/>
                      </a:lnTo>
                      <a:lnTo>
                        <a:pt x="648" y="1764"/>
                      </a:lnTo>
                      <a:lnTo>
                        <a:pt x="648" y="1776"/>
                      </a:lnTo>
                      <a:lnTo>
                        <a:pt x="648" y="1788"/>
                      </a:lnTo>
                      <a:lnTo>
                        <a:pt x="654" y="1800"/>
                      </a:lnTo>
                      <a:lnTo>
                        <a:pt x="660" y="1818"/>
                      </a:lnTo>
                      <a:lnTo>
                        <a:pt x="672" y="1836"/>
                      </a:lnTo>
                      <a:lnTo>
                        <a:pt x="690" y="1854"/>
                      </a:lnTo>
                      <a:lnTo>
                        <a:pt x="708" y="1878"/>
                      </a:lnTo>
                      <a:lnTo>
                        <a:pt x="642" y="1872"/>
                      </a:lnTo>
                      <a:lnTo>
                        <a:pt x="582" y="1884"/>
                      </a:lnTo>
                      <a:lnTo>
                        <a:pt x="558" y="1812"/>
                      </a:lnTo>
                      <a:lnTo>
                        <a:pt x="504" y="1764"/>
                      </a:lnTo>
                      <a:lnTo>
                        <a:pt x="432" y="1764"/>
                      </a:lnTo>
                      <a:lnTo>
                        <a:pt x="402" y="1716"/>
                      </a:lnTo>
                      <a:lnTo>
                        <a:pt x="372" y="1662"/>
                      </a:lnTo>
                      <a:lnTo>
                        <a:pt x="360" y="1650"/>
                      </a:lnTo>
                      <a:lnTo>
                        <a:pt x="348" y="1638"/>
                      </a:lnTo>
                      <a:lnTo>
                        <a:pt x="342" y="1626"/>
                      </a:lnTo>
                      <a:lnTo>
                        <a:pt x="330" y="1620"/>
                      </a:lnTo>
                      <a:lnTo>
                        <a:pt x="324" y="1608"/>
                      </a:lnTo>
                      <a:lnTo>
                        <a:pt x="318" y="1584"/>
                      </a:lnTo>
                      <a:lnTo>
                        <a:pt x="312" y="1572"/>
                      </a:lnTo>
                      <a:lnTo>
                        <a:pt x="306" y="1560"/>
                      </a:lnTo>
                      <a:lnTo>
                        <a:pt x="300" y="1548"/>
                      </a:lnTo>
                      <a:lnTo>
                        <a:pt x="294" y="1548"/>
                      </a:lnTo>
                      <a:lnTo>
                        <a:pt x="288" y="1548"/>
                      </a:lnTo>
                      <a:lnTo>
                        <a:pt x="282" y="1554"/>
                      </a:lnTo>
                      <a:lnTo>
                        <a:pt x="282" y="1572"/>
                      </a:lnTo>
                      <a:lnTo>
                        <a:pt x="276" y="1590"/>
                      </a:lnTo>
                      <a:lnTo>
                        <a:pt x="276" y="1614"/>
                      </a:lnTo>
                      <a:lnTo>
                        <a:pt x="270" y="1626"/>
                      </a:lnTo>
                      <a:lnTo>
                        <a:pt x="264" y="1632"/>
                      </a:lnTo>
                      <a:lnTo>
                        <a:pt x="258" y="1638"/>
                      </a:lnTo>
                      <a:lnTo>
                        <a:pt x="252" y="1632"/>
                      </a:lnTo>
                      <a:lnTo>
                        <a:pt x="246" y="1620"/>
                      </a:lnTo>
                      <a:lnTo>
                        <a:pt x="240" y="1602"/>
                      </a:lnTo>
                      <a:lnTo>
                        <a:pt x="240" y="1578"/>
                      </a:lnTo>
                      <a:lnTo>
                        <a:pt x="234" y="1530"/>
                      </a:lnTo>
                      <a:lnTo>
                        <a:pt x="234" y="1488"/>
                      </a:lnTo>
                      <a:lnTo>
                        <a:pt x="246" y="1446"/>
                      </a:lnTo>
                      <a:lnTo>
                        <a:pt x="252" y="1428"/>
                      </a:lnTo>
                      <a:lnTo>
                        <a:pt x="258" y="1410"/>
                      </a:lnTo>
                      <a:lnTo>
                        <a:pt x="264" y="1398"/>
                      </a:lnTo>
                      <a:lnTo>
                        <a:pt x="276" y="1392"/>
                      </a:lnTo>
                      <a:lnTo>
                        <a:pt x="276" y="1386"/>
                      </a:lnTo>
                      <a:lnTo>
                        <a:pt x="276" y="1374"/>
                      </a:lnTo>
                      <a:lnTo>
                        <a:pt x="276" y="1368"/>
                      </a:lnTo>
                      <a:lnTo>
                        <a:pt x="276" y="1368"/>
                      </a:lnTo>
                      <a:lnTo>
                        <a:pt x="270" y="1362"/>
                      </a:lnTo>
                      <a:lnTo>
                        <a:pt x="270" y="1362"/>
                      </a:lnTo>
                      <a:lnTo>
                        <a:pt x="306" y="1302"/>
                      </a:lnTo>
                      <a:lnTo>
                        <a:pt x="342" y="1170"/>
                      </a:lnTo>
                      <a:lnTo>
                        <a:pt x="342" y="1068"/>
                      </a:lnTo>
                      <a:lnTo>
                        <a:pt x="300" y="1008"/>
                      </a:lnTo>
                      <a:lnTo>
                        <a:pt x="306" y="924"/>
                      </a:lnTo>
                      <a:lnTo>
                        <a:pt x="258" y="852"/>
                      </a:lnTo>
                      <a:lnTo>
                        <a:pt x="210" y="828"/>
                      </a:lnTo>
                      <a:lnTo>
                        <a:pt x="210" y="786"/>
                      </a:lnTo>
                      <a:lnTo>
                        <a:pt x="174" y="738"/>
                      </a:lnTo>
                      <a:lnTo>
                        <a:pt x="186" y="636"/>
                      </a:lnTo>
                      <a:lnTo>
                        <a:pt x="228" y="546"/>
                      </a:lnTo>
                      <a:lnTo>
                        <a:pt x="228" y="498"/>
                      </a:lnTo>
                      <a:lnTo>
                        <a:pt x="156" y="438"/>
                      </a:lnTo>
                      <a:lnTo>
                        <a:pt x="144" y="390"/>
                      </a:lnTo>
                      <a:lnTo>
                        <a:pt x="84" y="342"/>
                      </a:lnTo>
                      <a:lnTo>
                        <a:pt x="30" y="288"/>
                      </a:lnTo>
                      <a:lnTo>
                        <a:pt x="0" y="240"/>
                      </a:lnTo>
                      <a:lnTo>
                        <a:pt x="0" y="156"/>
                      </a:lnTo>
                      <a:lnTo>
                        <a:pt x="12" y="108"/>
                      </a:lnTo>
                      <a:lnTo>
                        <a:pt x="72" y="90"/>
                      </a:lnTo>
                      <a:lnTo>
                        <a:pt x="156" y="90"/>
                      </a:lnTo>
                      <a:lnTo>
                        <a:pt x="198" y="4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59" name="Freeform 120">
                  <a:extLst>
                    <a:ext uri="{FF2B5EF4-FFF2-40B4-BE49-F238E27FC236}">
                      <a16:creationId xmlns:a16="http://schemas.microsoft.com/office/drawing/2014/main" id="{7A14C8C7-E0C8-41E7-9BCE-FDEB3E7BA8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53" y="426"/>
                  <a:ext cx="924" cy="1950"/>
                </a:xfrm>
                <a:custGeom>
                  <a:avLst/>
                  <a:gdLst>
                    <a:gd name="T0" fmla="*/ 564 w 924"/>
                    <a:gd name="T1" fmla="*/ 240 h 1950"/>
                    <a:gd name="T2" fmla="*/ 276 w 924"/>
                    <a:gd name="T3" fmla="*/ 0 h 1950"/>
                    <a:gd name="T4" fmla="*/ 468 w 924"/>
                    <a:gd name="T5" fmla="*/ 138 h 1950"/>
                    <a:gd name="T6" fmla="*/ 564 w 924"/>
                    <a:gd name="T7" fmla="*/ 240 h 1950"/>
                    <a:gd name="T8" fmla="*/ 552 w 924"/>
                    <a:gd name="T9" fmla="*/ 288 h 1950"/>
                    <a:gd name="T10" fmla="*/ 528 w 924"/>
                    <a:gd name="T11" fmla="*/ 330 h 1950"/>
                    <a:gd name="T12" fmla="*/ 492 w 924"/>
                    <a:gd name="T13" fmla="*/ 354 h 1950"/>
                    <a:gd name="T14" fmla="*/ 474 w 924"/>
                    <a:gd name="T15" fmla="*/ 384 h 1950"/>
                    <a:gd name="T16" fmla="*/ 426 w 924"/>
                    <a:gd name="T17" fmla="*/ 408 h 1950"/>
                    <a:gd name="T18" fmla="*/ 414 w 924"/>
                    <a:gd name="T19" fmla="*/ 432 h 1950"/>
                    <a:gd name="T20" fmla="*/ 414 w 924"/>
                    <a:gd name="T21" fmla="*/ 498 h 1950"/>
                    <a:gd name="T22" fmla="*/ 432 w 924"/>
                    <a:gd name="T23" fmla="*/ 606 h 1950"/>
                    <a:gd name="T24" fmla="*/ 564 w 924"/>
                    <a:gd name="T25" fmla="*/ 762 h 1950"/>
                    <a:gd name="T26" fmla="*/ 600 w 924"/>
                    <a:gd name="T27" fmla="*/ 852 h 1950"/>
                    <a:gd name="T28" fmla="*/ 720 w 924"/>
                    <a:gd name="T29" fmla="*/ 948 h 1950"/>
                    <a:gd name="T30" fmla="*/ 858 w 924"/>
                    <a:gd name="T31" fmla="*/ 1050 h 1950"/>
                    <a:gd name="T32" fmla="*/ 876 w 924"/>
                    <a:gd name="T33" fmla="*/ 1140 h 1950"/>
                    <a:gd name="T34" fmla="*/ 900 w 924"/>
                    <a:gd name="T35" fmla="*/ 1188 h 1950"/>
                    <a:gd name="T36" fmla="*/ 912 w 924"/>
                    <a:gd name="T37" fmla="*/ 1230 h 1950"/>
                    <a:gd name="T38" fmla="*/ 924 w 924"/>
                    <a:gd name="T39" fmla="*/ 1284 h 1950"/>
                    <a:gd name="T40" fmla="*/ 918 w 924"/>
                    <a:gd name="T41" fmla="*/ 1320 h 1950"/>
                    <a:gd name="T42" fmla="*/ 924 w 924"/>
                    <a:gd name="T43" fmla="*/ 1440 h 1950"/>
                    <a:gd name="T44" fmla="*/ 894 w 924"/>
                    <a:gd name="T45" fmla="*/ 1602 h 1950"/>
                    <a:gd name="T46" fmla="*/ 792 w 924"/>
                    <a:gd name="T47" fmla="*/ 1704 h 1950"/>
                    <a:gd name="T48" fmla="*/ 720 w 924"/>
                    <a:gd name="T49" fmla="*/ 1716 h 1950"/>
                    <a:gd name="T50" fmla="*/ 684 w 924"/>
                    <a:gd name="T51" fmla="*/ 1722 h 1950"/>
                    <a:gd name="T52" fmla="*/ 660 w 924"/>
                    <a:gd name="T53" fmla="*/ 1746 h 1950"/>
                    <a:gd name="T54" fmla="*/ 672 w 924"/>
                    <a:gd name="T55" fmla="*/ 1770 h 1950"/>
                    <a:gd name="T56" fmla="*/ 654 w 924"/>
                    <a:gd name="T57" fmla="*/ 1806 h 1950"/>
                    <a:gd name="T58" fmla="*/ 618 w 924"/>
                    <a:gd name="T59" fmla="*/ 1818 h 1950"/>
                    <a:gd name="T60" fmla="*/ 600 w 924"/>
                    <a:gd name="T61" fmla="*/ 1842 h 1950"/>
                    <a:gd name="T62" fmla="*/ 588 w 924"/>
                    <a:gd name="T63" fmla="*/ 1860 h 1950"/>
                    <a:gd name="T64" fmla="*/ 552 w 924"/>
                    <a:gd name="T65" fmla="*/ 1878 h 1950"/>
                    <a:gd name="T66" fmla="*/ 504 w 924"/>
                    <a:gd name="T67" fmla="*/ 1932 h 1950"/>
                    <a:gd name="T68" fmla="*/ 462 w 924"/>
                    <a:gd name="T69" fmla="*/ 1944 h 1950"/>
                    <a:gd name="T70" fmla="*/ 438 w 924"/>
                    <a:gd name="T71" fmla="*/ 1908 h 1950"/>
                    <a:gd name="T72" fmla="*/ 420 w 924"/>
                    <a:gd name="T73" fmla="*/ 1812 h 1950"/>
                    <a:gd name="T74" fmla="*/ 420 w 924"/>
                    <a:gd name="T75" fmla="*/ 1758 h 1950"/>
                    <a:gd name="T76" fmla="*/ 390 w 924"/>
                    <a:gd name="T77" fmla="*/ 1704 h 1950"/>
                    <a:gd name="T78" fmla="*/ 420 w 924"/>
                    <a:gd name="T79" fmla="*/ 1668 h 1950"/>
                    <a:gd name="T80" fmla="*/ 558 w 924"/>
                    <a:gd name="T81" fmla="*/ 1668 h 1950"/>
                    <a:gd name="T82" fmla="*/ 540 w 924"/>
                    <a:gd name="T83" fmla="*/ 1548 h 1950"/>
                    <a:gd name="T84" fmla="*/ 696 w 924"/>
                    <a:gd name="T85" fmla="*/ 1482 h 1950"/>
                    <a:gd name="T86" fmla="*/ 696 w 924"/>
                    <a:gd name="T87" fmla="*/ 1272 h 1950"/>
                    <a:gd name="T88" fmla="*/ 666 w 924"/>
                    <a:gd name="T89" fmla="*/ 1146 h 1950"/>
                    <a:gd name="T90" fmla="*/ 654 w 924"/>
                    <a:gd name="T91" fmla="*/ 1044 h 1950"/>
                    <a:gd name="T92" fmla="*/ 528 w 924"/>
                    <a:gd name="T93" fmla="*/ 894 h 1950"/>
                    <a:gd name="T94" fmla="*/ 438 w 924"/>
                    <a:gd name="T95" fmla="*/ 732 h 1950"/>
                    <a:gd name="T96" fmla="*/ 312 w 924"/>
                    <a:gd name="T97" fmla="*/ 600 h 1950"/>
                    <a:gd name="T98" fmla="*/ 252 w 924"/>
                    <a:gd name="T99" fmla="*/ 492 h 1950"/>
                    <a:gd name="T100" fmla="*/ 180 w 924"/>
                    <a:gd name="T101" fmla="*/ 336 h 1950"/>
                    <a:gd name="T102" fmla="*/ 66 w 924"/>
                    <a:gd name="T103" fmla="*/ 282 h 1950"/>
                    <a:gd name="T104" fmla="*/ 0 w 924"/>
                    <a:gd name="T105" fmla="*/ 132 h 1950"/>
                    <a:gd name="T106" fmla="*/ 114 w 924"/>
                    <a:gd name="T107" fmla="*/ 108 h 19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24" h="1950">
                      <a:moveTo>
                        <a:pt x="564" y="240"/>
                      </a:moveTo>
                      <a:lnTo>
                        <a:pt x="570" y="240"/>
                      </a:lnTo>
                      <a:lnTo>
                        <a:pt x="564" y="240"/>
                      </a:lnTo>
                      <a:lnTo>
                        <a:pt x="564" y="240"/>
                      </a:lnTo>
                      <a:close/>
                      <a:moveTo>
                        <a:pt x="204" y="0"/>
                      </a:moveTo>
                      <a:lnTo>
                        <a:pt x="276" y="0"/>
                      </a:lnTo>
                      <a:lnTo>
                        <a:pt x="354" y="24"/>
                      </a:lnTo>
                      <a:lnTo>
                        <a:pt x="396" y="84"/>
                      </a:lnTo>
                      <a:lnTo>
                        <a:pt x="468" y="138"/>
                      </a:lnTo>
                      <a:lnTo>
                        <a:pt x="486" y="210"/>
                      </a:lnTo>
                      <a:lnTo>
                        <a:pt x="528" y="216"/>
                      </a:lnTo>
                      <a:lnTo>
                        <a:pt x="564" y="240"/>
                      </a:lnTo>
                      <a:lnTo>
                        <a:pt x="558" y="258"/>
                      </a:lnTo>
                      <a:lnTo>
                        <a:pt x="552" y="270"/>
                      </a:lnTo>
                      <a:lnTo>
                        <a:pt x="552" y="288"/>
                      </a:lnTo>
                      <a:lnTo>
                        <a:pt x="546" y="306"/>
                      </a:lnTo>
                      <a:lnTo>
                        <a:pt x="534" y="324"/>
                      </a:lnTo>
                      <a:lnTo>
                        <a:pt x="528" y="330"/>
                      </a:lnTo>
                      <a:lnTo>
                        <a:pt x="510" y="342"/>
                      </a:lnTo>
                      <a:lnTo>
                        <a:pt x="504" y="348"/>
                      </a:lnTo>
                      <a:lnTo>
                        <a:pt x="492" y="354"/>
                      </a:lnTo>
                      <a:lnTo>
                        <a:pt x="492" y="360"/>
                      </a:lnTo>
                      <a:lnTo>
                        <a:pt x="486" y="378"/>
                      </a:lnTo>
                      <a:lnTo>
                        <a:pt x="474" y="384"/>
                      </a:lnTo>
                      <a:lnTo>
                        <a:pt x="456" y="396"/>
                      </a:lnTo>
                      <a:lnTo>
                        <a:pt x="444" y="402"/>
                      </a:lnTo>
                      <a:lnTo>
                        <a:pt x="426" y="408"/>
                      </a:lnTo>
                      <a:lnTo>
                        <a:pt x="420" y="414"/>
                      </a:lnTo>
                      <a:lnTo>
                        <a:pt x="414" y="420"/>
                      </a:lnTo>
                      <a:lnTo>
                        <a:pt x="414" y="432"/>
                      </a:lnTo>
                      <a:lnTo>
                        <a:pt x="414" y="450"/>
                      </a:lnTo>
                      <a:lnTo>
                        <a:pt x="414" y="474"/>
                      </a:lnTo>
                      <a:lnTo>
                        <a:pt x="414" y="498"/>
                      </a:lnTo>
                      <a:lnTo>
                        <a:pt x="414" y="534"/>
                      </a:lnTo>
                      <a:lnTo>
                        <a:pt x="414" y="570"/>
                      </a:lnTo>
                      <a:lnTo>
                        <a:pt x="432" y="606"/>
                      </a:lnTo>
                      <a:lnTo>
                        <a:pt x="468" y="648"/>
                      </a:lnTo>
                      <a:lnTo>
                        <a:pt x="522" y="708"/>
                      </a:lnTo>
                      <a:lnTo>
                        <a:pt x="564" y="762"/>
                      </a:lnTo>
                      <a:lnTo>
                        <a:pt x="582" y="804"/>
                      </a:lnTo>
                      <a:lnTo>
                        <a:pt x="588" y="834"/>
                      </a:lnTo>
                      <a:lnTo>
                        <a:pt x="600" y="852"/>
                      </a:lnTo>
                      <a:lnTo>
                        <a:pt x="630" y="876"/>
                      </a:lnTo>
                      <a:lnTo>
                        <a:pt x="672" y="906"/>
                      </a:lnTo>
                      <a:lnTo>
                        <a:pt x="720" y="948"/>
                      </a:lnTo>
                      <a:lnTo>
                        <a:pt x="768" y="984"/>
                      </a:lnTo>
                      <a:lnTo>
                        <a:pt x="828" y="1014"/>
                      </a:lnTo>
                      <a:lnTo>
                        <a:pt x="858" y="1050"/>
                      </a:lnTo>
                      <a:lnTo>
                        <a:pt x="864" y="1080"/>
                      </a:lnTo>
                      <a:lnTo>
                        <a:pt x="870" y="1110"/>
                      </a:lnTo>
                      <a:lnTo>
                        <a:pt x="876" y="1140"/>
                      </a:lnTo>
                      <a:lnTo>
                        <a:pt x="888" y="1158"/>
                      </a:lnTo>
                      <a:lnTo>
                        <a:pt x="894" y="1176"/>
                      </a:lnTo>
                      <a:lnTo>
                        <a:pt x="900" y="1188"/>
                      </a:lnTo>
                      <a:lnTo>
                        <a:pt x="906" y="1200"/>
                      </a:lnTo>
                      <a:lnTo>
                        <a:pt x="906" y="1212"/>
                      </a:lnTo>
                      <a:lnTo>
                        <a:pt x="912" y="1230"/>
                      </a:lnTo>
                      <a:lnTo>
                        <a:pt x="912" y="1248"/>
                      </a:lnTo>
                      <a:lnTo>
                        <a:pt x="918" y="1266"/>
                      </a:lnTo>
                      <a:lnTo>
                        <a:pt x="924" y="1284"/>
                      </a:lnTo>
                      <a:lnTo>
                        <a:pt x="924" y="1296"/>
                      </a:lnTo>
                      <a:lnTo>
                        <a:pt x="924" y="1308"/>
                      </a:lnTo>
                      <a:lnTo>
                        <a:pt x="918" y="1320"/>
                      </a:lnTo>
                      <a:lnTo>
                        <a:pt x="906" y="1344"/>
                      </a:lnTo>
                      <a:lnTo>
                        <a:pt x="912" y="1386"/>
                      </a:lnTo>
                      <a:lnTo>
                        <a:pt x="924" y="1440"/>
                      </a:lnTo>
                      <a:lnTo>
                        <a:pt x="924" y="1500"/>
                      </a:lnTo>
                      <a:lnTo>
                        <a:pt x="912" y="1554"/>
                      </a:lnTo>
                      <a:lnTo>
                        <a:pt x="894" y="1602"/>
                      </a:lnTo>
                      <a:lnTo>
                        <a:pt x="864" y="1644"/>
                      </a:lnTo>
                      <a:lnTo>
                        <a:pt x="822" y="1680"/>
                      </a:lnTo>
                      <a:lnTo>
                        <a:pt x="792" y="1704"/>
                      </a:lnTo>
                      <a:lnTo>
                        <a:pt x="768" y="1710"/>
                      </a:lnTo>
                      <a:lnTo>
                        <a:pt x="744" y="1716"/>
                      </a:lnTo>
                      <a:lnTo>
                        <a:pt x="720" y="1716"/>
                      </a:lnTo>
                      <a:lnTo>
                        <a:pt x="702" y="1716"/>
                      </a:lnTo>
                      <a:lnTo>
                        <a:pt x="696" y="1722"/>
                      </a:lnTo>
                      <a:lnTo>
                        <a:pt x="684" y="1722"/>
                      </a:lnTo>
                      <a:lnTo>
                        <a:pt x="672" y="1728"/>
                      </a:lnTo>
                      <a:lnTo>
                        <a:pt x="666" y="1734"/>
                      </a:lnTo>
                      <a:lnTo>
                        <a:pt x="660" y="1746"/>
                      </a:lnTo>
                      <a:lnTo>
                        <a:pt x="666" y="1752"/>
                      </a:lnTo>
                      <a:lnTo>
                        <a:pt x="666" y="1758"/>
                      </a:lnTo>
                      <a:lnTo>
                        <a:pt x="672" y="1770"/>
                      </a:lnTo>
                      <a:lnTo>
                        <a:pt x="666" y="1782"/>
                      </a:lnTo>
                      <a:lnTo>
                        <a:pt x="666" y="1794"/>
                      </a:lnTo>
                      <a:lnTo>
                        <a:pt x="654" y="1806"/>
                      </a:lnTo>
                      <a:lnTo>
                        <a:pt x="648" y="1818"/>
                      </a:lnTo>
                      <a:lnTo>
                        <a:pt x="630" y="1818"/>
                      </a:lnTo>
                      <a:lnTo>
                        <a:pt x="618" y="1818"/>
                      </a:lnTo>
                      <a:lnTo>
                        <a:pt x="612" y="1824"/>
                      </a:lnTo>
                      <a:lnTo>
                        <a:pt x="606" y="1830"/>
                      </a:lnTo>
                      <a:lnTo>
                        <a:pt x="600" y="1842"/>
                      </a:lnTo>
                      <a:lnTo>
                        <a:pt x="600" y="1848"/>
                      </a:lnTo>
                      <a:lnTo>
                        <a:pt x="594" y="1854"/>
                      </a:lnTo>
                      <a:lnTo>
                        <a:pt x="588" y="1860"/>
                      </a:lnTo>
                      <a:lnTo>
                        <a:pt x="582" y="1866"/>
                      </a:lnTo>
                      <a:lnTo>
                        <a:pt x="570" y="1872"/>
                      </a:lnTo>
                      <a:lnTo>
                        <a:pt x="552" y="1878"/>
                      </a:lnTo>
                      <a:lnTo>
                        <a:pt x="540" y="1890"/>
                      </a:lnTo>
                      <a:lnTo>
                        <a:pt x="522" y="1908"/>
                      </a:lnTo>
                      <a:lnTo>
                        <a:pt x="504" y="1932"/>
                      </a:lnTo>
                      <a:lnTo>
                        <a:pt x="492" y="1944"/>
                      </a:lnTo>
                      <a:lnTo>
                        <a:pt x="474" y="1950"/>
                      </a:lnTo>
                      <a:lnTo>
                        <a:pt x="462" y="1944"/>
                      </a:lnTo>
                      <a:lnTo>
                        <a:pt x="450" y="1938"/>
                      </a:lnTo>
                      <a:lnTo>
                        <a:pt x="444" y="1926"/>
                      </a:lnTo>
                      <a:lnTo>
                        <a:pt x="438" y="1908"/>
                      </a:lnTo>
                      <a:lnTo>
                        <a:pt x="438" y="1890"/>
                      </a:lnTo>
                      <a:lnTo>
                        <a:pt x="432" y="1848"/>
                      </a:lnTo>
                      <a:lnTo>
                        <a:pt x="420" y="1812"/>
                      </a:lnTo>
                      <a:lnTo>
                        <a:pt x="420" y="1788"/>
                      </a:lnTo>
                      <a:lnTo>
                        <a:pt x="426" y="1770"/>
                      </a:lnTo>
                      <a:lnTo>
                        <a:pt x="420" y="1758"/>
                      </a:lnTo>
                      <a:lnTo>
                        <a:pt x="414" y="1740"/>
                      </a:lnTo>
                      <a:lnTo>
                        <a:pt x="402" y="1722"/>
                      </a:lnTo>
                      <a:lnTo>
                        <a:pt x="390" y="1704"/>
                      </a:lnTo>
                      <a:lnTo>
                        <a:pt x="384" y="1692"/>
                      </a:lnTo>
                      <a:lnTo>
                        <a:pt x="378" y="1692"/>
                      </a:lnTo>
                      <a:lnTo>
                        <a:pt x="420" y="1668"/>
                      </a:lnTo>
                      <a:lnTo>
                        <a:pt x="456" y="1650"/>
                      </a:lnTo>
                      <a:lnTo>
                        <a:pt x="498" y="1668"/>
                      </a:lnTo>
                      <a:lnTo>
                        <a:pt x="558" y="1668"/>
                      </a:lnTo>
                      <a:lnTo>
                        <a:pt x="582" y="1620"/>
                      </a:lnTo>
                      <a:lnTo>
                        <a:pt x="564" y="1584"/>
                      </a:lnTo>
                      <a:lnTo>
                        <a:pt x="540" y="1548"/>
                      </a:lnTo>
                      <a:lnTo>
                        <a:pt x="570" y="1494"/>
                      </a:lnTo>
                      <a:lnTo>
                        <a:pt x="624" y="1482"/>
                      </a:lnTo>
                      <a:lnTo>
                        <a:pt x="696" y="1482"/>
                      </a:lnTo>
                      <a:lnTo>
                        <a:pt x="708" y="1422"/>
                      </a:lnTo>
                      <a:lnTo>
                        <a:pt x="708" y="1332"/>
                      </a:lnTo>
                      <a:lnTo>
                        <a:pt x="696" y="1272"/>
                      </a:lnTo>
                      <a:lnTo>
                        <a:pt x="666" y="1224"/>
                      </a:lnTo>
                      <a:lnTo>
                        <a:pt x="672" y="1182"/>
                      </a:lnTo>
                      <a:lnTo>
                        <a:pt x="666" y="1146"/>
                      </a:lnTo>
                      <a:lnTo>
                        <a:pt x="666" y="1146"/>
                      </a:lnTo>
                      <a:lnTo>
                        <a:pt x="678" y="1086"/>
                      </a:lnTo>
                      <a:lnTo>
                        <a:pt x="654" y="1044"/>
                      </a:lnTo>
                      <a:lnTo>
                        <a:pt x="630" y="978"/>
                      </a:lnTo>
                      <a:lnTo>
                        <a:pt x="582" y="936"/>
                      </a:lnTo>
                      <a:lnTo>
                        <a:pt x="528" y="894"/>
                      </a:lnTo>
                      <a:lnTo>
                        <a:pt x="492" y="828"/>
                      </a:lnTo>
                      <a:lnTo>
                        <a:pt x="468" y="780"/>
                      </a:lnTo>
                      <a:lnTo>
                        <a:pt x="438" y="732"/>
                      </a:lnTo>
                      <a:lnTo>
                        <a:pt x="390" y="696"/>
                      </a:lnTo>
                      <a:lnTo>
                        <a:pt x="342" y="648"/>
                      </a:lnTo>
                      <a:lnTo>
                        <a:pt x="312" y="600"/>
                      </a:lnTo>
                      <a:lnTo>
                        <a:pt x="258" y="570"/>
                      </a:lnTo>
                      <a:lnTo>
                        <a:pt x="228" y="534"/>
                      </a:lnTo>
                      <a:lnTo>
                        <a:pt x="252" y="492"/>
                      </a:lnTo>
                      <a:lnTo>
                        <a:pt x="294" y="426"/>
                      </a:lnTo>
                      <a:lnTo>
                        <a:pt x="252" y="390"/>
                      </a:lnTo>
                      <a:lnTo>
                        <a:pt x="180" y="336"/>
                      </a:lnTo>
                      <a:lnTo>
                        <a:pt x="132" y="348"/>
                      </a:lnTo>
                      <a:lnTo>
                        <a:pt x="78" y="324"/>
                      </a:lnTo>
                      <a:lnTo>
                        <a:pt x="66" y="282"/>
                      </a:lnTo>
                      <a:lnTo>
                        <a:pt x="60" y="216"/>
                      </a:lnTo>
                      <a:lnTo>
                        <a:pt x="30" y="186"/>
                      </a:lnTo>
                      <a:lnTo>
                        <a:pt x="0" y="132"/>
                      </a:lnTo>
                      <a:lnTo>
                        <a:pt x="30" y="96"/>
                      </a:lnTo>
                      <a:lnTo>
                        <a:pt x="84" y="114"/>
                      </a:lnTo>
                      <a:lnTo>
                        <a:pt x="114" y="108"/>
                      </a:lnTo>
                      <a:lnTo>
                        <a:pt x="186" y="114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0" name="Freeform 121">
                  <a:extLst>
                    <a:ext uri="{FF2B5EF4-FFF2-40B4-BE49-F238E27FC236}">
                      <a16:creationId xmlns:a16="http://schemas.microsoft.com/office/drawing/2014/main" id="{708C721B-F59B-4238-940F-E04FA2F061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69" y="2616"/>
                  <a:ext cx="510" cy="762"/>
                </a:xfrm>
                <a:custGeom>
                  <a:avLst/>
                  <a:gdLst>
                    <a:gd name="T0" fmla="*/ 0 w 510"/>
                    <a:gd name="T1" fmla="*/ 0 h 762"/>
                    <a:gd name="T2" fmla="*/ 72 w 510"/>
                    <a:gd name="T3" fmla="*/ 0 h 762"/>
                    <a:gd name="T4" fmla="*/ 126 w 510"/>
                    <a:gd name="T5" fmla="*/ 48 h 762"/>
                    <a:gd name="T6" fmla="*/ 150 w 510"/>
                    <a:gd name="T7" fmla="*/ 120 h 762"/>
                    <a:gd name="T8" fmla="*/ 210 w 510"/>
                    <a:gd name="T9" fmla="*/ 108 h 762"/>
                    <a:gd name="T10" fmla="*/ 276 w 510"/>
                    <a:gd name="T11" fmla="*/ 114 h 762"/>
                    <a:gd name="T12" fmla="*/ 276 w 510"/>
                    <a:gd name="T13" fmla="*/ 114 h 762"/>
                    <a:gd name="T14" fmla="*/ 294 w 510"/>
                    <a:gd name="T15" fmla="*/ 138 h 762"/>
                    <a:gd name="T16" fmla="*/ 312 w 510"/>
                    <a:gd name="T17" fmla="*/ 156 h 762"/>
                    <a:gd name="T18" fmla="*/ 330 w 510"/>
                    <a:gd name="T19" fmla="*/ 174 h 762"/>
                    <a:gd name="T20" fmla="*/ 348 w 510"/>
                    <a:gd name="T21" fmla="*/ 192 h 762"/>
                    <a:gd name="T22" fmla="*/ 384 w 510"/>
                    <a:gd name="T23" fmla="*/ 228 h 762"/>
                    <a:gd name="T24" fmla="*/ 408 w 510"/>
                    <a:gd name="T25" fmla="*/ 282 h 762"/>
                    <a:gd name="T26" fmla="*/ 420 w 510"/>
                    <a:gd name="T27" fmla="*/ 342 h 762"/>
                    <a:gd name="T28" fmla="*/ 420 w 510"/>
                    <a:gd name="T29" fmla="*/ 390 h 762"/>
                    <a:gd name="T30" fmla="*/ 414 w 510"/>
                    <a:gd name="T31" fmla="*/ 444 h 762"/>
                    <a:gd name="T32" fmla="*/ 414 w 510"/>
                    <a:gd name="T33" fmla="*/ 486 h 762"/>
                    <a:gd name="T34" fmla="*/ 432 w 510"/>
                    <a:gd name="T35" fmla="*/ 522 h 762"/>
                    <a:gd name="T36" fmla="*/ 450 w 510"/>
                    <a:gd name="T37" fmla="*/ 552 h 762"/>
                    <a:gd name="T38" fmla="*/ 462 w 510"/>
                    <a:gd name="T39" fmla="*/ 582 h 762"/>
                    <a:gd name="T40" fmla="*/ 474 w 510"/>
                    <a:gd name="T41" fmla="*/ 630 h 762"/>
                    <a:gd name="T42" fmla="*/ 498 w 510"/>
                    <a:gd name="T43" fmla="*/ 702 h 762"/>
                    <a:gd name="T44" fmla="*/ 504 w 510"/>
                    <a:gd name="T45" fmla="*/ 726 h 762"/>
                    <a:gd name="T46" fmla="*/ 510 w 510"/>
                    <a:gd name="T47" fmla="*/ 738 h 762"/>
                    <a:gd name="T48" fmla="*/ 510 w 510"/>
                    <a:gd name="T49" fmla="*/ 750 h 762"/>
                    <a:gd name="T50" fmla="*/ 504 w 510"/>
                    <a:gd name="T51" fmla="*/ 756 h 762"/>
                    <a:gd name="T52" fmla="*/ 498 w 510"/>
                    <a:gd name="T53" fmla="*/ 762 h 762"/>
                    <a:gd name="T54" fmla="*/ 492 w 510"/>
                    <a:gd name="T55" fmla="*/ 756 h 762"/>
                    <a:gd name="T56" fmla="*/ 480 w 510"/>
                    <a:gd name="T57" fmla="*/ 756 h 762"/>
                    <a:gd name="T58" fmla="*/ 468 w 510"/>
                    <a:gd name="T59" fmla="*/ 750 h 762"/>
                    <a:gd name="T60" fmla="*/ 456 w 510"/>
                    <a:gd name="T61" fmla="*/ 744 h 762"/>
                    <a:gd name="T62" fmla="*/ 450 w 510"/>
                    <a:gd name="T63" fmla="*/ 732 h 762"/>
                    <a:gd name="T64" fmla="*/ 438 w 510"/>
                    <a:gd name="T65" fmla="*/ 726 h 762"/>
                    <a:gd name="T66" fmla="*/ 432 w 510"/>
                    <a:gd name="T67" fmla="*/ 720 h 762"/>
                    <a:gd name="T68" fmla="*/ 426 w 510"/>
                    <a:gd name="T69" fmla="*/ 714 h 762"/>
                    <a:gd name="T70" fmla="*/ 390 w 510"/>
                    <a:gd name="T71" fmla="*/ 696 h 762"/>
                    <a:gd name="T72" fmla="*/ 348 w 510"/>
                    <a:gd name="T73" fmla="*/ 678 h 762"/>
                    <a:gd name="T74" fmla="*/ 324 w 510"/>
                    <a:gd name="T75" fmla="*/ 648 h 762"/>
                    <a:gd name="T76" fmla="*/ 294 w 510"/>
                    <a:gd name="T77" fmla="*/ 624 h 762"/>
                    <a:gd name="T78" fmla="*/ 252 w 510"/>
                    <a:gd name="T79" fmla="*/ 600 h 762"/>
                    <a:gd name="T80" fmla="*/ 198 w 510"/>
                    <a:gd name="T81" fmla="*/ 564 h 762"/>
                    <a:gd name="T82" fmla="*/ 168 w 510"/>
                    <a:gd name="T83" fmla="*/ 534 h 762"/>
                    <a:gd name="T84" fmla="*/ 162 w 510"/>
                    <a:gd name="T85" fmla="*/ 504 h 762"/>
                    <a:gd name="T86" fmla="*/ 156 w 510"/>
                    <a:gd name="T87" fmla="*/ 474 h 762"/>
                    <a:gd name="T88" fmla="*/ 150 w 510"/>
                    <a:gd name="T89" fmla="*/ 444 h 762"/>
                    <a:gd name="T90" fmla="*/ 126 w 510"/>
                    <a:gd name="T91" fmla="*/ 420 h 762"/>
                    <a:gd name="T92" fmla="*/ 114 w 510"/>
                    <a:gd name="T93" fmla="*/ 402 h 762"/>
                    <a:gd name="T94" fmla="*/ 108 w 510"/>
                    <a:gd name="T95" fmla="*/ 366 h 762"/>
                    <a:gd name="T96" fmla="*/ 108 w 510"/>
                    <a:gd name="T97" fmla="*/ 312 h 762"/>
                    <a:gd name="T98" fmla="*/ 108 w 510"/>
                    <a:gd name="T99" fmla="*/ 258 h 762"/>
                    <a:gd name="T100" fmla="*/ 96 w 510"/>
                    <a:gd name="T101" fmla="*/ 210 h 762"/>
                    <a:gd name="T102" fmla="*/ 78 w 510"/>
                    <a:gd name="T103" fmla="*/ 174 h 762"/>
                    <a:gd name="T104" fmla="*/ 72 w 510"/>
                    <a:gd name="T105" fmla="*/ 132 h 762"/>
                    <a:gd name="T106" fmla="*/ 60 w 510"/>
                    <a:gd name="T107" fmla="*/ 102 h 762"/>
                    <a:gd name="T108" fmla="*/ 42 w 510"/>
                    <a:gd name="T109" fmla="*/ 72 h 762"/>
                    <a:gd name="T110" fmla="*/ 18 w 510"/>
                    <a:gd name="T111" fmla="*/ 42 h 762"/>
                    <a:gd name="T112" fmla="*/ 6 w 510"/>
                    <a:gd name="T113" fmla="*/ 18 h 762"/>
                    <a:gd name="T114" fmla="*/ 0 w 510"/>
                    <a:gd name="T115" fmla="*/ 0 h 7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10" h="762">
                      <a:moveTo>
                        <a:pt x="0" y="0"/>
                      </a:moveTo>
                      <a:lnTo>
                        <a:pt x="72" y="0"/>
                      </a:lnTo>
                      <a:lnTo>
                        <a:pt x="126" y="48"/>
                      </a:lnTo>
                      <a:lnTo>
                        <a:pt x="150" y="120"/>
                      </a:lnTo>
                      <a:lnTo>
                        <a:pt x="210" y="108"/>
                      </a:lnTo>
                      <a:lnTo>
                        <a:pt x="276" y="114"/>
                      </a:lnTo>
                      <a:lnTo>
                        <a:pt x="276" y="114"/>
                      </a:lnTo>
                      <a:lnTo>
                        <a:pt x="294" y="138"/>
                      </a:lnTo>
                      <a:lnTo>
                        <a:pt x="312" y="156"/>
                      </a:lnTo>
                      <a:lnTo>
                        <a:pt x="330" y="174"/>
                      </a:lnTo>
                      <a:lnTo>
                        <a:pt x="348" y="192"/>
                      </a:lnTo>
                      <a:lnTo>
                        <a:pt x="384" y="228"/>
                      </a:lnTo>
                      <a:lnTo>
                        <a:pt x="408" y="282"/>
                      </a:lnTo>
                      <a:lnTo>
                        <a:pt x="420" y="342"/>
                      </a:lnTo>
                      <a:lnTo>
                        <a:pt x="420" y="390"/>
                      </a:lnTo>
                      <a:lnTo>
                        <a:pt x="414" y="444"/>
                      </a:lnTo>
                      <a:lnTo>
                        <a:pt x="414" y="486"/>
                      </a:lnTo>
                      <a:lnTo>
                        <a:pt x="432" y="522"/>
                      </a:lnTo>
                      <a:lnTo>
                        <a:pt x="450" y="552"/>
                      </a:lnTo>
                      <a:lnTo>
                        <a:pt x="462" y="582"/>
                      </a:lnTo>
                      <a:lnTo>
                        <a:pt x="474" y="630"/>
                      </a:lnTo>
                      <a:lnTo>
                        <a:pt x="498" y="702"/>
                      </a:lnTo>
                      <a:lnTo>
                        <a:pt x="504" y="726"/>
                      </a:lnTo>
                      <a:lnTo>
                        <a:pt x="510" y="738"/>
                      </a:lnTo>
                      <a:lnTo>
                        <a:pt x="510" y="750"/>
                      </a:lnTo>
                      <a:lnTo>
                        <a:pt x="504" y="756"/>
                      </a:lnTo>
                      <a:lnTo>
                        <a:pt x="498" y="762"/>
                      </a:lnTo>
                      <a:lnTo>
                        <a:pt x="492" y="756"/>
                      </a:lnTo>
                      <a:lnTo>
                        <a:pt x="480" y="756"/>
                      </a:lnTo>
                      <a:lnTo>
                        <a:pt x="468" y="750"/>
                      </a:lnTo>
                      <a:lnTo>
                        <a:pt x="456" y="744"/>
                      </a:lnTo>
                      <a:lnTo>
                        <a:pt x="450" y="732"/>
                      </a:lnTo>
                      <a:lnTo>
                        <a:pt x="438" y="726"/>
                      </a:lnTo>
                      <a:lnTo>
                        <a:pt x="432" y="720"/>
                      </a:lnTo>
                      <a:lnTo>
                        <a:pt x="426" y="714"/>
                      </a:lnTo>
                      <a:lnTo>
                        <a:pt x="390" y="696"/>
                      </a:lnTo>
                      <a:lnTo>
                        <a:pt x="348" y="678"/>
                      </a:lnTo>
                      <a:lnTo>
                        <a:pt x="324" y="648"/>
                      </a:lnTo>
                      <a:lnTo>
                        <a:pt x="294" y="624"/>
                      </a:lnTo>
                      <a:lnTo>
                        <a:pt x="252" y="600"/>
                      </a:lnTo>
                      <a:lnTo>
                        <a:pt x="198" y="564"/>
                      </a:lnTo>
                      <a:lnTo>
                        <a:pt x="168" y="534"/>
                      </a:lnTo>
                      <a:lnTo>
                        <a:pt x="162" y="504"/>
                      </a:lnTo>
                      <a:lnTo>
                        <a:pt x="156" y="474"/>
                      </a:lnTo>
                      <a:lnTo>
                        <a:pt x="150" y="444"/>
                      </a:lnTo>
                      <a:lnTo>
                        <a:pt x="126" y="420"/>
                      </a:lnTo>
                      <a:lnTo>
                        <a:pt x="114" y="402"/>
                      </a:lnTo>
                      <a:lnTo>
                        <a:pt x="108" y="366"/>
                      </a:lnTo>
                      <a:lnTo>
                        <a:pt x="108" y="312"/>
                      </a:lnTo>
                      <a:lnTo>
                        <a:pt x="108" y="258"/>
                      </a:lnTo>
                      <a:lnTo>
                        <a:pt x="96" y="210"/>
                      </a:lnTo>
                      <a:lnTo>
                        <a:pt x="78" y="174"/>
                      </a:lnTo>
                      <a:lnTo>
                        <a:pt x="72" y="132"/>
                      </a:lnTo>
                      <a:lnTo>
                        <a:pt x="60" y="102"/>
                      </a:lnTo>
                      <a:lnTo>
                        <a:pt x="42" y="72"/>
                      </a:lnTo>
                      <a:lnTo>
                        <a:pt x="18" y="42"/>
                      </a:lnTo>
                      <a:lnTo>
                        <a:pt x="6" y="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1" name="Freeform 122">
                  <a:extLst>
                    <a:ext uri="{FF2B5EF4-FFF2-40B4-BE49-F238E27FC236}">
                      <a16:creationId xmlns:a16="http://schemas.microsoft.com/office/drawing/2014/main" id="{766B2670-E0D4-4CAC-B530-EF5EACD151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33" y="-3720"/>
                  <a:ext cx="3270" cy="1542"/>
                </a:xfrm>
                <a:custGeom>
                  <a:avLst/>
                  <a:gdLst>
                    <a:gd name="T0" fmla="*/ 1182 w 3270"/>
                    <a:gd name="T1" fmla="*/ 66 h 1542"/>
                    <a:gd name="T2" fmla="*/ 1362 w 3270"/>
                    <a:gd name="T3" fmla="*/ 222 h 1542"/>
                    <a:gd name="T4" fmla="*/ 1554 w 3270"/>
                    <a:gd name="T5" fmla="*/ 264 h 1542"/>
                    <a:gd name="T6" fmla="*/ 1716 w 3270"/>
                    <a:gd name="T7" fmla="*/ 204 h 1542"/>
                    <a:gd name="T8" fmla="*/ 1974 w 3270"/>
                    <a:gd name="T9" fmla="*/ 288 h 1542"/>
                    <a:gd name="T10" fmla="*/ 2244 w 3270"/>
                    <a:gd name="T11" fmla="*/ 240 h 1542"/>
                    <a:gd name="T12" fmla="*/ 2454 w 3270"/>
                    <a:gd name="T13" fmla="*/ 168 h 1542"/>
                    <a:gd name="T14" fmla="*/ 2490 w 3270"/>
                    <a:gd name="T15" fmla="*/ 54 h 1542"/>
                    <a:gd name="T16" fmla="*/ 2658 w 3270"/>
                    <a:gd name="T17" fmla="*/ 108 h 1542"/>
                    <a:gd name="T18" fmla="*/ 2784 w 3270"/>
                    <a:gd name="T19" fmla="*/ 78 h 1542"/>
                    <a:gd name="T20" fmla="*/ 2808 w 3270"/>
                    <a:gd name="T21" fmla="*/ 132 h 1542"/>
                    <a:gd name="T22" fmla="*/ 2796 w 3270"/>
                    <a:gd name="T23" fmla="*/ 288 h 1542"/>
                    <a:gd name="T24" fmla="*/ 2796 w 3270"/>
                    <a:gd name="T25" fmla="*/ 456 h 1542"/>
                    <a:gd name="T26" fmla="*/ 2934 w 3270"/>
                    <a:gd name="T27" fmla="*/ 444 h 1542"/>
                    <a:gd name="T28" fmla="*/ 3036 w 3270"/>
                    <a:gd name="T29" fmla="*/ 366 h 1542"/>
                    <a:gd name="T30" fmla="*/ 3216 w 3270"/>
                    <a:gd name="T31" fmla="*/ 414 h 1542"/>
                    <a:gd name="T32" fmla="*/ 3270 w 3270"/>
                    <a:gd name="T33" fmla="*/ 564 h 1542"/>
                    <a:gd name="T34" fmla="*/ 3156 w 3270"/>
                    <a:gd name="T35" fmla="*/ 552 h 1542"/>
                    <a:gd name="T36" fmla="*/ 3102 w 3270"/>
                    <a:gd name="T37" fmla="*/ 654 h 1542"/>
                    <a:gd name="T38" fmla="*/ 2982 w 3270"/>
                    <a:gd name="T39" fmla="*/ 690 h 1542"/>
                    <a:gd name="T40" fmla="*/ 2910 w 3270"/>
                    <a:gd name="T41" fmla="*/ 816 h 1542"/>
                    <a:gd name="T42" fmla="*/ 2856 w 3270"/>
                    <a:gd name="T43" fmla="*/ 924 h 1542"/>
                    <a:gd name="T44" fmla="*/ 2706 w 3270"/>
                    <a:gd name="T45" fmla="*/ 984 h 1542"/>
                    <a:gd name="T46" fmla="*/ 2616 w 3270"/>
                    <a:gd name="T47" fmla="*/ 984 h 1542"/>
                    <a:gd name="T48" fmla="*/ 2652 w 3270"/>
                    <a:gd name="T49" fmla="*/ 1122 h 1542"/>
                    <a:gd name="T50" fmla="*/ 2532 w 3270"/>
                    <a:gd name="T51" fmla="*/ 1272 h 1542"/>
                    <a:gd name="T52" fmla="*/ 2460 w 3270"/>
                    <a:gd name="T53" fmla="*/ 1374 h 1542"/>
                    <a:gd name="T54" fmla="*/ 2274 w 3270"/>
                    <a:gd name="T55" fmla="*/ 1398 h 1542"/>
                    <a:gd name="T56" fmla="*/ 2106 w 3270"/>
                    <a:gd name="T57" fmla="*/ 1518 h 1542"/>
                    <a:gd name="T58" fmla="*/ 1854 w 3270"/>
                    <a:gd name="T59" fmla="*/ 1536 h 1542"/>
                    <a:gd name="T60" fmla="*/ 1596 w 3270"/>
                    <a:gd name="T61" fmla="*/ 1446 h 1542"/>
                    <a:gd name="T62" fmla="*/ 1380 w 3270"/>
                    <a:gd name="T63" fmla="*/ 1518 h 1542"/>
                    <a:gd name="T64" fmla="*/ 1056 w 3270"/>
                    <a:gd name="T65" fmla="*/ 1464 h 1542"/>
                    <a:gd name="T66" fmla="*/ 966 w 3270"/>
                    <a:gd name="T67" fmla="*/ 1296 h 1542"/>
                    <a:gd name="T68" fmla="*/ 768 w 3270"/>
                    <a:gd name="T69" fmla="*/ 1290 h 1542"/>
                    <a:gd name="T70" fmla="*/ 516 w 3270"/>
                    <a:gd name="T71" fmla="*/ 1206 h 1542"/>
                    <a:gd name="T72" fmla="*/ 450 w 3270"/>
                    <a:gd name="T73" fmla="*/ 1098 h 1542"/>
                    <a:gd name="T74" fmla="*/ 426 w 3270"/>
                    <a:gd name="T75" fmla="*/ 984 h 1542"/>
                    <a:gd name="T76" fmla="*/ 348 w 3270"/>
                    <a:gd name="T77" fmla="*/ 852 h 1542"/>
                    <a:gd name="T78" fmla="*/ 234 w 3270"/>
                    <a:gd name="T79" fmla="*/ 792 h 1542"/>
                    <a:gd name="T80" fmla="*/ 42 w 3270"/>
                    <a:gd name="T81" fmla="*/ 702 h 1542"/>
                    <a:gd name="T82" fmla="*/ 0 w 3270"/>
                    <a:gd name="T83" fmla="*/ 618 h 1542"/>
                    <a:gd name="T84" fmla="*/ 96 w 3270"/>
                    <a:gd name="T85" fmla="*/ 486 h 1542"/>
                    <a:gd name="T86" fmla="*/ 216 w 3270"/>
                    <a:gd name="T87" fmla="*/ 420 h 1542"/>
                    <a:gd name="T88" fmla="*/ 336 w 3270"/>
                    <a:gd name="T89" fmla="*/ 306 h 1542"/>
                    <a:gd name="T90" fmla="*/ 570 w 3270"/>
                    <a:gd name="T91" fmla="*/ 312 h 1542"/>
                    <a:gd name="T92" fmla="*/ 744 w 3270"/>
                    <a:gd name="T93" fmla="*/ 420 h 1542"/>
                    <a:gd name="T94" fmla="*/ 930 w 3270"/>
                    <a:gd name="T95" fmla="*/ 372 h 1542"/>
                    <a:gd name="T96" fmla="*/ 936 w 3270"/>
                    <a:gd name="T97" fmla="*/ 264 h 1542"/>
                    <a:gd name="T98" fmla="*/ 822 w 3270"/>
                    <a:gd name="T99" fmla="*/ 108 h 1542"/>
                    <a:gd name="T100" fmla="*/ 906 w 3270"/>
                    <a:gd name="T101" fmla="*/ 12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270" h="1542">
                      <a:moveTo>
                        <a:pt x="978" y="0"/>
                      </a:moveTo>
                      <a:lnTo>
                        <a:pt x="1182" y="66"/>
                      </a:lnTo>
                      <a:lnTo>
                        <a:pt x="1290" y="132"/>
                      </a:lnTo>
                      <a:lnTo>
                        <a:pt x="1362" y="222"/>
                      </a:lnTo>
                      <a:lnTo>
                        <a:pt x="1488" y="282"/>
                      </a:lnTo>
                      <a:lnTo>
                        <a:pt x="1554" y="264"/>
                      </a:lnTo>
                      <a:lnTo>
                        <a:pt x="1590" y="198"/>
                      </a:lnTo>
                      <a:lnTo>
                        <a:pt x="1716" y="204"/>
                      </a:lnTo>
                      <a:lnTo>
                        <a:pt x="1908" y="240"/>
                      </a:lnTo>
                      <a:lnTo>
                        <a:pt x="1974" y="288"/>
                      </a:lnTo>
                      <a:lnTo>
                        <a:pt x="2160" y="288"/>
                      </a:lnTo>
                      <a:lnTo>
                        <a:pt x="2244" y="240"/>
                      </a:lnTo>
                      <a:lnTo>
                        <a:pt x="2370" y="216"/>
                      </a:lnTo>
                      <a:lnTo>
                        <a:pt x="2454" y="168"/>
                      </a:lnTo>
                      <a:lnTo>
                        <a:pt x="2442" y="108"/>
                      </a:lnTo>
                      <a:lnTo>
                        <a:pt x="2490" y="54"/>
                      </a:lnTo>
                      <a:lnTo>
                        <a:pt x="2574" y="48"/>
                      </a:lnTo>
                      <a:lnTo>
                        <a:pt x="2658" y="108"/>
                      </a:lnTo>
                      <a:lnTo>
                        <a:pt x="2718" y="66"/>
                      </a:lnTo>
                      <a:lnTo>
                        <a:pt x="2784" y="78"/>
                      </a:lnTo>
                      <a:lnTo>
                        <a:pt x="2808" y="132"/>
                      </a:lnTo>
                      <a:lnTo>
                        <a:pt x="2808" y="132"/>
                      </a:lnTo>
                      <a:lnTo>
                        <a:pt x="2784" y="198"/>
                      </a:lnTo>
                      <a:lnTo>
                        <a:pt x="2796" y="288"/>
                      </a:lnTo>
                      <a:lnTo>
                        <a:pt x="2760" y="414"/>
                      </a:lnTo>
                      <a:lnTo>
                        <a:pt x="2796" y="456"/>
                      </a:lnTo>
                      <a:lnTo>
                        <a:pt x="2868" y="432"/>
                      </a:lnTo>
                      <a:lnTo>
                        <a:pt x="2934" y="444"/>
                      </a:lnTo>
                      <a:lnTo>
                        <a:pt x="2970" y="396"/>
                      </a:lnTo>
                      <a:lnTo>
                        <a:pt x="3036" y="366"/>
                      </a:lnTo>
                      <a:lnTo>
                        <a:pt x="3114" y="372"/>
                      </a:lnTo>
                      <a:lnTo>
                        <a:pt x="3216" y="414"/>
                      </a:lnTo>
                      <a:lnTo>
                        <a:pt x="3264" y="486"/>
                      </a:lnTo>
                      <a:lnTo>
                        <a:pt x="3270" y="564"/>
                      </a:lnTo>
                      <a:lnTo>
                        <a:pt x="3222" y="582"/>
                      </a:lnTo>
                      <a:lnTo>
                        <a:pt x="3156" y="552"/>
                      </a:lnTo>
                      <a:lnTo>
                        <a:pt x="3102" y="570"/>
                      </a:lnTo>
                      <a:lnTo>
                        <a:pt x="3102" y="654"/>
                      </a:lnTo>
                      <a:lnTo>
                        <a:pt x="3036" y="654"/>
                      </a:lnTo>
                      <a:lnTo>
                        <a:pt x="2982" y="690"/>
                      </a:lnTo>
                      <a:lnTo>
                        <a:pt x="2994" y="816"/>
                      </a:lnTo>
                      <a:lnTo>
                        <a:pt x="2910" y="816"/>
                      </a:lnTo>
                      <a:lnTo>
                        <a:pt x="2856" y="846"/>
                      </a:lnTo>
                      <a:lnTo>
                        <a:pt x="2856" y="924"/>
                      </a:lnTo>
                      <a:lnTo>
                        <a:pt x="2766" y="1014"/>
                      </a:lnTo>
                      <a:lnTo>
                        <a:pt x="2706" y="984"/>
                      </a:lnTo>
                      <a:lnTo>
                        <a:pt x="2640" y="960"/>
                      </a:lnTo>
                      <a:lnTo>
                        <a:pt x="2616" y="984"/>
                      </a:lnTo>
                      <a:lnTo>
                        <a:pt x="2610" y="1038"/>
                      </a:lnTo>
                      <a:lnTo>
                        <a:pt x="2652" y="1122"/>
                      </a:lnTo>
                      <a:lnTo>
                        <a:pt x="2640" y="1194"/>
                      </a:lnTo>
                      <a:lnTo>
                        <a:pt x="2532" y="1272"/>
                      </a:lnTo>
                      <a:lnTo>
                        <a:pt x="2520" y="1338"/>
                      </a:lnTo>
                      <a:lnTo>
                        <a:pt x="2460" y="1374"/>
                      </a:lnTo>
                      <a:lnTo>
                        <a:pt x="2358" y="1386"/>
                      </a:lnTo>
                      <a:lnTo>
                        <a:pt x="2274" y="1398"/>
                      </a:lnTo>
                      <a:lnTo>
                        <a:pt x="2178" y="1452"/>
                      </a:lnTo>
                      <a:lnTo>
                        <a:pt x="2106" y="1518"/>
                      </a:lnTo>
                      <a:lnTo>
                        <a:pt x="2034" y="1542"/>
                      </a:lnTo>
                      <a:lnTo>
                        <a:pt x="1854" y="1536"/>
                      </a:lnTo>
                      <a:lnTo>
                        <a:pt x="1728" y="1500"/>
                      </a:lnTo>
                      <a:lnTo>
                        <a:pt x="1596" y="1446"/>
                      </a:lnTo>
                      <a:lnTo>
                        <a:pt x="1512" y="1464"/>
                      </a:lnTo>
                      <a:lnTo>
                        <a:pt x="1380" y="1518"/>
                      </a:lnTo>
                      <a:lnTo>
                        <a:pt x="1194" y="1506"/>
                      </a:lnTo>
                      <a:lnTo>
                        <a:pt x="1056" y="1464"/>
                      </a:lnTo>
                      <a:lnTo>
                        <a:pt x="1020" y="1368"/>
                      </a:lnTo>
                      <a:lnTo>
                        <a:pt x="966" y="1296"/>
                      </a:lnTo>
                      <a:lnTo>
                        <a:pt x="894" y="1278"/>
                      </a:lnTo>
                      <a:lnTo>
                        <a:pt x="768" y="1290"/>
                      </a:lnTo>
                      <a:lnTo>
                        <a:pt x="618" y="1230"/>
                      </a:lnTo>
                      <a:lnTo>
                        <a:pt x="516" y="1206"/>
                      </a:lnTo>
                      <a:lnTo>
                        <a:pt x="450" y="1152"/>
                      </a:lnTo>
                      <a:lnTo>
                        <a:pt x="450" y="1098"/>
                      </a:lnTo>
                      <a:lnTo>
                        <a:pt x="438" y="1020"/>
                      </a:lnTo>
                      <a:lnTo>
                        <a:pt x="426" y="984"/>
                      </a:lnTo>
                      <a:lnTo>
                        <a:pt x="402" y="918"/>
                      </a:lnTo>
                      <a:lnTo>
                        <a:pt x="348" y="852"/>
                      </a:lnTo>
                      <a:lnTo>
                        <a:pt x="282" y="834"/>
                      </a:lnTo>
                      <a:lnTo>
                        <a:pt x="234" y="792"/>
                      </a:lnTo>
                      <a:lnTo>
                        <a:pt x="132" y="786"/>
                      </a:lnTo>
                      <a:lnTo>
                        <a:pt x="42" y="702"/>
                      </a:lnTo>
                      <a:lnTo>
                        <a:pt x="6" y="618"/>
                      </a:lnTo>
                      <a:lnTo>
                        <a:pt x="0" y="618"/>
                      </a:lnTo>
                      <a:lnTo>
                        <a:pt x="96" y="552"/>
                      </a:lnTo>
                      <a:lnTo>
                        <a:pt x="96" y="486"/>
                      </a:lnTo>
                      <a:lnTo>
                        <a:pt x="168" y="450"/>
                      </a:lnTo>
                      <a:lnTo>
                        <a:pt x="216" y="420"/>
                      </a:lnTo>
                      <a:lnTo>
                        <a:pt x="276" y="354"/>
                      </a:lnTo>
                      <a:lnTo>
                        <a:pt x="336" y="306"/>
                      </a:lnTo>
                      <a:lnTo>
                        <a:pt x="474" y="318"/>
                      </a:lnTo>
                      <a:lnTo>
                        <a:pt x="570" y="312"/>
                      </a:lnTo>
                      <a:lnTo>
                        <a:pt x="636" y="390"/>
                      </a:lnTo>
                      <a:lnTo>
                        <a:pt x="744" y="420"/>
                      </a:lnTo>
                      <a:lnTo>
                        <a:pt x="864" y="378"/>
                      </a:lnTo>
                      <a:lnTo>
                        <a:pt x="930" y="372"/>
                      </a:lnTo>
                      <a:lnTo>
                        <a:pt x="948" y="318"/>
                      </a:lnTo>
                      <a:lnTo>
                        <a:pt x="936" y="264"/>
                      </a:lnTo>
                      <a:lnTo>
                        <a:pt x="816" y="174"/>
                      </a:lnTo>
                      <a:lnTo>
                        <a:pt x="822" y="108"/>
                      </a:lnTo>
                      <a:lnTo>
                        <a:pt x="882" y="72"/>
                      </a:lnTo>
                      <a:lnTo>
                        <a:pt x="906" y="12"/>
                      </a:lnTo>
                      <a:lnTo>
                        <a:pt x="97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2" name="Freeform 123">
                  <a:extLst>
                    <a:ext uri="{FF2B5EF4-FFF2-40B4-BE49-F238E27FC236}">
                      <a16:creationId xmlns:a16="http://schemas.microsoft.com/office/drawing/2014/main" id="{DA2BCEC9-1C5C-4278-98A4-3CD913EFE6B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121" y="-2718"/>
                  <a:ext cx="492" cy="882"/>
                </a:xfrm>
                <a:custGeom>
                  <a:avLst/>
                  <a:gdLst>
                    <a:gd name="T0" fmla="*/ 0 w 492"/>
                    <a:gd name="T1" fmla="*/ 540 h 882"/>
                    <a:gd name="T2" fmla="*/ 0 w 492"/>
                    <a:gd name="T3" fmla="*/ 540 h 882"/>
                    <a:gd name="T4" fmla="*/ 438 w 492"/>
                    <a:gd name="T5" fmla="*/ 42 h 882"/>
                    <a:gd name="T6" fmla="*/ 486 w 492"/>
                    <a:gd name="T7" fmla="*/ 120 h 882"/>
                    <a:gd name="T8" fmla="*/ 462 w 492"/>
                    <a:gd name="T9" fmla="*/ 144 h 882"/>
                    <a:gd name="T10" fmla="*/ 444 w 492"/>
                    <a:gd name="T11" fmla="*/ 162 h 882"/>
                    <a:gd name="T12" fmla="*/ 444 w 492"/>
                    <a:gd name="T13" fmla="*/ 180 h 882"/>
                    <a:gd name="T14" fmla="*/ 450 w 492"/>
                    <a:gd name="T15" fmla="*/ 204 h 882"/>
                    <a:gd name="T16" fmla="*/ 450 w 492"/>
                    <a:gd name="T17" fmla="*/ 228 h 882"/>
                    <a:gd name="T18" fmla="*/ 444 w 492"/>
                    <a:gd name="T19" fmla="*/ 252 h 882"/>
                    <a:gd name="T20" fmla="*/ 462 w 492"/>
                    <a:gd name="T21" fmla="*/ 270 h 882"/>
                    <a:gd name="T22" fmla="*/ 480 w 492"/>
                    <a:gd name="T23" fmla="*/ 288 h 882"/>
                    <a:gd name="T24" fmla="*/ 480 w 492"/>
                    <a:gd name="T25" fmla="*/ 312 h 882"/>
                    <a:gd name="T26" fmla="*/ 456 w 492"/>
                    <a:gd name="T27" fmla="*/ 378 h 882"/>
                    <a:gd name="T28" fmla="*/ 396 w 492"/>
                    <a:gd name="T29" fmla="*/ 450 h 882"/>
                    <a:gd name="T30" fmla="*/ 384 w 492"/>
                    <a:gd name="T31" fmla="*/ 480 h 882"/>
                    <a:gd name="T32" fmla="*/ 378 w 492"/>
                    <a:gd name="T33" fmla="*/ 504 h 882"/>
                    <a:gd name="T34" fmla="*/ 354 w 492"/>
                    <a:gd name="T35" fmla="*/ 528 h 882"/>
                    <a:gd name="T36" fmla="*/ 342 w 492"/>
                    <a:gd name="T37" fmla="*/ 558 h 882"/>
                    <a:gd name="T38" fmla="*/ 348 w 492"/>
                    <a:gd name="T39" fmla="*/ 594 h 882"/>
                    <a:gd name="T40" fmla="*/ 366 w 492"/>
                    <a:gd name="T41" fmla="*/ 618 h 882"/>
                    <a:gd name="T42" fmla="*/ 390 w 492"/>
                    <a:gd name="T43" fmla="*/ 630 h 882"/>
                    <a:gd name="T44" fmla="*/ 414 w 492"/>
                    <a:gd name="T45" fmla="*/ 636 h 882"/>
                    <a:gd name="T46" fmla="*/ 426 w 492"/>
                    <a:gd name="T47" fmla="*/ 654 h 882"/>
                    <a:gd name="T48" fmla="*/ 438 w 492"/>
                    <a:gd name="T49" fmla="*/ 690 h 882"/>
                    <a:gd name="T50" fmla="*/ 456 w 492"/>
                    <a:gd name="T51" fmla="*/ 720 h 882"/>
                    <a:gd name="T52" fmla="*/ 372 w 492"/>
                    <a:gd name="T53" fmla="*/ 762 h 882"/>
                    <a:gd name="T54" fmla="*/ 306 w 492"/>
                    <a:gd name="T55" fmla="*/ 810 h 882"/>
                    <a:gd name="T56" fmla="*/ 294 w 492"/>
                    <a:gd name="T57" fmla="*/ 864 h 882"/>
                    <a:gd name="T58" fmla="*/ 288 w 492"/>
                    <a:gd name="T59" fmla="*/ 870 h 882"/>
                    <a:gd name="T60" fmla="*/ 276 w 492"/>
                    <a:gd name="T61" fmla="*/ 882 h 882"/>
                    <a:gd name="T62" fmla="*/ 258 w 492"/>
                    <a:gd name="T63" fmla="*/ 882 h 882"/>
                    <a:gd name="T64" fmla="*/ 240 w 492"/>
                    <a:gd name="T65" fmla="*/ 864 h 882"/>
                    <a:gd name="T66" fmla="*/ 228 w 492"/>
                    <a:gd name="T67" fmla="*/ 846 h 882"/>
                    <a:gd name="T68" fmla="*/ 216 w 492"/>
                    <a:gd name="T69" fmla="*/ 846 h 882"/>
                    <a:gd name="T70" fmla="*/ 198 w 492"/>
                    <a:gd name="T71" fmla="*/ 870 h 882"/>
                    <a:gd name="T72" fmla="*/ 192 w 492"/>
                    <a:gd name="T73" fmla="*/ 864 h 882"/>
                    <a:gd name="T74" fmla="*/ 180 w 492"/>
                    <a:gd name="T75" fmla="*/ 852 h 882"/>
                    <a:gd name="T76" fmla="*/ 156 w 492"/>
                    <a:gd name="T77" fmla="*/ 846 h 882"/>
                    <a:gd name="T78" fmla="*/ 132 w 492"/>
                    <a:gd name="T79" fmla="*/ 834 h 882"/>
                    <a:gd name="T80" fmla="*/ 120 w 492"/>
                    <a:gd name="T81" fmla="*/ 816 h 882"/>
                    <a:gd name="T82" fmla="*/ 120 w 492"/>
                    <a:gd name="T83" fmla="*/ 792 h 882"/>
                    <a:gd name="T84" fmla="*/ 114 w 492"/>
                    <a:gd name="T85" fmla="*/ 756 h 882"/>
                    <a:gd name="T86" fmla="*/ 108 w 492"/>
                    <a:gd name="T87" fmla="*/ 720 h 882"/>
                    <a:gd name="T88" fmla="*/ 114 w 492"/>
                    <a:gd name="T89" fmla="*/ 696 h 882"/>
                    <a:gd name="T90" fmla="*/ 114 w 492"/>
                    <a:gd name="T91" fmla="*/ 660 h 882"/>
                    <a:gd name="T92" fmla="*/ 102 w 492"/>
                    <a:gd name="T93" fmla="*/ 636 h 882"/>
                    <a:gd name="T94" fmla="*/ 96 w 492"/>
                    <a:gd name="T95" fmla="*/ 612 h 882"/>
                    <a:gd name="T96" fmla="*/ 84 w 492"/>
                    <a:gd name="T97" fmla="*/ 594 h 882"/>
                    <a:gd name="T98" fmla="*/ 72 w 492"/>
                    <a:gd name="T99" fmla="*/ 588 h 882"/>
                    <a:gd name="T100" fmla="*/ 36 w 492"/>
                    <a:gd name="T101" fmla="*/ 588 h 882"/>
                    <a:gd name="T102" fmla="*/ 18 w 492"/>
                    <a:gd name="T103" fmla="*/ 558 h 882"/>
                    <a:gd name="T104" fmla="*/ 6 w 492"/>
                    <a:gd name="T105" fmla="*/ 540 h 882"/>
                    <a:gd name="T106" fmla="*/ 0 w 492"/>
                    <a:gd name="T107" fmla="*/ 468 h 882"/>
                    <a:gd name="T108" fmla="*/ 84 w 492"/>
                    <a:gd name="T109" fmla="*/ 354 h 882"/>
                    <a:gd name="T110" fmla="*/ 150 w 492"/>
                    <a:gd name="T111" fmla="*/ 246 h 882"/>
                    <a:gd name="T112" fmla="*/ 258 w 492"/>
                    <a:gd name="T113" fmla="*/ 270 h 882"/>
                    <a:gd name="T114" fmla="*/ 288 w 492"/>
                    <a:gd name="T115" fmla="*/ 168 h 882"/>
                    <a:gd name="T116" fmla="*/ 354 w 492"/>
                    <a:gd name="T117" fmla="*/ 60 h 8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492" h="882">
                      <a:moveTo>
                        <a:pt x="0" y="540"/>
                      </a:moveTo>
                      <a:lnTo>
                        <a:pt x="0" y="540"/>
                      </a:lnTo>
                      <a:lnTo>
                        <a:pt x="0" y="540"/>
                      </a:lnTo>
                      <a:lnTo>
                        <a:pt x="0" y="540"/>
                      </a:lnTo>
                      <a:close/>
                      <a:moveTo>
                        <a:pt x="378" y="0"/>
                      </a:moveTo>
                      <a:lnTo>
                        <a:pt x="438" y="42"/>
                      </a:lnTo>
                      <a:lnTo>
                        <a:pt x="492" y="102"/>
                      </a:lnTo>
                      <a:lnTo>
                        <a:pt x="486" y="120"/>
                      </a:lnTo>
                      <a:lnTo>
                        <a:pt x="474" y="132"/>
                      </a:lnTo>
                      <a:lnTo>
                        <a:pt x="462" y="144"/>
                      </a:lnTo>
                      <a:lnTo>
                        <a:pt x="450" y="150"/>
                      </a:lnTo>
                      <a:lnTo>
                        <a:pt x="444" y="162"/>
                      </a:lnTo>
                      <a:lnTo>
                        <a:pt x="444" y="168"/>
                      </a:lnTo>
                      <a:lnTo>
                        <a:pt x="444" y="180"/>
                      </a:lnTo>
                      <a:lnTo>
                        <a:pt x="450" y="192"/>
                      </a:lnTo>
                      <a:lnTo>
                        <a:pt x="450" y="204"/>
                      </a:lnTo>
                      <a:lnTo>
                        <a:pt x="450" y="216"/>
                      </a:lnTo>
                      <a:lnTo>
                        <a:pt x="450" y="228"/>
                      </a:lnTo>
                      <a:lnTo>
                        <a:pt x="444" y="240"/>
                      </a:lnTo>
                      <a:lnTo>
                        <a:pt x="444" y="252"/>
                      </a:lnTo>
                      <a:lnTo>
                        <a:pt x="450" y="258"/>
                      </a:lnTo>
                      <a:lnTo>
                        <a:pt x="462" y="270"/>
                      </a:lnTo>
                      <a:lnTo>
                        <a:pt x="474" y="276"/>
                      </a:lnTo>
                      <a:lnTo>
                        <a:pt x="480" y="288"/>
                      </a:lnTo>
                      <a:lnTo>
                        <a:pt x="486" y="300"/>
                      </a:lnTo>
                      <a:lnTo>
                        <a:pt x="480" y="312"/>
                      </a:lnTo>
                      <a:lnTo>
                        <a:pt x="480" y="330"/>
                      </a:lnTo>
                      <a:lnTo>
                        <a:pt x="456" y="378"/>
                      </a:lnTo>
                      <a:lnTo>
                        <a:pt x="408" y="438"/>
                      </a:lnTo>
                      <a:lnTo>
                        <a:pt x="396" y="450"/>
                      </a:lnTo>
                      <a:lnTo>
                        <a:pt x="390" y="468"/>
                      </a:lnTo>
                      <a:lnTo>
                        <a:pt x="384" y="480"/>
                      </a:lnTo>
                      <a:lnTo>
                        <a:pt x="384" y="492"/>
                      </a:lnTo>
                      <a:lnTo>
                        <a:pt x="378" y="504"/>
                      </a:lnTo>
                      <a:lnTo>
                        <a:pt x="366" y="510"/>
                      </a:lnTo>
                      <a:lnTo>
                        <a:pt x="354" y="528"/>
                      </a:lnTo>
                      <a:lnTo>
                        <a:pt x="342" y="540"/>
                      </a:lnTo>
                      <a:lnTo>
                        <a:pt x="342" y="558"/>
                      </a:lnTo>
                      <a:lnTo>
                        <a:pt x="342" y="576"/>
                      </a:lnTo>
                      <a:lnTo>
                        <a:pt x="348" y="594"/>
                      </a:lnTo>
                      <a:lnTo>
                        <a:pt x="354" y="606"/>
                      </a:lnTo>
                      <a:lnTo>
                        <a:pt x="366" y="618"/>
                      </a:lnTo>
                      <a:lnTo>
                        <a:pt x="378" y="624"/>
                      </a:lnTo>
                      <a:lnTo>
                        <a:pt x="390" y="630"/>
                      </a:lnTo>
                      <a:lnTo>
                        <a:pt x="402" y="630"/>
                      </a:lnTo>
                      <a:lnTo>
                        <a:pt x="414" y="636"/>
                      </a:lnTo>
                      <a:lnTo>
                        <a:pt x="420" y="642"/>
                      </a:lnTo>
                      <a:lnTo>
                        <a:pt x="426" y="654"/>
                      </a:lnTo>
                      <a:lnTo>
                        <a:pt x="426" y="666"/>
                      </a:lnTo>
                      <a:lnTo>
                        <a:pt x="438" y="690"/>
                      </a:lnTo>
                      <a:lnTo>
                        <a:pt x="450" y="708"/>
                      </a:lnTo>
                      <a:lnTo>
                        <a:pt x="456" y="720"/>
                      </a:lnTo>
                      <a:lnTo>
                        <a:pt x="402" y="732"/>
                      </a:lnTo>
                      <a:lnTo>
                        <a:pt x="372" y="762"/>
                      </a:lnTo>
                      <a:lnTo>
                        <a:pt x="330" y="768"/>
                      </a:lnTo>
                      <a:lnTo>
                        <a:pt x="306" y="810"/>
                      </a:lnTo>
                      <a:lnTo>
                        <a:pt x="294" y="864"/>
                      </a:lnTo>
                      <a:lnTo>
                        <a:pt x="294" y="864"/>
                      </a:lnTo>
                      <a:lnTo>
                        <a:pt x="288" y="864"/>
                      </a:lnTo>
                      <a:lnTo>
                        <a:pt x="288" y="870"/>
                      </a:lnTo>
                      <a:lnTo>
                        <a:pt x="282" y="870"/>
                      </a:lnTo>
                      <a:lnTo>
                        <a:pt x="276" y="882"/>
                      </a:lnTo>
                      <a:lnTo>
                        <a:pt x="264" y="882"/>
                      </a:lnTo>
                      <a:lnTo>
                        <a:pt x="258" y="882"/>
                      </a:lnTo>
                      <a:lnTo>
                        <a:pt x="246" y="876"/>
                      </a:lnTo>
                      <a:lnTo>
                        <a:pt x="240" y="864"/>
                      </a:lnTo>
                      <a:lnTo>
                        <a:pt x="234" y="852"/>
                      </a:lnTo>
                      <a:lnTo>
                        <a:pt x="228" y="846"/>
                      </a:lnTo>
                      <a:lnTo>
                        <a:pt x="222" y="846"/>
                      </a:lnTo>
                      <a:lnTo>
                        <a:pt x="216" y="846"/>
                      </a:lnTo>
                      <a:lnTo>
                        <a:pt x="210" y="864"/>
                      </a:lnTo>
                      <a:lnTo>
                        <a:pt x="198" y="870"/>
                      </a:lnTo>
                      <a:lnTo>
                        <a:pt x="192" y="870"/>
                      </a:lnTo>
                      <a:lnTo>
                        <a:pt x="192" y="864"/>
                      </a:lnTo>
                      <a:lnTo>
                        <a:pt x="186" y="858"/>
                      </a:lnTo>
                      <a:lnTo>
                        <a:pt x="180" y="852"/>
                      </a:lnTo>
                      <a:lnTo>
                        <a:pt x="168" y="846"/>
                      </a:lnTo>
                      <a:lnTo>
                        <a:pt x="156" y="846"/>
                      </a:lnTo>
                      <a:lnTo>
                        <a:pt x="144" y="840"/>
                      </a:lnTo>
                      <a:lnTo>
                        <a:pt x="132" y="834"/>
                      </a:lnTo>
                      <a:lnTo>
                        <a:pt x="120" y="822"/>
                      </a:lnTo>
                      <a:lnTo>
                        <a:pt x="120" y="816"/>
                      </a:lnTo>
                      <a:lnTo>
                        <a:pt x="120" y="804"/>
                      </a:lnTo>
                      <a:lnTo>
                        <a:pt x="120" y="792"/>
                      </a:lnTo>
                      <a:lnTo>
                        <a:pt x="120" y="774"/>
                      </a:lnTo>
                      <a:lnTo>
                        <a:pt x="114" y="756"/>
                      </a:lnTo>
                      <a:lnTo>
                        <a:pt x="108" y="738"/>
                      </a:lnTo>
                      <a:lnTo>
                        <a:pt x="108" y="720"/>
                      </a:lnTo>
                      <a:lnTo>
                        <a:pt x="108" y="708"/>
                      </a:lnTo>
                      <a:lnTo>
                        <a:pt x="114" y="696"/>
                      </a:lnTo>
                      <a:lnTo>
                        <a:pt x="120" y="678"/>
                      </a:lnTo>
                      <a:lnTo>
                        <a:pt x="114" y="660"/>
                      </a:lnTo>
                      <a:lnTo>
                        <a:pt x="108" y="642"/>
                      </a:lnTo>
                      <a:lnTo>
                        <a:pt x="102" y="636"/>
                      </a:lnTo>
                      <a:lnTo>
                        <a:pt x="102" y="624"/>
                      </a:lnTo>
                      <a:lnTo>
                        <a:pt x="96" y="612"/>
                      </a:lnTo>
                      <a:lnTo>
                        <a:pt x="90" y="600"/>
                      </a:lnTo>
                      <a:lnTo>
                        <a:pt x="84" y="594"/>
                      </a:lnTo>
                      <a:lnTo>
                        <a:pt x="78" y="588"/>
                      </a:lnTo>
                      <a:lnTo>
                        <a:pt x="72" y="588"/>
                      </a:lnTo>
                      <a:lnTo>
                        <a:pt x="54" y="594"/>
                      </a:lnTo>
                      <a:lnTo>
                        <a:pt x="36" y="588"/>
                      </a:lnTo>
                      <a:lnTo>
                        <a:pt x="24" y="576"/>
                      </a:lnTo>
                      <a:lnTo>
                        <a:pt x="18" y="558"/>
                      </a:lnTo>
                      <a:lnTo>
                        <a:pt x="12" y="546"/>
                      </a:lnTo>
                      <a:lnTo>
                        <a:pt x="6" y="540"/>
                      </a:lnTo>
                      <a:lnTo>
                        <a:pt x="0" y="540"/>
                      </a:lnTo>
                      <a:lnTo>
                        <a:pt x="0" y="468"/>
                      </a:lnTo>
                      <a:lnTo>
                        <a:pt x="54" y="420"/>
                      </a:lnTo>
                      <a:lnTo>
                        <a:pt x="84" y="354"/>
                      </a:lnTo>
                      <a:lnTo>
                        <a:pt x="102" y="282"/>
                      </a:lnTo>
                      <a:lnTo>
                        <a:pt x="150" y="246"/>
                      </a:lnTo>
                      <a:lnTo>
                        <a:pt x="180" y="282"/>
                      </a:lnTo>
                      <a:lnTo>
                        <a:pt x="258" y="270"/>
                      </a:lnTo>
                      <a:lnTo>
                        <a:pt x="270" y="228"/>
                      </a:lnTo>
                      <a:lnTo>
                        <a:pt x="288" y="168"/>
                      </a:lnTo>
                      <a:lnTo>
                        <a:pt x="348" y="138"/>
                      </a:lnTo>
                      <a:lnTo>
                        <a:pt x="354" y="60"/>
                      </a:lnTo>
                      <a:lnTo>
                        <a:pt x="37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3" name="Freeform 124">
                  <a:extLst>
                    <a:ext uri="{FF2B5EF4-FFF2-40B4-BE49-F238E27FC236}">
                      <a16:creationId xmlns:a16="http://schemas.microsoft.com/office/drawing/2014/main" id="{AD11AD26-CE49-449E-899F-FDFD6DE8F6E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65" y="-4338"/>
                  <a:ext cx="5796" cy="5106"/>
                </a:xfrm>
                <a:custGeom>
                  <a:avLst/>
                  <a:gdLst>
                    <a:gd name="T0" fmla="*/ 4458 w 5796"/>
                    <a:gd name="T1" fmla="*/ 42 h 5106"/>
                    <a:gd name="T2" fmla="*/ 4890 w 5796"/>
                    <a:gd name="T3" fmla="*/ 492 h 5106"/>
                    <a:gd name="T4" fmla="*/ 5298 w 5796"/>
                    <a:gd name="T5" fmla="*/ 708 h 5106"/>
                    <a:gd name="T6" fmla="*/ 5562 w 5796"/>
                    <a:gd name="T7" fmla="*/ 738 h 5106"/>
                    <a:gd name="T8" fmla="*/ 5670 w 5796"/>
                    <a:gd name="T9" fmla="*/ 618 h 5106"/>
                    <a:gd name="T10" fmla="*/ 5760 w 5796"/>
                    <a:gd name="T11" fmla="*/ 804 h 5106"/>
                    <a:gd name="T12" fmla="*/ 5610 w 5796"/>
                    <a:gd name="T13" fmla="*/ 1260 h 5106"/>
                    <a:gd name="T14" fmla="*/ 5406 w 5796"/>
                    <a:gd name="T15" fmla="*/ 1866 h 5106"/>
                    <a:gd name="T16" fmla="*/ 5208 w 5796"/>
                    <a:gd name="T17" fmla="*/ 2202 h 5106"/>
                    <a:gd name="T18" fmla="*/ 5004 w 5796"/>
                    <a:gd name="T19" fmla="*/ 2310 h 5106"/>
                    <a:gd name="T20" fmla="*/ 4962 w 5796"/>
                    <a:gd name="T21" fmla="*/ 2184 h 5106"/>
                    <a:gd name="T22" fmla="*/ 4908 w 5796"/>
                    <a:gd name="T23" fmla="*/ 2046 h 5106"/>
                    <a:gd name="T24" fmla="*/ 4734 w 5796"/>
                    <a:gd name="T25" fmla="*/ 2250 h 5106"/>
                    <a:gd name="T26" fmla="*/ 4614 w 5796"/>
                    <a:gd name="T27" fmla="*/ 2364 h 5106"/>
                    <a:gd name="T28" fmla="*/ 4668 w 5796"/>
                    <a:gd name="T29" fmla="*/ 2502 h 5106"/>
                    <a:gd name="T30" fmla="*/ 4758 w 5796"/>
                    <a:gd name="T31" fmla="*/ 2586 h 5106"/>
                    <a:gd name="T32" fmla="*/ 4818 w 5796"/>
                    <a:gd name="T33" fmla="*/ 2628 h 5106"/>
                    <a:gd name="T34" fmla="*/ 4968 w 5796"/>
                    <a:gd name="T35" fmla="*/ 2526 h 5106"/>
                    <a:gd name="T36" fmla="*/ 5088 w 5796"/>
                    <a:gd name="T37" fmla="*/ 2556 h 5106"/>
                    <a:gd name="T38" fmla="*/ 5208 w 5796"/>
                    <a:gd name="T39" fmla="*/ 2574 h 5106"/>
                    <a:gd name="T40" fmla="*/ 5130 w 5796"/>
                    <a:gd name="T41" fmla="*/ 2670 h 5106"/>
                    <a:gd name="T42" fmla="*/ 4980 w 5796"/>
                    <a:gd name="T43" fmla="*/ 2832 h 5106"/>
                    <a:gd name="T44" fmla="*/ 5046 w 5796"/>
                    <a:gd name="T45" fmla="*/ 3054 h 5106"/>
                    <a:gd name="T46" fmla="*/ 5262 w 5796"/>
                    <a:gd name="T47" fmla="*/ 3294 h 5106"/>
                    <a:gd name="T48" fmla="*/ 5376 w 5796"/>
                    <a:gd name="T49" fmla="*/ 3414 h 5106"/>
                    <a:gd name="T50" fmla="*/ 5286 w 5796"/>
                    <a:gd name="T51" fmla="*/ 3462 h 5106"/>
                    <a:gd name="T52" fmla="*/ 5388 w 5796"/>
                    <a:gd name="T53" fmla="*/ 3534 h 5106"/>
                    <a:gd name="T54" fmla="*/ 5310 w 5796"/>
                    <a:gd name="T55" fmla="*/ 3666 h 5106"/>
                    <a:gd name="T56" fmla="*/ 5448 w 5796"/>
                    <a:gd name="T57" fmla="*/ 3732 h 5106"/>
                    <a:gd name="T58" fmla="*/ 5448 w 5796"/>
                    <a:gd name="T59" fmla="*/ 3864 h 5106"/>
                    <a:gd name="T60" fmla="*/ 5370 w 5796"/>
                    <a:gd name="T61" fmla="*/ 4008 h 5106"/>
                    <a:gd name="T62" fmla="*/ 5382 w 5796"/>
                    <a:gd name="T63" fmla="*/ 4128 h 5106"/>
                    <a:gd name="T64" fmla="*/ 5328 w 5796"/>
                    <a:gd name="T65" fmla="*/ 4260 h 5106"/>
                    <a:gd name="T66" fmla="*/ 5316 w 5796"/>
                    <a:gd name="T67" fmla="*/ 4368 h 5106"/>
                    <a:gd name="T68" fmla="*/ 5238 w 5796"/>
                    <a:gd name="T69" fmla="*/ 4482 h 5106"/>
                    <a:gd name="T70" fmla="*/ 5172 w 5796"/>
                    <a:gd name="T71" fmla="*/ 4590 h 5106"/>
                    <a:gd name="T72" fmla="*/ 5094 w 5796"/>
                    <a:gd name="T73" fmla="*/ 4656 h 5106"/>
                    <a:gd name="T74" fmla="*/ 4938 w 5796"/>
                    <a:gd name="T75" fmla="*/ 4764 h 5106"/>
                    <a:gd name="T76" fmla="*/ 4806 w 5796"/>
                    <a:gd name="T77" fmla="*/ 4830 h 5106"/>
                    <a:gd name="T78" fmla="*/ 4740 w 5796"/>
                    <a:gd name="T79" fmla="*/ 4866 h 5106"/>
                    <a:gd name="T80" fmla="*/ 4494 w 5796"/>
                    <a:gd name="T81" fmla="*/ 5040 h 5106"/>
                    <a:gd name="T82" fmla="*/ 4452 w 5796"/>
                    <a:gd name="T83" fmla="*/ 5094 h 5106"/>
                    <a:gd name="T84" fmla="*/ 4356 w 5796"/>
                    <a:gd name="T85" fmla="*/ 4950 h 5106"/>
                    <a:gd name="T86" fmla="*/ 4236 w 5796"/>
                    <a:gd name="T87" fmla="*/ 4950 h 5106"/>
                    <a:gd name="T88" fmla="*/ 3864 w 5796"/>
                    <a:gd name="T89" fmla="*/ 4764 h 5106"/>
                    <a:gd name="T90" fmla="*/ 3234 w 5796"/>
                    <a:gd name="T91" fmla="*/ 4974 h 5106"/>
                    <a:gd name="T92" fmla="*/ 2964 w 5796"/>
                    <a:gd name="T93" fmla="*/ 4194 h 5106"/>
                    <a:gd name="T94" fmla="*/ 2364 w 5796"/>
                    <a:gd name="T95" fmla="*/ 4242 h 5106"/>
                    <a:gd name="T96" fmla="*/ 1566 w 5796"/>
                    <a:gd name="T97" fmla="*/ 4164 h 5106"/>
                    <a:gd name="T98" fmla="*/ 804 w 5796"/>
                    <a:gd name="T99" fmla="*/ 3744 h 5106"/>
                    <a:gd name="T100" fmla="*/ 390 w 5796"/>
                    <a:gd name="T101" fmla="*/ 3120 h 5106"/>
                    <a:gd name="T102" fmla="*/ 228 w 5796"/>
                    <a:gd name="T103" fmla="*/ 2694 h 5106"/>
                    <a:gd name="T104" fmla="*/ 606 w 5796"/>
                    <a:gd name="T105" fmla="*/ 1878 h 5106"/>
                    <a:gd name="T106" fmla="*/ 978 w 5796"/>
                    <a:gd name="T107" fmla="*/ 1362 h 5106"/>
                    <a:gd name="T108" fmla="*/ 1506 w 5796"/>
                    <a:gd name="T109" fmla="*/ 1638 h 5106"/>
                    <a:gd name="T110" fmla="*/ 2664 w 5796"/>
                    <a:gd name="T111" fmla="*/ 2064 h 5106"/>
                    <a:gd name="T112" fmla="*/ 3678 w 5796"/>
                    <a:gd name="T113" fmla="*/ 1656 h 5106"/>
                    <a:gd name="T114" fmla="*/ 4224 w 5796"/>
                    <a:gd name="T115" fmla="*/ 1170 h 5106"/>
                    <a:gd name="T116" fmla="*/ 3852 w 5796"/>
                    <a:gd name="T117" fmla="*/ 816 h 5106"/>
                    <a:gd name="T118" fmla="*/ 4002 w 5796"/>
                    <a:gd name="T119" fmla="*/ 180 h 5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796" h="5106">
                      <a:moveTo>
                        <a:pt x="2826" y="4170"/>
                      </a:moveTo>
                      <a:lnTo>
                        <a:pt x="2826" y="4170"/>
                      </a:lnTo>
                      <a:lnTo>
                        <a:pt x="2826" y="4170"/>
                      </a:lnTo>
                      <a:lnTo>
                        <a:pt x="2826" y="4170"/>
                      </a:lnTo>
                      <a:close/>
                      <a:moveTo>
                        <a:pt x="4332" y="0"/>
                      </a:moveTo>
                      <a:lnTo>
                        <a:pt x="4344" y="0"/>
                      </a:lnTo>
                      <a:lnTo>
                        <a:pt x="4350" y="6"/>
                      </a:lnTo>
                      <a:lnTo>
                        <a:pt x="4356" y="12"/>
                      </a:lnTo>
                      <a:lnTo>
                        <a:pt x="4368" y="18"/>
                      </a:lnTo>
                      <a:lnTo>
                        <a:pt x="4380" y="30"/>
                      </a:lnTo>
                      <a:lnTo>
                        <a:pt x="4392" y="36"/>
                      </a:lnTo>
                      <a:lnTo>
                        <a:pt x="4416" y="42"/>
                      </a:lnTo>
                      <a:lnTo>
                        <a:pt x="4458" y="42"/>
                      </a:lnTo>
                      <a:lnTo>
                        <a:pt x="4488" y="48"/>
                      </a:lnTo>
                      <a:lnTo>
                        <a:pt x="4518" y="60"/>
                      </a:lnTo>
                      <a:lnTo>
                        <a:pt x="4554" y="90"/>
                      </a:lnTo>
                      <a:lnTo>
                        <a:pt x="4596" y="150"/>
                      </a:lnTo>
                      <a:lnTo>
                        <a:pt x="4650" y="210"/>
                      </a:lnTo>
                      <a:lnTo>
                        <a:pt x="4710" y="276"/>
                      </a:lnTo>
                      <a:lnTo>
                        <a:pt x="4770" y="336"/>
                      </a:lnTo>
                      <a:lnTo>
                        <a:pt x="4824" y="378"/>
                      </a:lnTo>
                      <a:lnTo>
                        <a:pt x="4860" y="402"/>
                      </a:lnTo>
                      <a:lnTo>
                        <a:pt x="4878" y="420"/>
                      </a:lnTo>
                      <a:lnTo>
                        <a:pt x="4884" y="450"/>
                      </a:lnTo>
                      <a:lnTo>
                        <a:pt x="4884" y="474"/>
                      </a:lnTo>
                      <a:lnTo>
                        <a:pt x="4890" y="492"/>
                      </a:lnTo>
                      <a:lnTo>
                        <a:pt x="4896" y="504"/>
                      </a:lnTo>
                      <a:lnTo>
                        <a:pt x="4914" y="516"/>
                      </a:lnTo>
                      <a:lnTo>
                        <a:pt x="4932" y="528"/>
                      </a:lnTo>
                      <a:lnTo>
                        <a:pt x="4956" y="546"/>
                      </a:lnTo>
                      <a:lnTo>
                        <a:pt x="5010" y="564"/>
                      </a:lnTo>
                      <a:lnTo>
                        <a:pt x="5052" y="564"/>
                      </a:lnTo>
                      <a:lnTo>
                        <a:pt x="5100" y="564"/>
                      </a:lnTo>
                      <a:lnTo>
                        <a:pt x="5142" y="570"/>
                      </a:lnTo>
                      <a:lnTo>
                        <a:pt x="5184" y="576"/>
                      </a:lnTo>
                      <a:lnTo>
                        <a:pt x="5220" y="606"/>
                      </a:lnTo>
                      <a:lnTo>
                        <a:pt x="5238" y="636"/>
                      </a:lnTo>
                      <a:lnTo>
                        <a:pt x="5262" y="678"/>
                      </a:lnTo>
                      <a:lnTo>
                        <a:pt x="5298" y="708"/>
                      </a:lnTo>
                      <a:lnTo>
                        <a:pt x="5340" y="720"/>
                      </a:lnTo>
                      <a:lnTo>
                        <a:pt x="5370" y="720"/>
                      </a:lnTo>
                      <a:lnTo>
                        <a:pt x="5388" y="720"/>
                      </a:lnTo>
                      <a:lnTo>
                        <a:pt x="5400" y="726"/>
                      </a:lnTo>
                      <a:lnTo>
                        <a:pt x="5406" y="732"/>
                      </a:lnTo>
                      <a:lnTo>
                        <a:pt x="5412" y="744"/>
                      </a:lnTo>
                      <a:lnTo>
                        <a:pt x="5418" y="762"/>
                      </a:lnTo>
                      <a:lnTo>
                        <a:pt x="5442" y="780"/>
                      </a:lnTo>
                      <a:lnTo>
                        <a:pt x="5478" y="792"/>
                      </a:lnTo>
                      <a:lnTo>
                        <a:pt x="5514" y="792"/>
                      </a:lnTo>
                      <a:lnTo>
                        <a:pt x="5544" y="780"/>
                      </a:lnTo>
                      <a:lnTo>
                        <a:pt x="5562" y="762"/>
                      </a:lnTo>
                      <a:lnTo>
                        <a:pt x="5562" y="738"/>
                      </a:lnTo>
                      <a:lnTo>
                        <a:pt x="5562" y="720"/>
                      </a:lnTo>
                      <a:lnTo>
                        <a:pt x="5562" y="708"/>
                      </a:lnTo>
                      <a:lnTo>
                        <a:pt x="5568" y="696"/>
                      </a:lnTo>
                      <a:lnTo>
                        <a:pt x="5580" y="684"/>
                      </a:lnTo>
                      <a:lnTo>
                        <a:pt x="5592" y="678"/>
                      </a:lnTo>
                      <a:lnTo>
                        <a:pt x="5604" y="678"/>
                      </a:lnTo>
                      <a:lnTo>
                        <a:pt x="5622" y="678"/>
                      </a:lnTo>
                      <a:lnTo>
                        <a:pt x="5640" y="678"/>
                      </a:lnTo>
                      <a:lnTo>
                        <a:pt x="5652" y="672"/>
                      </a:lnTo>
                      <a:lnTo>
                        <a:pt x="5664" y="666"/>
                      </a:lnTo>
                      <a:lnTo>
                        <a:pt x="5670" y="654"/>
                      </a:lnTo>
                      <a:lnTo>
                        <a:pt x="5670" y="630"/>
                      </a:lnTo>
                      <a:lnTo>
                        <a:pt x="5670" y="618"/>
                      </a:lnTo>
                      <a:lnTo>
                        <a:pt x="5682" y="600"/>
                      </a:lnTo>
                      <a:lnTo>
                        <a:pt x="5688" y="588"/>
                      </a:lnTo>
                      <a:lnTo>
                        <a:pt x="5706" y="582"/>
                      </a:lnTo>
                      <a:lnTo>
                        <a:pt x="5718" y="570"/>
                      </a:lnTo>
                      <a:lnTo>
                        <a:pt x="5730" y="570"/>
                      </a:lnTo>
                      <a:lnTo>
                        <a:pt x="5748" y="570"/>
                      </a:lnTo>
                      <a:lnTo>
                        <a:pt x="5754" y="576"/>
                      </a:lnTo>
                      <a:lnTo>
                        <a:pt x="5766" y="588"/>
                      </a:lnTo>
                      <a:lnTo>
                        <a:pt x="5772" y="630"/>
                      </a:lnTo>
                      <a:lnTo>
                        <a:pt x="5778" y="678"/>
                      </a:lnTo>
                      <a:lnTo>
                        <a:pt x="5778" y="720"/>
                      </a:lnTo>
                      <a:lnTo>
                        <a:pt x="5772" y="756"/>
                      </a:lnTo>
                      <a:lnTo>
                        <a:pt x="5760" y="804"/>
                      </a:lnTo>
                      <a:lnTo>
                        <a:pt x="5760" y="858"/>
                      </a:lnTo>
                      <a:lnTo>
                        <a:pt x="5760" y="924"/>
                      </a:lnTo>
                      <a:lnTo>
                        <a:pt x="5754" y="990"/>
                      </a:lnTo>
                      <a:lnTo>
                        <a:pt x="5754" y="1038"/>
                      </a:lnTo>
                      <a:lnTo>
                        <a:pt x="5766" y="1080"/>
                      </a:lnTo>
                      <a:lnTo>
                        <a:pt x="5790" y="1134"/>
                      </a:lnTo>
                      <a:lnTo>
                        <a:pt x="5796" y="1170"/>
                      </a:lnTo>
                      <a:lnTo>
                        <a:pt x="5790" y="1194"/>
                      </a:lnTo>
                      <a:lnTo>
                        <a:pt x="5760" y="1206"/>
                      </a:lnTo>
                      <a:lnTo>
                        <a:pt x="5718" y="1212"/>
                      </a:lnTo>
                      <a:lnTo>
                        <a:pt x="5676" y="1218"/>
                      </a:lnTo>
                      <a:lnTo>
                        <a:pt x="5664" y="1218"/>
                      </a:lnTo>
                      <a:lnTo>
                        <a:pt x="5610" y="1260"/>
                      </a:lnTo>
                      <a:lnTo>
                        <a:pt x="5634" y="1398"/>
                      </a:lnTo>
                      <a:lnTo>
                        <a:pt x="5682" y="1452"/>
                      </a:lnTo>
                      <a:lnTo>
                        <a:pt x="5712" y="1524"/>
                      </a:lnTo>
                      <a:lnTo>
                        <a:pt x="5688" y="1608"/>
                      </a:lnTo>
                      <a:lnTo>
                        <a:pt x="5694" y="1662"/>
                      </a:lnTo>
                      <a:lnTo>
                        <a:pt x="5634" y="1620"/>
                      </a:lnTo>
                      <a:lnTo>
                        <a:pt x="5610" y="1680"/>
                      </a:lnTo>
                      <a:lnTo>
                        <a:pt x="5604" y="1758"/>
                      </a:lnTo>
                      <a:lnTo>
                        <a:pt x="5544" y="1788"/>
                      </a:lnTo>
                      <a:lnTo>
                        <a:pt x="5526" y="1848"/>
                      </a:lnTo>
                      <a:lnTo>
                        <a:pt x="5514" y="1890"/>
                      </a:lnTo>
                      <a:lnTo>
                        <a:pt x="5436" y="1902"/>
                      </a:lnTo>
                      <a:lnTo>
                        <a:pt x="5406" y="1866"/>
                      </a:lnTo>
                      <a:lnTo>
                        <a:pt x="5358" y="1902"/>
                      </a:lnTo>
                      <a:lnTo>
                        <a:pt x="5340" y="1974"/>
                      </a:lnTo>
                      <a:lnTo>
                        <a:pt x="5316" y="2040"/>
                      </a:lnTo>
                      <a:lnTo>
                        <a:pt x="5256" y="2088"/>
                      </a:lnTo>
                      <a:lnTo>
                        <a:pt x="5256" y="2160"/>
                      </a:lnTo>
                      <a:lnTo>
                        <a:pt x="5256" y="2160"/>
                      </a:lnTo>
                      <a:lnTo>
                        <a:pt x="5244" y="2166"/>
                      </a:lnTo>
                      <a:lnTo>
                        <a:pt x="5238" y="2178"/>
                      </a:lnTo>
                      <a:lnTo>
                        <a:pt x="5238" y="2190"/>
                      </a:lnTo>
                      <a:lnTo>
                        <a:pt x="5232" y="2202"/>
                      </a:lnTo>
                      <a:lnTo>
                        <a:pt x="5226" y="2208"/>
                      </a:lnTo>
                      <a:lnTo>
                        <a:pt x="5220" y="2208"/>
                      </a:lnTo>
                      <a:lnTo>
                        <a:pt x="5208" y="2202"/>
                      </a:lnTo>
                      <a:lnTo>
                        <a:pt x="5196" y="2202"/>
                      </a:lnTo>
                      <a:lnTo>
                        <a:pt x="5178" y="2196"/>
                      </a:lnTo>
                      <a:lnTo>
                        <a:pt x="5160" y="2196"/>
                      </a:lnTo>
                      <a:lnTo>
                        <a:pt x="5124" y="2208"/>
                      </a:lnTo>
                      <a:lnTo>
                        <a:pt x="5088" y="2250"/>
                      </a:lnTo>
                      <a:lnTo>
                        <a:pt x="5070" y="2298"/>
                      </a:lnTo>
                      <a:lnTo>
                        <a:pt x="5058" y="2310"/>
                      </a:lnTo>
                      <a:lnTo>
                        <a:pt x="5052" y="2322"/>
                      </a:lnTo>
                      <a:lnTo>
                        <a:pt x="5040" y="2328"/>
                      </a:lnTo>
                      <a:lnTo>
                        <a:pt x="5028" y="2328"/>
                      </a:lnTo>
                      <a:lnTo>
                        <a:pt x="5022" y="2322"/>
                      </a:lnTo>
                      <a:lnTo>
                        <a:pt x="5010" y="2316"/>
                      </a:lnTo>
                      <a:lnTo>
                        <a:pt x="5004" y="2310"/>
                      </a:lnTo>
                      <a:lnTo>
                        <a:pt x="4998" y="2304"/>
                      </a:lnTo>
                      <a:lnTo>
                        <a:pt x="4992" y="2292"/>
                      </a:lnTo>
                      <a:lnTo>
                        <a:pt x="4986" y="2280"/>
                      </a:lnTo>
                      <a:lnTo>
                        <a:pt x="4980" y="2274"/>
                      </a:lnTo>
                      <a:lnTo>
                        <a:pt x="4974" y="2268"/>
                      </a:lnTo>
                      <a:lnTo>
                        <a:pt x="4956" y="2256"/>
                      </a:lnTo>
                      <a:lnTo>
                        <a:pt x="4938" y="2250"/>
                      </a:lnTo>
                      <a:lnTo>
                        <a:pt x="4932" y="2244"/>
                      </a:lnTo>
                      <a:lnTo>
                        <a:pt x="4932" y="2232"/>
                      </a:lnTo>
                      <a:lnTo>
                        <a:pt x="4938" y="2220"/>
                      </a:lnTo>
                      <a:lnTo>
                        <a:pt x="4944" y="2208"/>
                      </a:lnTo>
                      <a:lnTo>
                        <a:pt x="4950" y="2196"/>
                      </a:lnTo>
                      <a:lnTo>
                        <a:pt x="4962" y="2184"/>
                      </a:lnTo>
                      <a:lnTo>
                        <a:pt x="4968" y="2160"/>
                      </a:lnTo>
                      <a:lnTo>
                        <a:pt x="4968" y="2142"/>
                      </a:lnTo>
                      <a:lnTo>
                        <a:pt x="4968" y="2124"/>
                      </a:lnTo>
                      <a:lnTo>
                        <a:pt x="4968" y="2106"/>
                      </a:lnTo>
                      <a:lnTo>
                        <a:pt x="4974" y="2088"/>
                      </a:lnTo>
                      <a:lnTo>
                        <a:pt x="4974" y="2076"/>
                      </a:lnTo>
                      <a:lnTo>
                        <a:pt x="4974" y="2070"/>
                      </a:lnTo>
                      <a:lnTo>
                        <a:pt x="4974" y="2058"/>
                      </a:lnTo>
                      <a:lnTo>
                        <a:pt x="4968" y="2052"/>
                      </a:lnTo>
                      <a:lnTo>
                        <a:pt x="4956" y="2046"/>
                      </a:lnTo>
                      <a:lnTo>
                        <a:pt x="4944" y="2046"/>
                      </a:lnTo>
                      <a:lnTo>
                        <a:pt x="4920" y="2046"/>
                      </a:lnTo>
                      <a:lnTo>
                        <a:pt x="4908" y="2046"/>
                      </a:lnTo>
                      <a:lnTo>
                        <a:pt x="4896" y="2052"/>
                      </a:lnTo>
                      <a:lnTo>
                        <a:pt x="4878" y="2058"/>
                      </a:lnTo>
                      <a:lnTo>
                        <a:pt x="4866" y="2070"/>
                      </a:lnTo>
                      <a:lnTo>
                        <a:pt x="4836" y="2094"/>
                      </a:lnTo>
                      <a:lnTo>
                        <a:pt x="4818" y="2130"/>
                      </a:lnTo>
                      <a:lnTo>
                        <a:pt x="4812" y="2166"/>
                      </a:lnTo>
                      <a:lnTo>
                        <a:pt x="4806" y="2184"/>
                      </a:lnTo>
                      <a:lnTo>
                        <a:pt x="4806" y="2196"/>
                      </a:lnTo>
                      <a:lnTo>
                        <a:pt x="4794" y="2202"/>
                      </a:lnTo>
                      <a:lnTo>
                        <a:pt x="4782" y="2208"/>
                      </a:lnTo>
                      <a:lnTo>
                        <a:pt x="4764" y="2214"/>
                      </a:lnTo>
                      <a:lnTo>
                        <a:pt x="4740" y="2226"/>
                      </a:lnTo>
                      <a:lnTo>
                        <a:pt x="4734" y="2250"/>
                      </a:lnTo>
                      <a:lnTo>
                        <a:pt x="4740" y="2280"/>
                      </a:lnTo>
                      <a:lnTo>
                        <a:pt x="4746" y="2322"/>
                      </a:lnTo>
                      <a:lnTo>
                        <a:pt x="4740" y="2340"/>
                      </a:lnTo>
                      <a:lnTo>
                        <a:pt x="4734" y="2352"/>
                      </a:lnTo>
                      <a:lnTo>
                        <a:pt x="4728" y="2358"/>
                      </a:lnTo>
                      <a:lnTo>
                        <a:pt x="4716" y="2364"/>
                      </a:lnTo>
                      <a:lnTo>
                        <a:pt x="4698" y="2370"/>
                      </a:lnTo>
                      <a:lnTo>
                        <a:pt x="4686" y="2370"/>
                      </a:lnTo>
                      <a:lnTo>
                        <a:pt x="4668" y="2370"/>
                      </a:lnTo>
                      <a:lnTo>
                        <a:pt x="4656" y="2364"/>
                      </a:lnTo>
                      <a:lnTo>
                        <a:pt x="4638" y="2364"/>
                      </a:lnTo>
                      <a:lnTo>
                        <a:pt x="4626" y="2358"/>
                      </a:lnTo>
                      <a:lnTo>
                        <a:pt x="4614" y="2364"/>
                      </a:lnTo>
                      <a:lnTo>
                        <a:pt x="4608" y="2370"/>
                      </a:lnTo>
                      <a:lnTo>
                        <a:pt x="4596" y="2388"/>
                      </a:lnTo>
                      <a:lnTo>
                        <a:pt x="4590" y="2400"/>
                      </a:lnTo>
                      <a:lnTo>
                        <a:pt x="4590" y="2418"/>
                      </a:lnTo>
                      <a:lnTo>
                        <a:pt x="4596" y="2430"/>
                      </a:lnTo>
                      <a:lnTo>
                        <a:pt x="4602" y="2442"/>
                      </a:lnTo>
                      <a:lnTo>
                        <a:pt x="4614" y="2454"/>
                      </a:lnTo>
                      <a:lnTo>
                        <a:pt x="4626" y="2466"/>
                      </a:lnTo>
                      <a:lnTo>
                        <a:pt x="4638" y="2472"/>
                      </a:lnTo>
                      <a:lnTo>
                        <a:pt x="4650" y="2478"/>
                      </a:lnTo>
                      <a:lnTo>
                        <a:pt x="4656" y="2484"/>
                      </a:lnTo>
                      <a:lnTo>
                        <a:pt x="4662" y="2496"/>
                      </a:lnTo>
                      <a:lnTo>
                        <a:pt x="4668" y="2502"/>
                      </a:lnTo>
                      <a:lnTo>
                        <a:pt x="4668" y="2514"/>
                      </a:lnTo>
                      <a:lnTo>
                        <a:pt x="4674" y="2520"/>
                      </a:lnTo>
                      <a:lnTo>
                        <a:pt x="4674" y="2526"/>
                      </a:lnTo>
                      <a:lnTo>
                        <a:pt x="4686" y="2526"/>
                      </a:lnTo>
                      <a:lnTo>
                        <a:pt x="4698" y="2526"/>
                      </a:lnTo>
                      <a:lnTo>
                        <a:pt x="4704" y="2526"/>
                      </a:lnTo>
                      <a:lnTo>
                        <a:pt x="4716" y="2526"/>
                      </a:lnTo>
                      <a:lnTo>
                        <a:pt x="4728" y="2526"/>
                      </a:lnTo>
                      <a:lnTo>
                        <a:pt x="4740" y="2526"/>
                      </a:lnTo>
                      <a:lnTo>
                        <a:pt x="4752" y="2538"/>
                      </a:lnTo>
                      <a:lnTo>
                        <a:pt x="4764" y="2556"/>
                      </a:lnTo>
                      <a:lnTo>
                        <a:pt x="4764" y="2568"/>
                      </a:lnTo>
                      <a:lnTo>
                        <a:pt x="4758" y="2586"/>
                      </a:lnTo>
                      <a:lnTo>
                        <a:pt x="4752" y="2592"/>
                      </a:lnTo>
                      <a:lnTo>
                        <a:pt x="4746" y="2604"/>
                      </a:lnTo>
                      <a:lnTo>
                        <a:pt x="4746" y="2610"/>
                      </a:lnTo>
                      <a:lnTo>
                        <a:pt x="4746" y="2616"/>
                      </a:lnTo>
                      <a:lnTo>
                        <a:pt x="4752" y="2622"/>
                      </a:lnTo>
                      <a:lnTo>
                        <a:pt x="4758" y="2622"/>
                      </a:lnTo>
                      <a:lnTo>
                        <a:pt x="4770" y="2622"/>
                      </a:lnTo>
                      <a:lnTo>
                        <a:pt x="4788" y="2616"/>
                      </a:lnTo>
                      <a:lnTo>
                        <a:pt x="4794" y="2616"/>
                      </a:lnTo>
                      <a:lnTo>
                        <a:pt x="4800" y="2616"/>
                      </a:lnTo>
                      <a:lnTo>
                        <a:pt x="4806" y="2616"/>
                      </a:lnTo>
                      <a:lnTo>
                        <a:pt x="4812" y="2622"/>
                      </a:lnTo>
                      <a:lnTo>
                        <a:pt x="4818" y="2628"/>
                      </a:lnTo>
                      <a:lnTo>
                        <a:pt x="4830" y="2640"/>
                      </a:lnTo>
                      <a:lnTo>
                        <a:pt x="4848" y="2646"/>
                      </a:lnTo>
                      <a:lnTo>
                        <a:pt x="4866" y="2646"/>
                      </a:lnTo>
                      <a:lnTo>
                        <a:pt x="4890" y="2646"/>
                      </a:lnTo>
                      <a:lnTo>
                        <a:pt x="4902" y="2640"/>
                      </a:lnTo>
                      <a:lnTo>
                        <a:pt x="4914" y="2628"/>
                      </a:lnTo>
                      <a:lnTo>
                        <a:pt x="4920" y="2616"/>
                      </a:lnTo>
                      <a:lnTo>
                        <a:pt x="4926" y="2604"/>
                      </a:lnTo>
                      <a:lnTo>
                        <a:pt x="4926" y="2586"/>
                      </a:lnTo>
                      <a:lnTo>
                        <a:pt x="4932" y="2562"/>
                      </a:lnTo>
                      <a:lnTo>
                        <a:pt x="4938" y="2544"/>
                      </a:lnTo>
                      <a:lnTo>
                        <a:pt x="4950" y="2538"/>
                      </a:lnTo>
                      <a:lnTo>
                        <a:pt x="4968" y="2526"/>
                      </a:lnTo>
                      <a:lnTo>
                        <a:pt x="4980" y="2526"/>
                      </a:lnTo>
                      <a:lnTo>
                        <a:pt x="4992" y="2532"/>
                      </a:lnTo>
                      <a:lnTo>
                        <a:pt x="4998" y="2538"/>
                      </a:lnTo>
                      <a:lnTo>
                        <a:pt x="5010" y="2544"/>
                      </a:lnTo>
                      <a:lnTo>
                        <a:pt x="5016" y="2550"/>
                      </a:lnTo>
                      <a:lnTo>
                        <a:pt x="5022" y="2550"/>
                      </a:lnTo>
                      <a:lnTo>
                        <a:pt x="5034" y="2544"/>
                      </a:lnTo>
                      <a:lnTo>
                        <a:pt x="5040" y="2550"/>
                      </a:lnTo>
                      <a:lnTo>
                        <a:pt x="5046" y="2562"/>
                      </a:lnTo>
                      <a:lnTo>
                        <a:pt x="5052" y="2562"/>
                      </a:lnTo>
                      <a:lnTo>
                        <a:pt x="5064" y="2562"/>
                      </a:lnTo>
                      <a:lnTo>
                        <a:pt x="5076" y="2562"/>
                      </a:lnTo>
                      <a:lnTo>
                        <a:pt x="5088" y="2556"/>
                      </a:lnTo>
                      <a:lnTo>
                        <a:pt x="5100" y="2550"/>
                      </a:lnTo>
                      <a:lnTo>
                        <a:pt x="5118" y="2544"/>
                      </a:lnTo>
                      <a:lnTo>
                        <a:pt x="5130" y="2538"/>
                      </a:lnTo>
                      <a:lnTo>
                        <a:pt x="5136" y="2544"/>
                      </a:lnTo>
                      <a:lnTo>
                        <a:pt x="5148" y="2550"/>
                      </a:lnTo>
                      <a:lnTo>
                        <a:pt x="5160" y="2550"/>
                      </a:lnTo>
                      <a:lnTo>
                        <a:pt x="5172" y="2556"/>
                      </a:lnTo>
                      <a:lnTo>
                        <a:pt x="5184" y="2556"/>
                      </a:lnTo>
                      <a:lnTo>
                        <a:pt x="5202" y="2550"/>
                      </a:lnTo>
                      <a:lnTo>
                        <a:pt x="5208" y="2550"/>
                      </a:lnTo>
                      <a:lnTo>
                        <a:pt x="5214" y="2556"/>
                      </a:lnTo>
                      <a:lnTo>
                        <a:pt x="5214" y="2562"/>
                      </a:lnTo>
                      <a:lnTo>
                        <a:pt x="5208" y="2574"/>
                      </a:lnTo>
                      <a:lnTo>
                        <a:pt x="5202" y="2586"/>
                      </a:lnTo>
                      <a:lnTo>
                        <a:pt x="5196" y="2598"/>
                      </a:lnTo>
                      <a:lnTo>
                        <a:pt x="5196" y="2610"/>
                      </a:lnTo>
                      <a:lnTo>
                        <a:pt x="5202" y="2628"/>
                      </a:lnTo>
                      <a:lnTo>
                        <a:pt x="5202" y="2640"/>
                      </a:lnTo>
                      <a:lnTo>
                        <a:pt x="5196" y="2646"/>
                      </a:lnTo>
                      <a:lnTo>
                        <a:pt x="5190" y="2652"/>
                      </a:lnTo>
                      <a:lnTo>
                        <a:pt x="5178" y="2652"/>
                      </a:lnTo>
                      <a:lnTo>
                        <a:pt x="5160" y="2652"/>
                      </a:lnTo>
                      <a:lnTo>
                        <a:pt x="5148" y="2658"/>
                      </a:lnTo>
                      <a:lnTo>
                        <a:pt x="5142" y="2658"/>
                      </a:lnTo>
                      <a:lnTo>
                        <a:pt x="5136" y="2664"/>
                      </a:lnTo>
                      <a:lnTo>
                        <a:pt x="5130" y="2670"/>
                      </a:lnTo>
                      <a:lnTo>
                        <a:pt x="5118" y="2670"/>
                      </a:lnTo>
                      <a:lnTo>
                        <a:pt x="5106" y="2670"/>
                      </a:lnTo>
                      <a:lnTo>
                        <a:pt x="5094" y="2670"/>
                      </a:lnTo>
                      <a:lnTo>
                        <a:pt x="5082" y="2676"/>
                      </a:lnTo>
                      <a:lnTo>
                        <a:pt x="5076" y="2688"/>
                      </a:lnTo>
                      <a:lnTo>
                        <a:pt x="5070" y="2700"/>
                      </a:lnTo>
                      <a:lnTo>
                        <a:pt x="5064" y="2718"/>
                      </a:lnTo>
                      <a:lnTo>
                        <a:pt x="5052" y="2742"/>
                      </a:lnTo>
                      <a:lnTo>
                        <a:pt x="5040" y="2772"/>
                      </a:lnTo>
                      <a:lnTo>
                        <a:pt x="5028" y="2790"/>
                      </a:lnTo>
                      <a:lnTo>
                        <a:pt x="5010" y="2808"/>
                      </a:lnTo>
                      <a:lnTo>
                        <a:pt x="4992" y="2820"/>
                      </a:lnTo>
                      <a:lnTo>
                        <a:pt x="4980" y="2832"/>
                      </a:lnTo>
                      <a:lnTo>
                        <a:pt x="4968" y="2850"/>
                      </a:lnTo>
                      <a:lnTo>
                        <a:pt x="4968" y="2874"/>
                      </a:lnTo>
                      <a:lnTo>
                        <a:pt x="4980" y="2904"/>
                      </a:lnTo>
                      <a:lnTo>
                        <a:pt x="4980" y="2940"/>
                      </a:lnTo>
                      <a:lnTo>
                        <a:pt x="4980" y="2964"/>
                      </a:lnTo>
                      <a:lnTo>
                        <a:pt x="4974" y="2982"/>
                      </a:lnTo>
                      <a:lnTo>
                        <a:pt x="4974" y="2994"/>
                      </a:lnTo>
                      <a:lnTo>
                        <a:pt x="4980" y="3006"/>
                      </a:lnTo>
                      <a:lnTo>
                        <a:pt x="4986" y="3018"/>
                      </a:lnTo>
                      <a:lnTo>
                        <a:pt x="4998" y="3024"/>
                      </a:lnTo>
                      <a:lnTo>
                        <a:pt x="5010" y="3036"/>
                      </a:lnTo>
                      <a:lnTo>
                        <a:pt x="5028" y="3042"/>
                      </a:lnTo>
                      <a:lnTo>
                        <a:pt x="5046" y="3054"/>
                      </a:lnTo>
                      <a:lnTo>
                        <a:pt x="5058" y="3066"/>
                      </a:lnTo>
                      <a:lnTo>
                        <a:pt x="5070" y="3078"/>
                      </a:lnTo>
                      <a:lnTo>
                        <a:pt x="5076" y="3090"/>
                      </a:lnTo>
                      <a:lnTo>
                        <a:pt x="5088" y="3108"/>
                      </a:lnTo>
                      <a:lnTo>
                        <a:pt x="5106" y="3120"/>
                      </a:lnTo>
                      <a:lnTo>
                        <a:pt x="5124" y="3138"/>
                      </a:lnTo>
                      <a:lnTo>
                        <a:pt x="5142" y="3156"/>
                      </a:lnTo>
                      <a:lnTo>
                        <a:pt x="5160" y="3180"/>
                      </a:lnTo>
                      <a:lnTo>
                        <a:pt x="5172" y="3210"/>
                      </a:lnTo>
                      <a:lnTo>
                        <a:pt x="5190" y="3240"/>
                      </a:lnTo>
                      <a:lnTo>
                        <a:pt x="5214" y="3270"/>
                      </a:lnTo>
                      <a:lnTo>
                        <a:pt x="5250" y="3288"/>
                      </a:lnTo>
                      <a:lnTo>
                        <a:pt x="5262" y="3294"/>
                      </a:lnTo>
                      <a:lnTo>
                        <a:pt x="5274" y="3306"/>
                      </a:lnTo>
                      <a:lnTo>
                        <a:pt x="5292" y="3324"/>
                      </a:lnTo>
                      <a:lnTo>
                        <a:pt x="5304" y="3342"/>
                      </a:lnTo>
                      <a:lnTo>
                        <a:pt x="5322" y="3360"/>
                      </a:lnTo>
                      <a:lnTo>
                        <a:pt x="5334" y="3372"/>
                      </a:lnTo>
                      <a:lnTo>
                        <a:pt x="5352" y="3384"/>
                      </a:lnTo>
                      <a:lnTo>
                        <a:pt x="5364" y="3390"/>
                      </a:lnTo>
                      <a:lnTo>
                        <a:pt x="5382" y="3408"/>
                      </a:lnTo>
                      <a:lnTo>
                        <a:pt x="5394" y="3414"/>
                      </a:lnTo>
                      <a:lnTo>
                        <a:pt x="5394" y="3420"/>
                      </a:lnTo>
                      <a:lnTo>
                        <a:pt x="5388" y="3420"/>
                      </a:lnTo>
                      <a:lnTo>
                        <a:pt x="5382" y="3420"/>
                      </a:lnTo>
                      <a:lnTo>
                        <a:pt x="5376" y="3414"/>
                      </a:lnTo>
                      <a:lnTo>
                        <a:pt x="5364" y="3414"/>
                      </a:lnTo>
                      <a:lnTo>
                        <a:pt x="5352" y="3408"/>
                      </a:lnTo>
                      <a:lnTo>
                        <a:pt x="5340" y="3408"/>
                      </a:lnTo>
                      <a:lnTo>
                        <a:pt x="5334" y="3408"/>
                      </a:lnTo>
                      <a:lnTo>
                        <a:pt x="5310" y="3408"/>
                      </a:lnTo>
                      <a:lnTo>
                        <a:pt x="5292" y="3408"/>
                      </a:lnTo>
                      <a:lnTo>
                        <a:pt x="5280" y="3414"/>
                      </a:lnTo>
                      <a:lnTo>
                        <a:pt x="5268" y="3420"/>
                      </a:lnTo>
                      <a:lnTo>
                        <a:pt x="5268" y="3426"/>
                      </a:lnTo>
                      <a:lnTo>
                        <a:pt x="5268" y="3438"/>
                      </a:lnTo>
                      <a:lnTo>
                        <a:pt x="5268" y="3450"/>
                      </a:lnTo>
                      <a:lnTo>
                        <a:pt x="5274" y="3456"/>
                      </a:lnTo>
                      <a:lnTo>
                        <a:pt x="5286" y="3462"/>
                      </a:lnTo>
                      <a:lnTo>
                        <a:pt x="5298" y="3468"/>
                      </a:lnTo>
                      <a:lnTo>
                        <a:pt x="5310" y="3462"/>
                      </a:lnTo>
                      <a:lnTo>
                        <a:pt x="5328" y="3462"/>
                      </a:lnTo>
                      <a:lnTo>
                        <a:pt x="5334" y="3462"/>
                      </a:lnTo>
                      <a:lnTo>
                        <a:pt x="5340" y="3468"/>
                      </a:lnTo>
                      <a:lnTo>
                        <a:pt x="5346" y="3474"/>
                      </a:lnTo>
                      <a:lnTo>
                        <a:pt x="5346" y="3480"/>
                      </a:lnTo>
                      <a:lnTo>
                        <a:pt x="5340" y="3492"/>
                      </a:lnTo>
                      <a:lnTo>
                        <a:pt x="5340" y="3498"/>
                      </a:lnTo>
                      <a:lnTo>
                        <a:pt x="5346" y="3510"/>
                      </a:lnTo>
                      <a:lnTo>
                        <a:pt x="5358" y="3516"/>
                      </a:lnTo>
                      <a:lnTo>
                        <a:pt x="5376" y="3528"/>
                      </a:lnTo>
                      <a:lnTo>
                        <a:pt x="5388" y="3534"/>
                      </a:lnTo>
                      <a:lnTo>
                        <a:pt x="5400" y="3546"/>
                      </a:lnTo>
                      <a:lnTo>
                        <a:pt x="5400" y="3558"/>
                      </a:lnTo>
                      <a:lnTo>
                        <a:pt x="5394" y="3570"/>
                      </a:lnTo>
                      <a:lnTo>
                        <a:pt x="5382" y="3582"/>
                      </a:lnTo>
                      <a:lnTo>
                        <a:pt x="5358" y="3594"/>
                      </a:lnTo>
                      <a:lnTo>
                        <a:pt x="5334" y="3606"/>
                      </a:lnTo>
                      <a:lnTo>
                        <a:pt x="5310" y="3618"/>
                      </a:lnTo>
                      <a:lnTo>
                        <a:pt x="5292" y="3630"/>
                      </a:lnTo>
                      <a:lnTo>
                        <a:pt x="5286" y="3642"/>
                      </a:lnTo>
                      <a:lnTo>
                        <a:pt x="5286" y="3648"/>
                      </a:lnTo>
                      <a:lnTo>
                        <a:pt x="5292" y="3660"/>
                      </a:lnTo>
                      <a:lnTo>
                        <a:pt x="5298" y="3666"/>
                      </a:lnTo>
                      <a:lnTo>
                        <a:pt x="5310" y="3666"/>
                      </a:lnTo>
                      <a:lnTo>
                        <a:pt x="5322" y="3672"/>
                      </a:lnTo>
                      <a:lnTo>
                        <a:pt x="5334" y="3666"/>
                      </a:lnTo>
                      <a:lnTo>
                        <a:pt x="5346" y="3666"/>
                      </a:lnTo>
                      <a:lnTo>
                        <a:pt x="5364" y="3660"/>
                      </a:lnTo>
                      <a:lnTo>
                        <a:pt x="5376" y="3654"/>
                      </a:lnTo>
                      <a:lnTo>
                        <a:pt x="5388" y="3654"/>
                      </a:lnTo>
                      <a:lnTo>
                        <a:pt x="5412" y="3654"/>
                      </a:lnTo>
                      <a:lnTo>
                        <a:pt x="5430" y="3660"/>
                      </a:lnTo>
                      <a:lnTo>
                        <a:pt x="5448" y="3672"/>
                      </a:lnTo>
                      <a:lnTo>
                        <a:pt x="5454" y="3684"/>
                      </a:lnTo>
                      <a:lnTo>
                        <a:pt x="5460" y="3696"/>
                      </a:lnTo>
                      <a:lnTo>
                        <a:pt x="5454" y="3714"/>
                      </a:lnTo>
                      <a:lnTo>
                        <a:pt x="5448" y="3732"/>
                      </a:lnTo>
                      <a:lnTo>
                        <a:pt x="5454" y="3756"/>
                      </a:lnTo>
                      <a:lnTo>
                        <a:pt x="5460" y="3768"/>
                      </a:lnTo>
                      <a:lnTo>
                        <a:pt x="5478" y="3786"/>
                      </a:lnTo>
                      <a:lnTo>
                        <a:pt x="5484" y="3792"/>
                      </a:lnTo>
                      <a:lnTo>
                        <a:pt x="5490" y="3798"/>
                      </a:lnTo>
                      <a:lnTo>
                        <a:pt x="5484" y="3804"/>
                      </a:lnTo>
                      <a:lnTo>
                        <a:pt x="5478" y="3810"/>
                      </a:lnTo>
                      <a:lnTo>
                        <a:pt x="5466" y="3816"/>
                      </a:lnTo>
                      <a:lnTo>
                        <a:pt x="5454" y="3822"/>
                      </a:lnTo>
                      <a:lnTo>
                        <a:pt x="5448" y="3834"/>
                      </a:lnTo>
                      <a:lnTo>
                        <a:pt x="5442" y="3840"/>
                      </a:lnTo>
                      <a:lnTo>
                        <a:pt x="5448" y="3852"/>
                      </a:lnTo>
                      <a:lnTo>
                        <a:pt x="5448" y="3864"/>
                      </a:lnTo>
                      <a:lnTo>
                        <a:pt x="5454" y="3876"/>
                      </a:lnTo>
                      <a:lnTo>
                        <a:pt x="5454" y="3894"/>
                      </a:lnTo>
                      <a:lnTo>
                        <a:pt x="5454" y="3912"/>
                      </a:lnTo>
                      <a:lnTo>
                        <a:pt x="5448" y="3930"/>
                      </a:lnTo>
                      <a:lnTo>
                        <a:pt x="5436" y="3948"/>
                      </a:lnTo>
                      <a:lnTo>
                        <a:pt x="5424" y="3966"/>
                      </a:lnTo>
                      <a:lnTo>
                        <a:pt x="5412" y="3978"/>
                      </a:lnTo>
                      <a:lnTo>
                        <a:pt x="5394" y="3984"/>
                      </a:lnTo>
                      <a:lnTo>
                        <a:pt x="5382" y="3990"/>
                      </a:lnTo>
                      <a:lnTo>
                        <a:pt x="5376" y="3990"/>
                      </a:lnTo>
                      <a:lnTo>
                        <a:pt x="5370" y="3996"/>
                      </a:lnTo>
                      <a:lnTo>
                        <a:pt x="5370" y="4002"/>
                      </a:lnTo>
                      <a:lnTo>
                        <a:pt x="5370" y="4008"/>
                      </a:lnTo>
                      <a:lnTo>
                        <a:pt x="5376" y="4014"/>
                      </a:lnTo>
                      <a:lnTo>
                        <a:pt x="5376" y="4026"/>
                      </a:lnTo>
                      <a:lnTo>
                        <a:pt x="5376" y="4038"/>
                      </a:lnTo>
                      <a:lnTo>
                        <a:pt x="5382" y="4050"/>
                      </a:lnTo>
                      <a:lnTo>
                        <a:pt x="5382" y="4062"/>
                      </a:lnTo>
                      <a:lnTo>
                        <a:pt x="5376" y="4074"/>
                      </a:lnTo>
                      <a:lnTo>
                        <a:pt x="5370" y="4074"/>
                      </a:lnTo>
                      <a:lnTo>
                        <a:pt x="5364" y="4086"/>
                      </a:lnTo>
                      <a:lnTo>
                        <a:pt x="5358" y="4092"/>
                      </a:lnTo>
                      <a:lnTo>
                        <a:pt x="5364" y="4104"/>
                      </a:lnTo>
                      <a:lnTo>
                        <a:pt x="5364" y="4110"/>
                      </a:lnTo>
                      <a:lnTo>
                        <a:pt x="5376" y="4116"/>
                      </a:lnTo>
                      <a:lnTo>
                        <a:pt x="5382" y="4128"/>
                      </a:lnTo>
                      <a:lnTo>
                        <a:pt x="5382" y="4134"/>
                      </a:lnTo>
                      <a:lnTo>
                        <a:pt x="5382" y="4146"/>
                      </a:lnTo>
                      <a:lnTo>
                        <a:pt x="5382" y="4158"/>
                      </a:lnTo>
                      <a:lnTo>
                        <a:pt x="5376" y="4170"/>
                      </a:lnTo>
                      <a:lnTo>
                        <a:pt x="5364" y="4176"/>
                      </a:lnTo>
                      <a:lnTo>
                        <a:pt x="5358" y="4182"/>
                      </a:lnTo>
                      <a:lnTo>
                        <a:pt x="5352" y="4194"/>
                      </a:lnTo>
                      <a:lnTo>
                        <a:pt x="5352" y="4206"/>
                      </a:lnTo>
                      <a:lnTo>
                        <a:pt x="5346" y="4218"/>
                      </a:lnTo>
                      <a:lnTo>
                        <a:pt x="5334" y="4230"/>
                      </a:lnTo>
                      <a:lnTo>
                        <a:pt x="5328" y="4236"/>
                      </a:lnTo>
                      <a:lnTo>
                        <a:pt x="5328" y="4248"/>
                      </a:lnTo>
                      <a:lnTo>
                        <a:pt x="5328" y="4260"/>
                      </a:lnTo>
                      <a:lnTo>
                        <a:pt x="5328" y="4266"/>
                      </a:lnTo>
                      <a:lnTo>
                        <a:pt x="5334" y="4278"/>
                      </a:lnTo>
                      <a:lnTo>
                        <a:pt x="5334" y="4284"/>
                      </a:lnTo>
                      <a:lnTo>
                        <a:pt x="5328" y="4290"/>
                      </a:lnTo>
                      <a:lnTo>
                        <a:pt x="5322" y="4290"/>
                      </a:lnTo>
                      <a:lnTo>
                        <a:pt x="5316" y="4290"/>
                      </a:lnTo>
                      <a:lnTo>
                        <a:pt x="5316" y="4296"/>
                      </a:lnTo>
                      <a:lnTo>
                        <a:pt x="5316" y="4308"/>
                      </a:lnTo>
                      <a:lnTo>
                        <a:pt x="5316" y="4320"/>
                      </a:lnTo>
                      <a:lnTo>
                        <a:pt x="5316" y="4332"/>
                      </a:lnTo>
                      <a:lnTo>
                        <a:pt x="5316" y="4344"/>
                      </a:lnTo>
                      <a:lnTo>
                        <a:pt x="5316" y="4356"/>
                      </a:lnTo>
                      <a:lnTo>
                        <a:pt x="5316" y="4368"/>
                      </a:lnTo>
                      <a:lnTo>
                        <a:pt x="5310" y="4374"/>
                      </a:lnTo>
                      <a:lnTo>
                        <a:pt x="5298" y="4386"/>
                      </a:lnTo>
                      <a:lnTo>
                        <a:pt x="5292" y="4398"/>
                      </a:lnTo>
                      <a:lnTo>
                        <a:pt x="5286" y="4410"/>
                      </a:lnTo>
                      <a:lnTo>
                        <a:pt x="5286" y="4422"/>
                      </a:lnTo>
                      <a:lnTo>
                        <a:pt x="5280" y="4434"/>
                      </a:lnTo>
                      <a:lnTo>
                        <a:pt x="5274" y="4440"/>
                      </a:lnTo>
                      <a:lnTo>
                        <a:pt x="5268" y="4440"/>
                      </a:lnTo>
                      <a:lnTo>
                        <a:pt x="5262" y="4452"/>
                      </a:lnTo>
                      <a:lnTo>
                        <a:pt x="5256" y="4458"/>
                      </a:lnTo>
                      <a:lnTo>
                        <a:pt x="5250" y="4470"/>
                      </a:lnTo>
                      <a:lnTo>
                        <a:pt x="5244" y="4476"/>
                      </a:lnTo>
                      <a:lnTo>
                        <a:pt x="5238" y="4482"/>
                      </a:lnTo>
                      <a:lnTo>
                        <a:pt x="5226" y="4488"/>
                      </a:lnTo>
                      <a:lnTo>
                        <a:pt x="5214" y="4488"/>
                      </a:lnTo>
                      <a:lnTo>
                        <a:pt x="5208" y="4494"/>
                      </a:lnTo>
                      <a:lnTo>
                        <a:pt x="5202" y="4506"/>
                      </a:lnTo>
                      <a:lnTo>
                        <a:pt x="5202" y="4518"/>
                      </a:lnTo>
                      <a:lnTo>
                        <a:pt x="5208" y="4530"/>
                      </a:lnTo>
                      <a:lnTo>
                        <a:pt x="5214" y="4548"/>
                      </a:lnTo>
                      <a:lnTo>
                        <a:pt x="5220" y="4560"/>
                      </a:lnTo>
                      <a:lnTo>
                        <a:pt x="5214" y="4572"/>
                      </a:lnTo>
                      <a:lnTo>
                        <a:pt x="5208" y="4578"/>
                      </a:lnTo>
                      <a:lnTo>
                        <a:pt x="5196" y="4584"/>
                      </a:lnTo>
                      <a:lnTo>
                        <a:pt x="5184" y="4584"/>
                      </a:lnTo>
                      <a:lnTo>
                        <a:pt x="5172" y="4590"/>
                      </a:lnTo>
                      <a:lnTo>
                        <a:pt x="5160" y="4590"/>
                      </a:lnTo>
                      <a:lnTo>
                        <a:pt x="5148" y="4590"/>
                      </a:lnTo>
                      <a:lnTo>
                        <a:pt x="5142" y="4596"/>
                      </a:lnTo>
                      <a:lnTo>
                        <a:pt x="5136" y="4602"/>
                      </a:lnTo>
                      <a:lnTo>
                        <a:pt x="5130" y="4608"/>
                      </a:lnTo>
                      <a:lnTo>
                        <a:pt x="5124" y="4620"/>
                      </a:lnTo>
                      <a:lnTo>
                        <a:pt x="5118" y="4632"/>
                      </a:lnTo>
                      <a:lnTo>
                        <a:pt x="5118" y="4638"/>
                      </a:lnTo>
                      <a:lnTo>
                        <a:pt x="5112" y="4644"/>
                      </a:lnTo>
                      <a:lnTo>
                        <a:pt x="5106" y="4644"/>
                      </a:lnTo>
                      <a:lnTo>
                        <a:pt x="5100" y="4644"/>
                      </a:lnTo>
                      <a:lnTo>
                        <a:pt x="5100" y="4650"/>
                      </a:lnTo>
                      <a:lnTo>
                        <a:pt x="5094" y="4656"/>
                      </a:lnTo>
                      <a:lnTo>
                        <a:pt x="5088" y="4662"/>
                      </a:lnTo>
                      <a:lnTo>
                        <a:pt x="5082" y="4680"/>
                      </a:lnTo>
                      <a:lnTo>
                        <a:pt x="5076" y="4698"/>
                      </a:lnTo>
                      <a:lnTo>
                        <a:pt x="5058" y="4716"/>
                      </a:lnTo>
                      <a:lnTo>
                        <a:pt x="5046" y="4728"/>
                      </a:lnTo>
                      <a:lnTo>
                        <a:pt x="5034" y="4734"/>
                      </a:lnTo>
                      <a:lnTo>
                        <a:pt x="5016" y="4740"/>
                      </a:lnTo>
                      <a:lnTo>
                        <a:pt x="5004" y="4740"/>
                      </a:lnTo>
                      <a:lnTo>
                        <a:pt x="4986" y="4734"/>
                      </a:lnTo>
                      <a:lnTo>
                        <a:pt x="4968" y="4734"/>
                      </a:lnTo>
                      <a:lnTo>
                        <a:pt x="4956" y="4746"/>
                      </a:lnTo>
                      <a:lnTo>
                        <a:pt x="4944" y="4752"/>
                      </a:lnTo>
                      <a:lnTo>
                        <a:pt x="4938" y="4764"/>
                      </a:lnTo>
                      <a:lnTo>
                        <a:pt x="4926" y="4770"/>
                      </a:lnTo>
                      <a:lnTo>
                        <a:pt x="4920" y="4776"/>
                      </a:lnTo>
                      <a:lnTo>
                        <a:pt x="4914" y="4776"/>
                      </a:lnTo>
                      <a:lnTo>
                        <a:pt x="4902" y="4776"/>
                      </a:lnTo>
                      <a:lnTo>
                        <a:pt x="4896" y="4776"/>
                      </a:lnTo>
                      <a:lnTo>
                        <a:pt x="4884" y="4776"/>
                      </a:lnTo>
                      <a:lnTo>
                        <a:pt x="4872" y="4782"/>
                      </a:lnTo>
                      <a:lnTo>
                        <a:pt x="4860" y="4794"/>
                      </a:lnTo>
                      <a:lnTo>
                        <a:pt x="4848" y="4812"/>
                      </a:lnTo>
                      <a:lnTo>
                        <a:pt x="4836" y="4824"/>
                      </a:lnTo>
                      <a:lnTo>
                        <a:pt x="4824" y="4830"/>
                      </a:lnTo>
                      <a:lnTo>
                        <a:pt x="4818" y="4836"/>
                      </a:lnTo>
                      <a:lnTo>
                        <a:pt x="4806" y="4830"/>
                      </a:lnTo>
                      <a:lnTo>
                        <a:pt x="4794" y="4824"/>
                      </a:lnTo>
                      <a:lnTo>
                        <a:pt x="4782" y="4806"/>
                      </a:lnTo>
                      <a:lnTo>
                        <a:pt x="4770" y="4800"/>
                      </a:lnTo>
                      <a:lnTo>
                        <a:pt x="4758" y="4794"/>
                      </a:lnTo>
                      <a:lnTo>
                        <a:pt x="4752" y="4794"/>
                      </a:lnTo>
                      <a:lnTo>
                        <a:pt x="4752" y="4794"/>
                      </a:lnTo>
                      <a:lnTo>
                        <a:pt x="4752" y="4806"/>
                      </a:lnTo>
                      <a:lnTo>
                        <a:pt x="4752" y="4818"/>
                      </a:lnTo>
                      <a:lnTo>
                        <a:pt x="4752" y="4836"/>
                      </a:lnTo>
                      <a:lnTo>
                        <a:pt x="4752" y="4848"/>
                      </a:lnTo>
                      <a:lnTo>
                        <a:pt x="4752" y="4860"/>
                      </a:lnTo>
                      <a:lnTo>
                        <a:pt x="4746" y="4866"/>
                      </a:lnTo>
                      <a:lnTo>
                        <a:pt x="4740" y="4866"/>
                      </a:lnTo>
                      <a:lnTo>
                        <a:pt x="4734" y="4866"/>
                      </a:lnTo>
                      <a:lnTo>
                        <a:pt x="4734" y="4872"/>
                      </a:lnTo>
                      <a:lnTo>
                        <a:pt x="4728" y="4878"/>
                      </a:lnTo>
                      <a:lnTo>
                        <a:pt x="4710" y="4902"/>
                      </a:lnTo>
                      <a:lnTo>
                        <a:pt x="4674" y="4926"/>
                      </a:lnTo>
                      <a:lnTo>
                        <a:pt x="4620" y="4944"/>
                      </a:lnTo>
                      <a:lnTo>
                        <a:pt x="4566" y="4962"/>
                      </a:lnTo>
                      <a:lnTo>
                        <a:pt x="4524" y="4980"/>
                      </a:lnTo>
                      <a:lnTo>
                        <a:pt x="4506" y="4998"/>
                      </a:lnTo>
                      <a:lnTo>
                        <a:pt x="4500" y="5010"/>
                      </a:lnTo>
                      <a:lnTo>
                        <a:pt x="4494" y="5022"/>
                      </a:lnTo>
                      <a:lnTo>
                        <a:pt x="4494" y="5034"/>
                      </a:lnTo>
                      <a:lnTo>
                        <a:pt x="4494" y="5040"/>
                      </a:lnTo>
                      <a:lnTo>
                        <a:pt x="4494" y="5052"/>
                      </a:lnTo>
                      <a:lnTo>
                        <a:pt x="4506" y="5052"/>
                      </a:lnTo>
                      <a:lnTo>
                        <a:pt x="4512" y="5058"/>
                      </a:lnTo>
                      <a:lnTo>
                        <a:pt x="4518" y="5070"/>
                      </a:lnTo>
                      <a:lnTo>
                        <a:pt x="4518" y="5076"/>
                      </a:lnTo>
                      <a:lnTo>
                        <a:pt x="4518" y="5088"/>
                      </a:lnTo>
                      <a:lnTo>
                        <a:pt x="4512" y="5094"/>
                      </a:lnTo>
                      <a:lnTo>
                        <a:pt x="4500" y="5106"/>
                      </a:lnTo>
                      <a:lnTo>
                        <a:pt x="4488" y="5106"/>
                      </a:lnTo>
                      <a:lnTo>
                        <a:pt x="4476" y="5106"/>
                      </a:lnTo>
                      <a:lnTo>
                        <a:pt x="4464" y="5106"/>
                      </a:lnTo>
                      <a:lnTo>
                        <a:pt x="4458" y="5100"/>
                      </a:lnTo>
                      <a:lnTo>
                        <a:pt x="4452" y="5094"/>
                      </a:lnTo>
                      <a:lnTo>
                        <a:pt x="4440" y="5088"/>
                      </a:lnTo>
                      <a:lnTo>
                        <a:pt x="4428" y="5082"/>
                      </a:lnTo>
                      <a:lnTo>
                        <a:pt x="4416" y="5076"/>
                      </a:lnTo>
                      <a:lnTo>
                        <a:pt x="4404" y="5070"/>
                      </a:lnTo>
                      <a:lnTo>
                        <a:pt x="4398" y="5058"/>
                      </a:lnTo>
                      <a:lnTo>
                        <a:pt x="4398" y="5046"/>
                      </a:lnTo>
                      <a:lnTo>
                        <a:pt x="4398" y="5034"/>
                      </a:lnTo>
                      <a:lnTo>
                        <a:pt x="4398" y="5016"/>
                      </a:lnTo>
                      <a:lnTo>
                        <a:pt x="4398" y="4992"/>
                      </a:lnTo>
                      <a:lnTo>
                        <a:pt x="4392" y="4974"/>
                      </a:lnTo>
                      <a:lnTo>
                        <a:pt x="4380" y="4962"/>
                      </a:lnTo>
                      <a:lnTo>
                        <a:pt x="4368" y="4950"/>
                      </a:lnTo>
                      <a:lnTo>
                        <a:pt x="4356" y="4950"/>
                      </a:lnTo>
                      <a:lnTo>
                        <a:pt x="4344" y="4956"/>
                      </a:lnTo>
                      <a:lnTo>
                        <a:pt x="4332" y="4956"/>
                      </a:lnTo>
                      <a:lnTo>
                        <a:pt x="4320" y="4956"/>
                      </a:lnTo>
                      <a:lnTo>
                        <a:pt x="4308" y="4956"/>
                      </a:lnTo>
                      <a:lnTo>
                        <a:pt x="4302" y="4956"/>
                      </a:lnTo>
                      <a:lnTo>
                        <a:pt x="4290" y="4956"/>
                      </a:lnTo>
                      <a:lnTo>
                        <a:pt x="4278" y="4962"/>
                      </a:lnTo>
                      <a:lnTo>
                        <a:pt x="4266" y="4962"/>
                      </a:lnTo>
                      <a:lnTo>
                        <a:pt x="4260" y="4962"/>
                      </a:lnTo>
                      <a:lnTo>
                        <a:pt x="4260" y="4956"/>
                      </a:lnTo>
                      <a:lnTo>
                        <a:pt x="4254" y="4950"/>
                      </a:lnTo>
                      <a:lnTo>
                        <a:pt x="4242" y="4950"/>
                      </a:lnTo>
                      <a:lnTo>
                        <a:pt x="4236" y="4950"/>
                      </a:lnTo>
                      <a:lnTo>
                        <a:pt x="4218" y="4956"/>
                      </a:lnTo>
                      <a:lnTo>
                        <a:pt x="4206" y="4962"/>
                      </a:lnTo>
                      <a:lnTo>
                        <a:pt x="4194" y="4974"/>
                      </a:lnTo>
                      <a:lnTo>
                        <a:pt x="4176" y="4986"/>
                      </a:lnTo>
                      <a:lnTo>
                        <a:pt x="4164" y="4992"/>
                      </a:lnTo>
                      <a:lnTo>
                        <a:pt x="4152" y="5004"/>
                      </a:lnTo>
                      <a:lnTo>
                        <a:pt x="4158" y="5004"/>
                      </a:lnTo>
                      <a:lnTo>
                        <a:pt x="4116" y="4980"/>
                      </a:lnTo>
                      <a:lnTo>
                        <a:pt x="4074" y="4974"/>
                      </a:lnTo>
                      <a:lnTo>
                        <a:pt x="4056" y="4902"/>
                      </a:lnTo>
                      <a:lnTo>
                        <a:pt x="3984" y="4848"/>
                      </a:lnTo>
                      <a:lnTo>
                        <a:pt x="3942" y="4788"/>
                      </a:lnTo>
                      <a:lnTo>
                        <a:pt x="3864" y="4764"/>
                      </a:lnTo>
                      <a:lnTo>
                        <a:pt x="3792" y="4764"/>
                      </a:lnTo>
                      <a:lnTo>
                        <a:pt x="3774" y="4878"/>
                      </a:lnTo>
                      <a:lnTo>
                        <a:pt x="3702" y="4872"/>
                      </a:lnTo>
                      <a:lnTo>
                        <a:pt x="3672" y="4878"/>
                      </a:lnTo>
                      <a:lnTo>
                        <a:pt x="3618" y="4860"/>
                      </a:lnTo>
                      <a:lnTo>
                        <a:pt x="3588" y="4896"/>
                      </a:lnTo>
                      <a:lnTo>
                        <a:pt x="3528" y="4896"/>
                      </a:lnTo>
                      <a:lnTo>
                        <a:pt x="3480" y="4932"/>
                      </a:lnTo>
                      <a:lnTo>
                        <a:pt x="3468" y="4980"/>
                      </a:lnTo>
                      <a:lnTo>
                        <a:pt x="3480" y="5022"/>
                      </a:lnTo>
                      <a:lnTo>
                        <a:pt x="3336" y="5022"/>
                      </a:lnTo>
                      <a:lnTo>
                        <a:pt x="3294" y="4986"/>
                      </a:lnTo>
                      <a:lnTo>
                        <a:pt x="3234" y="4974"/>
                      </a:lnTo>
                      <a:lnTo>
                        <a:pt x="3240" y="4830"/>
                      </a:lnTo>
                      <a:lnTo>
                        <a:pt x="3132" y="4776"/>
                      </a:lnTo>
                      <a:lnTo>
                        <a:pt x="3114" y="4722"/>
                      </a:lnTo>
                      <a:lnTo>
                        <a:pt x="3006" y="4710"/>
                      </a:lnTo>
                      <a:lnTo>
                        <a:pt x="2988" y="4650"/>
                      </a:lnTo>
                      <a:lnTo>
                        <a:pt x="3000" y="4584"/>
                      </a:lnTo>
                      <a:lnTo>
                        <a:pt x="3060" y="4530"/>
                      </a:lnTo>
                      <a:lnTo>
                        <a:pt x="3066" y="4452"/>
                      </a:lnTo>
                      <a:lnTo>
                        <a:pt x="3078" y="4374"/>
                      </a:lnTo>
                      <a:lnTo>
                        <a:pt x="3060" y="4320"/>
                      </a:lnTo>
                      <a:lnTo>
                        <a:pt x="3006" y="4272"/>
                      </a:lnTo>
                      <a:lnTo>
                        <a:pt x="2994" y="4230"/>
                      </a:lnTo>
                      <a:lnTo>
                        <a:pt x="2964" y="4194"/>
                      </a:lnTo>
                      <a:lnTo>
                        <a:pt x="2916" y="4134"/>
                      </a:lnTo>
                      <a:lnTo>
                        <a:pt x="2826" y="4170"/>
                      </a:lnTo>
                      <a:lnTo>
                        <a:pt x="2772" y="4146"/>
                      </a:lnTo>
                      <a:lnTo>
                        <a:pt x="2760" y="4074"/>
                      </a:lnTo>
                      <a:lnTo>
                        <a:pt x="2718" y="4008"/>
                      </a:lnTo>
                      <a:lnTo>
                        <a:pt x="2694" y="4026"/>
                      </a:lnTo>
                      <a:lnTo>
                        <a:pt x="2658" y="4062"/>
                      </a:lnTo>
                      <a:lnTo>
                        <a:pt x="2610" y="4074"/>
                      </a:lnTo>
                      <a:lnTo>
                        <a:pt x="2538" y="4050"/>
                      </a:lnTo>
                      <a:lnTo>
                        <a:pt x="2508" y="4062"/>
                      </a:lnTo>
                      <a:lnTo>
                        <a:pt x="2430" y="4164"/>
                      </a:lnTo>
                      <a:lnTo>
                        <a:pt x="2394" y="4212"/>
                      </a:lnTo>
                      <a:lnTo>
                        <a:pt x="2364" y="4242"/>
                      </a:lnTo>
                      <a:lnTo>
                        <a:pt x="2286" y="4266"/>
                      </a:lnTo>
                      <a:lnTo>
                        <a:pt x="2214" y="4224"/>
                      </a:lnTo>
                      <a:lnTo>
                        <a:pt x="2136" y="4230"/>
                      </a:lnTo>
                      <a:lnTo>
                        <a:pt x="2064" y="4230"/>
                      </a:lnTo>
                      <a:lnTo>
                        <a:pt x="2022" y="4236"/>
                      </a:lnTo>
                      <a:lnTo>
                        <a:pt x="1992" y="4272"/>
                      </a:lnTo>
                      <a:lnTo>
                        <a:pt x="1926" y="4254"/>
                      </a:lnTo>
                      <a:lnTo>
                        <a:pt x="1890" y="4272"/>
                      </a:lnTo>
                      <a:lnTo>
                        <a:pt x="1788" y="4278"/>
                      </a:lnTo>
                      <a:lnTo>
                        <a:pt x="1740" y="4242"/>
                      </a:lnTo>
                      <a:lnTo>
                        <a:pt x="1686" y="4236"/>
                      </a:lnTo>
                      <a:lnTo>
                        <a:pt x="1644" y="4188"/>
                      </a:lnTo>
                      <a:lnTo>
                        <a:pt x="1566" y="4164"/>
                      </a:lnTo>
                      <a:lnTo>
                        <a:pt x="1482" y="4152"/>
                      </a:lnTo>
                      <a:lnTo>
                        <a:pt x="1428" y="4122"/>
                      </a:lnTo>
                      <a:lnTo>
                        <a:pt x="1386" y="4104"/>
                      </a:lnTo>
                      <a:lnTo>
                        <a:pt x="1356" y="4104"/>
                      </a:lnTo>
                      <a:lnTo>
                        <a:pt x="1320" y="4074"/>
                      </a:lnTo>
                      <a:lnTo>
                        <a:pt x="1278" y="4032"/>
                      </a:lnTo>
                      <a:lnTo>
                        <a:pt x="1236" y="4014"/>
                      </a:lnTo>
                      <a:lnTo>
                        <a:pt x="1080" y="4008"/>
                      </a:lnTo>
                      <a:lnTo>
                        <a:pt x="1014" y="3966"/>
                      </a:lnTo>
                      <a:lnTo>
                        <a:pt x="948" y="3948"/>
                      </a:lnTo>
                      <a:lnTo>
                        <a:pt x="888" y="3912"/>
                      </a:lnTo>
                      <a:lnTo>
                        <a:pt x="840" y="3864"/>
                      </a:lnTo>
                      <a:lnTo>
                        <a:pt x="804" y="3744"/>
                      </a:lnTo>
                      <a:lnTo>
                        <a:pt x="858" y="3720"/>
                      </a:lnTo>
                      <a:lnTo>
                        <a:pt x="882" y="3660"/>
                      </a:lnTo>
                      <a:lnTo>
                        <a:pt x="822" y="3630"/>
                      </a:lnTo>
                      <a:lnTo>
                        <a:pt x="786" y="3528"/>
                      </a:lnTo>
                      <a:lnTo>
                        <a:pt x="726" y="3498"/>
                      </a:lnTo>
                      <a:lnTo>
                        <a:pt x="690" y="3450"/>
                      </a:lnTo>
                      <a:lnTo>
                        <a:pt x="636" y="3432"/>
                      </a:lnTo>
                      <a:lnTo>
                        <a:pt x="600" y="3378"/>
                      </a:lnTo>
                      <a:lnTo>
                        <a:pt x="552" y="3324"/>
                      </a:lnTo>
                      <a:lnTo>
                        <a:pt x="504" y="3288"/>
                      </a:lnTo>
                      <a:lnTo>
                        <a:pt x="468" y="3222"/>
                      </a:lnTo>
                      <a:lnTo>
                        <a:pt x="432" y="3174"/>
                      </a:lnTo>
                      <a:lnTo>
                        <a:pt x="390" y="3120"/>
                      </a:lnTo>
                      <a:lnTo>
                        <a:pt x="258" y="3102"/>
                      </a:lnTo>
                      <a:lnTo>
                        <a:pt x="228" y="3042"/>
                      </a:lnTo>
                      <a:lnTo>
                        <a:pt x="222" y="2976"/>
                      </a:lnTo>
                      <a:lnTo>
                        <a:pt x="168" y="2940"/>
                      </a:lnTo>
                      <a:lnTo>
                        <a:pt x="120" y="2910"/>
                      </a:lnTo>
                      <a:lnTo>
                        <a:pt x="60" y="2892"/>
                      </a:lnTo>
                      <a:lnTo>
                        <a:pt x="0" y="2844"/>
                      </a:lnTo>
                      <a:lnTo>
                        <a:pt x="36" y="2808"/>
                      </a:lnTo>
                      <a:lnTo>
                        <a:pt x="78" y="2808"/>
                      </a:lnTo>
                      <a:lnTo>
                        <a:pt x="72" y="2724"/>
                      </a:lnTo>
                      <a:lnTo>
                        <a:pt x="138" y="2676"/>
                      </a:lnTo>
                      <a:lnTo>
                        <a:pt x="186" y="2658"/>
                      </a:lnTo>
                      <a:lnTo>
                        <a:pt x="228" y="2694"/>
                      </a:lnTo>
                      <a:lnTo>
                        <a:pt x="348" y="2592"/>
                      </a:lnTo>
                      <a:lnTo>
                        <a:pt x="396" y="2562"/>
                      </a:lnTo>
                      <a:lnTo>
                        <a:pt x="468" y="2538"/>
                      </a:lnTo>
                      <a:lnTo>
                        <a:pt x="492" y="2478"/>
                      </a:lnTo>
                      <a:lnTo>
                        <a:pt x="600" y="2412"/>
                      </a:lnTo>
                      <a:lnTo>
                        <a:pt x="612" y="2352"/>
                      </a:lnTo>
                      <a:lnTo>
                        <a:pt x="624" y="2280"/>
                      </a:lnTo>
                      <a:lnTo>
                        <a:pt x="660" y="2244"/>
                      </a:lnTo>
                      <a:lnTo>
                        <a:pt x="618" y="2076"/>
                      </a:lnTo>
                      <a:lnTo>
                        <a:pt x="510" y="1980"/>
                      </a:lnTo>
                      <a:lnTo>
                        <a:pt x="492" y="1938"/>
                      </a:lnTo>
                      <a:lnTo>
                        <a:pt x="552" y="1884"/>
                      </a:lnTo>
                      <a:lnTo>
                        <a:pt x="606" y="1878"/>
                      </a:lnTo>
                      <a:lnTo>
                        <a:pt x="672" y="1932"/>
                      </a:lnTo>
                      <a:lnTo>
                        <a:pt x="714" y="1932"/>
                      </a:lnTo>
                      <a:lnTo>
                        <a:pt x="726" y="1878"/>
                      </a:lnTo>
                      <a:lnTo>
                        <a:pt x="648" y="1806"/>
                      </a:lnTo>
                      <a:lnTo>
                        <a:pt x="660" y="1746"/>
                      </a:lnTo>
                      <a:lnTo>
                        <a:pt x="684" y="1686"/>
                      </a:lnTo>
                      <a:lnTo>
                        <a:pt x="696" y="1566"/>
                      </a:lnTo>
                      <a:lnTo>
                        <a:pt x="828" y="1572"/>
                      </a:lnTo>
                      <a:lnTo>
                        <a:pt x="900" y="1554"/>
                      </a:lnTo>
                      <a:lnTo>
                        <a:pt x="942" y="1518"/>
                      </a:lnTo>
                      <a:lnTo>
                        <a:pt x="912" y="1440"/>
                      </a:lnTo>
                      <a:lnTo>
                        <a:pt x="918" y="1386"/>
                      </a:lnTo>
                      <a:lnTo>
                        <a:pt x="978" y="1362"/>
                      </a:lnTo>
                      <a:lnTo>
                        <a:pt x="990" y="1314"/>
                      </a:lnTo>
                      <a:lnTo>
                        <a:pt x="996" y="1218"/>
                      </a:lnTo>
                      <a:lnTo>
                        <a:pt x="1050" y="1218"/>
                      </a:lnTo>
                      <a:lnTo>
                        <a:pt x="1074" y="1236"/>
                      </a:lnTo>
                      <a:lnTo>
                        <a:pt x="1074" y="1236"/>
                      </a:lnTo>
                      <a:lnTo>
                        <a:pt x="1110" y="1320"/>
                      </a:lnTo>
                      <a:lnTo>
                        <a:pt x="1200" y="1404"/>
                      </a:lnTo>
                      <a:lnTo>
                        <a:pt x="1302" y="1410"/>
                      </a:lnTo>
                      <a:lnTo>
                        <a:pt x="1350" y="1452"/>
                      </a:lnTo>
                      <a:lnTo>
                        <a:pt x="1416" y="1470"/>
                      </a:lnTo>
                      <a:lnTo>
                        <a:pt x="1470" y="1536"/>
                      </a:lnTo>
                      <a:lnTo>
                        <a:pt x="1494" y="1602"/>
                      </a:lnTo>
                      <a:lnTo>
                        <a:pt x="1506" y="1638"/>
                      </a:lnTo>
                      <a:lnTo>
                        <a:pt x="1518" y="1716"/>
                      </a:lnTo>
                      <a:lnTo>
                        <a:pt x="1518" y="1770"/>
                      </a:lnTo>
                      <a:lnTo>
                        <a:pt x="1584" y="1824"/>
                      </a:lnTo>
                      <a:lnTo>
                        <a:pt x="1686" y="1848"/>
                      </a:lnTo>
                      <a:lnTo>
                        <a:pt x="1836" y="1908"/>
                      </a:lnTo>
                      <a:lnTo>
                        <a:pt x="1962" y="1896"/>
                      </a:lnTo>
                      <a:lnTo>
                        <a:pt x="2034" y="1914"/>
                      </a:lnTo>
                      <a:lnTo>
                        <a:pt x="2088" y="1986"/>
                      </a:lnTo>
                      <a:lnTo>
                        <a:pt x="2124" y="2082"/>
                      </a:lnTo>
                      <a:lnTo>
                        <a:pt x="2262" y="2124"/>
                      </a:lnTo>
                      <a:lnTo>
                        <a:pt x="2448" y="2136"/>
                      </a:lnTo>
                      <a:lnTo>
                        <a:pt x="2580" y="2082"/>
                      </a:lnTo>
                      <a:lnTo>
                        <a:pt x="2664" y="2064"/>
                      </a:lnTo>
                      <a:lnTo>
                        <a:pt x="2796" y="2118"/>
                      </a:lnTo>
                      <a:lnTo>
                        <a:pt x="2922" y="2154"/>
                      </a:lnTo>
                      <a:lnTo>
                        <a:pt x="3102" y="2160"/>
                      </a:lnTo>
                      <a:lnTo>
                        <a:pt x="3174" y="2136"/>
                      </a:lnTo>
                      <a:lnTo>
                        <a:pt x="3246" y="2070"/>
                      </a:lnTo>
                      <a:lnTo>
                        <a:pt x="3342" y="2016"/>
                      </a:lnTo>
                      <a:lnTo>
                        <a:pt x="3426" y="2004"/>
                      </a:lnTo>
                      <a:lnTo>
                        <a:pt x="3528" y="1992"/>
                      </a:lnTo>
                      <a:lnTo>
                        <a:pt x="3588" y="1956"/>
                      </a:lnTo>
                      <a:lnTo>
                        <a:pt x="3600" y="1890"/>
                      </a:lnTo>
                      <a:lnTo>
                        <a:pt x="3708" y="1812"/>
                      </a:lnTo>
                      <a:lnTo>
                        <a:pt x="3720" y="1740"/>
                      </a:lnTo>
                      <a:lnTo>
                        <a:pt x="3678" y="1656"/>
                      </a:lnTo>
                      <a:lnTo>
                        <a:pt x="3684" y="1602"/>
                      </a:lnTo>
                      <a:lnTo>
                        <a:pt x="3708" y="1578"/>
                      </a:lnTo>
                      <a:lnTo>
                        <a:pt x="3774" y="1602"/>
                      </a:lnTo>
                      <a:lnTo>
                        <a:pt x="3834" y="1632"/>
                      </a:lnTo>
                      <a:lnTo>
                        <a:pt x="3924" y="1542"/>
                      </a:lnTo>
                      <a:lnTo>
                        <a:pt x="3924" y="1464"/>
                      </a:lnTo>
                      <a:lnTo>
                        <a:pt x="3978" y="1434"/>
                      </a:lnTo>
                      <a:lnTo>
                        <a:pt x="4062" y="1434"/>
                      </a:lnTo>
                      <a:lnTo>
                        <a:pt x="4050" y="1308"/>
                      </a:lnTo>
                      <a:lnTo>
                        <a:pt x="4104" y="1272"/>
                      </a:lnTo>
                      <a:lnTo>
                        <a:pt x="4170" y="1272"/>
                      </a:lnTo>
                      <a:lnTo>
                        <a:pt x="4170" y="1188"/>
                      </a:lnTo>
                      <a:lnTo>
                        <a:pt x="4224" y="1170"/>
                      </a:lnTo>
                      <a:lnTo>
                        <a:pt x="4290" y="1200"/>
                      </a:lnTo>
                      <a:lnTo>
                        <a:pt x="4338" y="1182"/>
                      </a:lnTo>
                      <a:lnTo>
                        <a:pt x="4332" y="1104"/>
                      </a:lnTo>
                      <a:lnTo>
                        <a:pt x="4284" y="1032"/>
                      </a:lnTo>
                      <a:lnTo>
                        <a:pt x="4182" y="990"/>
                      </a:lnTo>
                      <a:lnTo>
                        <a:pt x="4104" y="984"/>
                      </a:lnTo>
                      <a:lnTo>
                        <a:pt x="4038" y="1014"/>
                      </a:lnTo>
                      <a:lnTo>
                        <a:pt x="4002" y="1062"/>
                      </a:lnTo>
                      <a:lnTo>
                        <a:pt x="3936" y="1050"/>
                      </a:lnTo>
                      <a:lnTo>
                        <a:pt x="3864" y="1074"/>
                      </a:lnTo>
                      <a:lnTo>
                        <a:pt x="3828" y="1032"/>
                      </a:lnTo>
                      <a:lnTo>
                        <a:pt x="3864" y="906"/>
                      </a:lnTo>
                      <a:lnTo>
                        <a:pt x="3852" y="816"/>
                      </a:lnTo>
                      <a:lnTo>
                        <a:pt x="3876" y="744"/>
                      </a:lnTo>
                      <a:lnTo>
                        <a:pt x="3954" y="768"/>
                      </a:lnTo>
                      <a:lnTo>
                        <a:pt x="4008" y="732"/>
                      </a:lnTo>
                      <a:lnTo>
                        <a:pt x="4056" y="684"/>
                      </a:lnTo>
                      <a:lnTo>
                        <a:pt x="4050" y="618"/>
                      </a:lnTo>
                      <a:lnTo>
                        <a:pt x="4068" y="564"/>
                      </a:lnTo>
                      <a:lnTo>
                        <a:pt x="4116" y="528"/>
                      </a:lnTo>
                      <a:lnTo>
                        <a:pt x="4110" y="450"/>
                      </a:lnTo>
                      <a:lnTo>
                        <a:pt x="4098" y="372"/>
                      </a:lnTo>
                      <a:lnTo>
                        <a:pt x="4098" y="306"/>
                      </a:lnTo>
                      <a:lnTo>
                        <a:pt x="4086" y="234"/>
                      </a:lnTo>
                      <a:lnTo>
                        <a:pt x="4020" y="216"/>
                      </a:lnTo>
                      <a:lnTo>
                        <a:pt x="4002" y="180"/>
                      </a:lnTo>
                      <a:lnTo>
                        <a:pt x="4026" y="120"/>
                      </a:lnTo>
                      <a:lnTo>
                        <a:pt x="4068" y="66"/>
                      </a:lnTo>
                      <a:lnTo>
                        <a:pt x="4074" y="60"/>
                      </a:lnTo>
                      <a:lnTo>
                        <a:pt x="4104" y="48"/>
                      </a:lnTo>
                      <a:lnTo>
                        <a:pt x="4140" y="30"/>
                      </a:lnTo>
                      <a:lnTo>
                        <a:pt x="4182" y="18"/>
                      </a:lnTo>
                      <a:lnTo>
                        <a:pt x="4218" y="12"/>
                      </a:lnTo>
                      <a:lnTo>
                        <a:pt x="4260" y="12"/>
                      </a:lnTo>
                      <a:lnTo>
                        <a:pt x="4290" y="6"/>
                      </a:lnTo>
                      <a:lnTo>
                        <a:pt x="4326" y="0"/>
                      </a:lnTo>
                      <a:lnTo>
                        <a:pt x="433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4" name="Freeform 125">
                  <a:extLst>
                    <a:ext uri="{FF2B5EF4-FFF2-40B4-BE49-F238E27FC236}">
                      <a16:creationId xmlns:a16="http://schemas.microsoft.com/office/drawing/2014/main" id="{D18D9DE5-DAB6-4A37-B1BE-0E4ACA2B82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5" y="-1998"/>
                  <a:ext cx="444" cy="660"/>
                </a:xfrm>
                <a:custGeom>
                  <a:avLst/>
                  <a:gdLst>
                    <a:gd name="T0" fmla="*/ 174 w 444"/>
                    <a:gd name="T1" fmla="*/ 12 h 660"/>
                    <a:gd name="T2" fmla="*/ 258 w 444"/>
                    <a:gd name="T3" fmla="*/ 72 h 660"/>
                    <a:gd name="T4" fmla="*/ 330 w 444"/>
                    <a:gd name="T5" fmla="*/ 150 h 660"/>
                    <a:gd name="T6" fmla="*/ 354 w 444"/>
                    <a:gd name="T7" fmla="*/ 198 h 660"/>
                    <a:gd name="T8" fmla="*/ 390 w 444"/>
                    <a:gd name="T9" fmla="*/ 246 h 660"/>
                    <a:gd name="T10" fmla="*/ 396 w 444"/>
                    <a:gd name="T11" fmla="*/ 300 h 660"/>
                    <a:gd name="T12" fmla="*/ 390 w 444"/>
                    <a:gd name="T13" fmla="*/ 342 h 660"/>
                    <a:gd name="T14" fmla="*/ 408 w 444"/>
                    <a:gd name="T15" fmla="*/ 360 h 660"/>
                    <a:gd name="T16" fmla="*/ 432 w 444"/>
                    <a:gd name="T17" fmla="*/ 366 h 660"/>
                    <a:gd name="T18" fmla="*/ 444 w 444"/>
                    <a:gd name="T19" fmla="*/ 390 h 660"/>
                    <a:gd name="T20" fmla="*/ 444 w 444"/>
                    <a:gd name="T21" fmla="*/ 420 h 660"/>
                    <a:gd name="T22" fmla="*/ 444 w 444"/>
                    <a:gd name="T23" fmla="*/ 474 h 660"/>
                    <a:gd name="T24" fmla="*/ 420 w 444"/>
                    <a:gd name="T25" fmla="*/ 492 h 660"/>
                    <a:gd name="T26" fmla="*/ 384 w 444"/>
                    <a:gd name="T27" fmla="*/ 486 h 660"/>
                    <a:gd name="T28" fmla="*/ 360 w 444"/>
                    <a:gd name="T29" fmla="*/ 498 h 660"/>
                    <a:gd name="T30" fmla="*/ 366 w 444"/>
                    <a:gd name="T31" fmla="*/ 522 h 660"/>
                    <a:gd name="T32" fmla="*/ 366 w 444"/>
                    <a:gd name="T33" fmla="*/ 534 h 660"/>
                    <a:gd name="T34" fmla="*/ 348 w 444"/>
                    <a:gd name="T35" fmla="*/ 564 h 660"/>
                    <a:gd name="T36" fmla="*/ 330 w 444"/>
                    <a:gd name="T37" fmla="*/ 588 h 660"/>
                    <a:gd name="T38" fmla="*/ 300 w 444"/>
                    <a:gd name="T39" fmla="*/ 570 h 660"/>
                    <a:gd name="T40" fmla="*/ 282 w 444"/>
                    <a:gd name="T41" fmla="*/ 594 h 660"/>
                    <a:gd name="T42" fmla="*/ 264 w 444"/>
                    <a:gd name="T43" fmla="*/ 624 h 660"/>
                    <a:gd name="T44" fmla="*/ 240 w 444"/>
                    <a:gd name="T45" fmla="*/ 630 h 660"/>
                    <a:gd name="T46" fmla="*/ 228 w 444"/>
                    <a:gd name="T47" fmla="*/ 648 h 660"/>
                    <a:gd name="T48" fmla="*/ 210 w 444"/>
                    <a:gd name="T49" fmla="*/ 654 h 660"/>
                    <a:gd name="T50" fmla="*/ 174 w 444"/>
                    <a:gd name="T51" fmla="*/ 660 h 660"/>
                    <a:gd name="T52" fmla="*/ 162 w 444"/>
                    <a:gd name="T53" fmla="*/ 630 h 660"/>
                    <a:gd name="T54" fmla="*/ 168 w 444"/>
                    <a:gd name="T55" fmla="*/ 606 h 660"/>
                    <a:gd name="T56" fmla="*/ 150 w 444"/>
                    <a:gd name="T57" fmla="*/ 582 h 660"/>
                    <a:gd name="T58" fmla="*/ 138 w 444"/>
                    <a:gd name="T59" fmla="*/ 540 h 660"/>
                    <a:gd name="T60" fmla="*/ 108 w 444"/>
                    <a:gd name="T61" fmla="*/ 498 h 660"/>
                    <a:gd name="T62" fmla="*/ 120 w 444"/>
                    <a:gd name="T63" fmla="*/ 456 h 660"/>
                    <a:gd name="T64" fmla="*/ 120 w 444"/>
                    <a:gd name="T65" fmla="*/ 420 h 660"/>
                    <a:gd name="T66" fmla="*/ 84 w 444"/>
                    <a:gd name="T67" fmla="*/ 378 h 660"/>
                    <a:gd name="T68" fmla="*/ 66 w 444"/>
                    <a:gd name="T69" fmla="*/ 342 h 660"/>
                    <a:gd name="T70" fmla="*/ 54 w 444"/>
                    <a:gd name="T71" fmla="*/ 318 h 660"/>
                    <a:gd name="T72" fmla="*/ 30 w 444"/>
                    <a:gd name="T73" fmla="*/ 306 h 660"/>
                    <a:gd name="T74" fmla="*/ 36 w 444"/>
                    <a:gd name="T75" fmla="*/ 282 h 660"/>
                    <a:gd name="T76" fmla="*/ 60 w 444"/>
                    <a:gd name="T77" fmla="*/ 270 h 660"/>
                    <a:gd name="T78" fmla="*/ 60 w 444"/>
                    <a:gd name="T79" fmla="*/ 252 h 660"/>
                    <a:gd name="T80" fmla="*/ 60 w 444"/>
                    <a:gd name="T81" fmla="*/ 228 h 660"/>
                    <a:gd name="T82" fmla="*/ 78 w 444"/>
                    <a:gd name="T83" fmla="*/ 204 h 660"/>
                    <a:gd name="T84" fmla="*/ 42 w 444"/>
                    <a:gd name="T85" fmla="*/ 168 h 660"/>
                    <a:gd name="T86" fmla="*/ 6 w 444"/>
                    <a:gd name="T87" fmla="*/ 150 h 660"/>
                    <a:gd name="T88" fmla="*/ 12 w 444"/>
                    <a:gd name="T89" fmla="*/ 90 h 660"/>
                    <a:gd name="T90" fmla="*/ 108 w 444"/>
                    <a:gd name="T91" fmla="*/ 12 h 6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44" h="660">
                      <a:moveTo>
                        <a:pt x="162" y="0"/>
                      </a:moveTo>
                      <a:lnTo>
                        <a:pt x="162" y="0"/>
                      </a:lnTo>
                      <a:lnTo>
                        <a:pt x="174" y="12"/>
                      </a:lnTo>
                      <a:lnTo>
                        <a:pt x="192" y="24"/>
                      </a:lnTo>
                      <a:lnTo>
                        <a:pt x="210" y="36"/>
                      </a:lnTo>
                      <a:lnTo>
                        <a:pt x="258" y="72"/>
                      </a:lnTo>
                      <a:lnTo>
                        <a:pt x="306" y="120"/>
                      </a:lnTo>
                      <a:lnTo>
                        <a:pt x="324" y="132"/>
                      </a:lnTo>
                      <a:lnTo>
                        <a:pt x="330" y="150"/>
                      </a:lnTo>
                      <a:lnTo>
                        <a:pt x="336" y="162"/>
                      </a:lnTo>
                      <a:lnTo>
                        <a:pt x="348" y="180"/>
                      </a:lnTo>
                      <a:lnTo>
                        <a:pt x="354" y="198"/>
                      </a:lnTo>
                      <a:lnTo>
                        <a:pt x="366" y="210"/>
                      </a:lnTo>
                      <a:lnTo>
                        <a:pt x="378" y="234"/>
                      </a:lnTo>
                      <a:lnTo>
                        <a:pt x="390" y="246"/>
                      </a:lnTo>
                      <a:lnTo>
                        <a:pt x="390" y="264"/>
                      </a:lnTo>
                      <a:lnTo>
                        <a:pt x="396" y="282"/>
                      </a:lnTo>
                      <a:lnTo>
                        <a:pt x="396" y="300"/>
                      </a:lnTo>
                      <a:lnTo>
                        <a:pt x="396" y="312"/>
                      </a:lnTo>
                      <a:lnTo>
                        <a:pt x="396" y="330"/>
                      </a:lnTo>
                      <a:lnTo>
                        <a:pt x="390" y="342"/>
                      </a:lnTo>
                      <a:lnTo>
                        <a:pt x="396" y="348"/>
                      </a:lnTo>
                      <a:lnTo>
                        <a:pt x="396" y="354"/>
                      </a:lnTo>
                      <a:lnTo>
                        <a:pt x="408" y="360"/>
                      </a:lnTo>
                      <a:lnTo>
                        <a:pt x="420" y="360"/>
                      </a:lnTo>
                      <a:lnTo>
                        <a:pt x="426" y="360"/>
                      </a:lnTo>
                      <a:lnTo>
                        <a:pt x="432" y="366"/>
                      </a:lnTo>
                      <a:lnTo>
                        <a:pt x="438" y="378"/>
                      </a:lnTo>
                      <a:lnTo>
                        <a:pt x="444" y="384"/>
                      </a:lnTo>
                      <a:lnTo>
                        <a:pt x="444" y="390"/>
                      </a:lnTo>
                      <a:lnTo>
                        <a:pt x="444" y="396"/>
                      </a:lnTo>
                      <a:lnTo>
                        <a:pt x="438" y="408"/>
                      </a:lnTo>
                      <a:lnTo>
                        <a:pt x="444" y="420"/>
                      </a:lnTo>
                      <a:lnTo>
                        <a:pt x="444" y="438"/>
                      </a:lnTo>
                      <a:lnTo>
                        <a:pt x="444" y="456"/>
                      </a:lnTo>
                      <a:lnTo>
                        <a:pt x="444" y="474"/>
                      </a:lnTo>
                      <a:lnTo>
                        <a:pt x="438" y="480"/>
                      </a:lnTo>
                      <a:lnTo>
                        <a:pt x="432" y="492"/>
                      </a:lnTo>
                      <a:lnTo>
                        <a:pt x="420" y="492"/>
                      </a:lnTo>
                      <a:lnTo>
                        <a:pt x="408" y="492"/>
                      </a:lnTo>
                      <a:lnTo>
                        <a:pt x="396" y="492"/>
                      </a:lnTo>
                      <a:lnTo>
                        <a:pt x="384" y="486"/>
                      </a:lnTo>
                      <a:lnTo>
                        <a:pt x="372" y="486"/>
                      </a:lnTo>
                      <a:lnTo>
                        <a:pt x="366" y="486"/>
                      </a:lnTo>
                      <a:lnTo>
                        <a:pt x="360" y="498"/>
                      </a:lnTo>
                      <a:lnTo>
                        <a:pt x="354" y="504"/>
                      </a:lnTo>
                      <a:lnTo>
                        <a:pt x="360" y="516"/>
                      </a:lnTo>
                      <a:lnTo>
                        <a:pt x="366" y="522"/>
                      </a:lnTo>
                      <a:lnTo>
                        <a:pt x="366" y="522"/>
                      </a:lnTo>
                      <a:lnTo>
                        <a:pt x="372" y="528"/>
                      </a:lnTo>
                      <a:lnTo>
                        <a:pt x="366" y="534"/>
                      </a:lnTo>
                      <a:lnTo>
                        <a:pt x="360" y="546"/>
                      </a:lnTo>
                      <a:lnTo>
                        <a:pt x="354" y="552"/>
                      </a:lnTo>
                      <a:lnTo>
                        <a:pt x="348" y="564"/>
                      </a:lnTo>
                      <a:lnTo>
                        <a:pt x="342" y="576"/>
                      </a:lnTo>
                      <a:lnTo>
                        <a:pt x="336" y="582"/>
                      </a:lnTo>
                      <a:lnTo>
                        <a:pt x="330" y="588"/>
                      </a:lnTo>
                      <a:lnTo>
                        <a:pt x="324" y="582"/>
                      </a:lnTo>
                      <a:lnTo>
                        <a:pt x="306" y="570"/>
                      </a:lnTo>
                      <a:lnTo>
                        <a:pt x="300" y="570"/>
                      </a:lnTo>
                      <a:lnTo>
                        <a:pt x="288" y="570"/>
                      </a:lnTo>
                      <a:lnTo>
                        <a:pt x="282" y="582"/>
                      </a:lnTo>
                      <a:lnTo>
                        <a:pt x="282" y="594"/>
                      </a:lnTo>
                      <a:lnTo>
                        <a:pt x="276" y="612"/>
                      </a:lnTo>
                      <a:lnTo>
                        <a:pt x="276" y="624"/>
                      </a:lnTo>
                      <a:lnTo>
                        <a:pt x="264" y="624"/>
                      </a:lnTo>
                      <a:lnTo>
                        <a:pt x="252" y="624"/>
                      </a:lnTo>
                      <a:lnTo>
                        <a:pt x="246" y="624"/>
                      </a:lnTo>
                      <a:lnTo>
                        <a:pt x="240" y="630"/>
                      </a:lnTo>
                      <a:lnTo>
                        <a:pt x="240" y="636"/>
                      </a:lnTo>
                      <a:lnTo>
                        <a:pt x="234" y="642"/>
                      </a:lnTo>
                      <a:lnTo>
                        <a:pt x="228" y="648"/>
                      </a:lnTo>
                      <a:lnTo>
                        <a:pt x="228" y="648"/>
                      </a:lnTo>
                      <a:lnTo>
                        <a:pt x="216" y="654"/>
                      </a:lnTo>
                      <a:lnTo>
                        <a:pt x="210" y="654"/>
                      </a:lnTo>
                      <a:lnTo>
                        <a:pt x="198" y="660"/>
                      </a:lnTo>
                      <a:lnTo>
                        <a:pt x="186" y="660"/>
                      </a:lnTo>
                      <a:lnTo>
                        <a:pt x="174" y="660"/>
                      </a:lnTo>
                      <a:lnTo>
                        <a:pt x="168" y="648"/>
                      </a:lnTo>
                      <a:lnTo>
                        <a:pt x="162" y="642"/>
                      </a:lnTo>
                      <a:lnTo>
                        <a:pt x="162" y="630"/>
                      </a:lnTo>
                      <a:lnTo>
                        <a:pt x="168" y="624"/>
                      </a:lnTo>
                      <a:lnTo>
                        <a:pt x="168" y="612"/>
                      </a:lnTo>
                      <a:lnTo>
                        <a:pt x="168" y="606"/>
                      </a:lnTo>
                      <a:lnTo>
                        <a:pt x="162" y="594"/>
                      </a:lnTo>
                      <a:lnTo>
                        <a:pt x="156" y="588"/>
                      </a:lnTo>
                      <a:lnTo>
                        <a:pt x="150" y="582"/>
                      </a:lnTo>
                      <a:lnTo>
                        <a:pt x="144" y="570"/>
                      </a:lnTo>
                      <a:lnTo>
                        <a:pt x="144" y="552"/>
                      </a:lnTo>
                      <a:lnTo>
                        <a:pt x="138" y="540"/>
                      </a:lnTo>
                      <a:lnTo>
                        <a:pt x="126" y="528"/>
                      </a:lnTo>
                      <a:lnTo>
                        <a:pt x="114" y="510"/>
                      </a:lnTo>
                      <a:lnTo>
                        <a:pt x="108" y="498"/>
                      </a:lnTo>
                      <a:lnTo>
                        <a:pt x="108" y="486"/>
                      </a:lnTo>
                      <a:lnTo>
                        <a:pt x="114" y="474"/>
                      </a:lnTo>
                      <a:lnTo>
                        <a:pt x="120" y="456"/>
                      </a:lnTo>
                      <a:lnTo>
                        <a:pt x="126" y="444"/>
                      </a:lnTo>
                      <a:lnTo>
                        <a:pt x="126" y="432"/>
                      </a:lnTo>
                      <a:lnTo>
                        <a:pt x="120" y="420"/>
                      </a:lnTo>
                      <a:lnTo>
                        <a:pt x="114" y="408"/>
                      </a:lnTo>
                      <a:lnTo>
                        <a:pt x="102" y="396"/>
                      </a:lnTo>
                      <a:lnTo>
                        <a:pt x="84" y="378"/>
                      </a:lnTo>
                      <a:lnTo>
                        <a:pt x="72" y="360"/>
                      </a:lnTo>
                      <a:lnTo>
                        <a:pt x="66" y="348"/>
                      </a:lnTo>
                      <a:lnTo>
                        <a:pt x="66" y="342"/>
                      </a:lnTo>
                      <a:lnTo>
                        <a:pt x="66" y="330"/>
                      </a:lnTo>
                      <a:lnTo>
                        <a:pt x="60" y="324"/>
                      </a:lnTo>
                      <a:lnTo>
                        <a:pt x="54" y="318"/>
                      </a:lnTo>
                      <a:lnTo>
                        <a:pt x="48" y="318"/>
                      </a:lnTo>
                      <a:lnTo>
                        <a:pt x="36" y="312"/>
                      </a:lnTo>
                      <a:lnTo>
                        <a:pt x="30" y="306"/>
                      </a:lnTo>
                      <a:lnTo>
                        <a:pt x="30" y="294"/>
                      </a:lnTo>
                      <a:lnTo>
                        <a:pt x="30" y="288"/>
                      </a:lnTo>
                      <a:lnTo>
                        <a:pt x="36" y="282"/>
                      </a:lnTo>
                      <a:lnTo>
                        <a:pt x="42" y="276"/>
                      </a:lnTo>
                      <a:lnTo>
                        <a:pt x="54" y="276"/>
                      </a:lnTo>
                      <a:lnTo>
                        <a:pt x="60" y="270"/>
                      </a:lnTo>
                      <a:lnTo>
                        <a:pt x="66" y="270"/>
                      </a:lnTo>
                      <a:lnTo>
                        <a:pt x="66" y="264"/>
                      </a:lnTo>
                      <a:lnTo>
                        <a:pt x="60" y="252"/>
                      </a:lnTo>
                      <a:lnTo>
                        <a:pt x="54" y="246"/>
                      </a:lnTo>
                      <a:lnTo>
                        <a:pt x="54" y="234"/>
                      </a:lnTo>
                      <a:lnTo>
                        <a:pt x="60" y="228"/>
                      </a:lnTo>
                      <a:lnTo>
                        <a:pt x="72" y="222"/>
                      </a:lnTo>
                      <a:lnTo>
                        <a:pt x="72" y="216"/>
                      </a:lnTo>
                      <a:lnTo>
                        <a:pt x="78" y="204"/>
                      </a:lnTo>
                      <a:lnTo>
                        <a:pt x="72" y="192"/>
                      </a:lnTo>
                      <a:lnTo>
                        <a:pt x="60" y="180"/>
                      </a:lnTo>
                      <a:lnTo>
                        <a:pt x="42" y="168"/>
                      </a:lnTo>
                      <a:lnTo>
                        <a:pt x="24" y="156"/>
                      </a:lnTo>
                      <a:lnTo>
                        <a:pt x="12" y="150"/>
                      </a:lnTo>
                      <a:lnTo>
                        <a:pt x="6" y="150"/>
                      </a:lnTo>
                      <a:lnTo>
                        <a:pt x="0" y="144"/>
                      </a:lnTo>
                      <a:lnTo>
                        <a:pt x="0" y="144"/>
                      </a:lnTo>
                      <a:lnTo>
                        <a:pt x="12" y="90"/>
                      </a:lnTo>
                      <a:lnTo>
                        <a:pt x="36" y="48"/>
                      </a:lnTo>
                      <a:lnTo>
                        <a:pt x="78" y="42"/>
                      </a:lnTo>
                      <a:lnTo>
                        <a:pt x="108" y="12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5" name="Freeform 126">
                  <a:extLst>
                    <a:ext uri="{FF2B5EF4-FFF2-40B4-BE49-F238E27FC236}">
                      <a16:creationId xmlns:a16="http://schemas.microsoft.com/office/drawing/2014/main" id="{35B8DCA8-A2E8-4722-A9D1-DA6B02B0CB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71" y="2004"/>
                  <a:ext cx="156" cy="72"/>
                </a:xfrm>
                <a:custGeom>
                  <a:avLst/>
                  <a:gdLst>
                    <a:gd name="T0" fmla="*/ 108 w 156"/>
                    <a:gd name="T1" fmla="*/ 0 h 72"/>
                    <a:gd name="T2" fmla="*/ 126 w 156"/>
                    <a:gd name="T3" fmla="*/ 0 h 72"/>
                    <a:gd name="T4" fmla="*/ 144 w 156"/>
                    <a:gd name="T5" fmla="*/ 12 h 72"/>
                    <a:gd name="T6" fmla="*/ 156 w 156"/>
                    <a:gd name="T7" fmla="*/ 18 h 72"/>
                    <a:gd name="T8" fmla="*/ 156 w 156"/>
                    <a:gd name="T9" fmla="*/ 24 h 72"/>
                    <a:gd name="T10" fmla="*/ 156 w 156"/>
                    <a:gd name="T11" fmla="*/ 30 h 72"/>
                    <a:gd name="T12" fmla="*/ 150 w 156"/>
                    <a:gd name="T13" fmla="*/ 30 h 72"/>
                    <a:gd name="T14" fmla="*/ 144 w 156"/>
                    <a:gd name="T15" fmla="*/ 36 h 72"/>
                    <a:gd name="T16" fmla="*/ 126 w 156"/>
                    <a:gd name="T17" fmla="*/ 42 h 72"/>
                    <a:gd name="T18" fmla="*/ 114 w 156"/>
                    <a:gd name="T19" fmla="*/ 48 h 72"/>
                    <a:gd name="T20" fmla="*/ 78 w 156"/>
                    <a:gd name="T21" fmla="*/ 66 h 72"/>
                    <a:gd name="T22" fmla="*/ 48 w 156"/>
                    <a:gd name="T23" fmla="*/ 72 h 72"/>
                    <a:gd name="T24" fmla="*/ 12 w 156"/>
                    <a:gd name="T25" fmla="*/ 60 h 72"/>
                    <a:gd name="T26" fmla="*/ 0 w 156"/>
                    <a:gd name="T27" fmla="*/ 54 h 72"/>
                    <a:gd name="T28" fmla="*/ 0 w 156"/>
                    <a:gd name="T29" fmla="*/ 48 h 72"/>
                    <a:gd name="T30" fmla="*/ 6 w 156"/>
                    <a:gd name="T31" fmla="*/ 36 h 72"/>
                    <a:gd name="T32" fmla="*/ 12 w 156"/>
                    <a:gd name="T33" fmla="*/ 30 h 72"/>
                    <a:gd name="T34" fmla="*/ 24 w 156"/>
                    <a:gd name="T35" fmla="*/ 24 h 72"/>
                    <a:gd name="T36" fmla="*/ 42 w 156"/>
                    <a:gd name="T37" fmla="*/ 18 h 72"/>
                    <a:gd name="T38" fmla="*/ 54 w 156"/>
                    <a:gd name="T39" fmla="*/ 12 h 72"/>
                    <a:gd name="T40" fmla="*/ 72 w 156"/>
                    <a:gd name="T41" fmla="*/ 12 h 72"/>
                    <a:gd name="T42" fmla="*/ 84 w 156"/>
                    <a:gd name="T43" fmla="*/ 6 h 72"/>
                    <a:gd name="T44" fmla="*/ 96 w 156"/>
                    <a:gd name="T45" fmla="*/ 0 h 72"/>
                    <a:gd name="T46" fmla="*/ 108 w 156"/>
                    <a:gd name="T47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56" h="72">
                      <a:moveTo>
                        <a:pt x="108" y="0"/>
                      </a:moveTo>
                      <a:lnTo>
                        <a:pt x="126" y="0"/>
                      </a:lnTo>
                      <a:lnTo>
                        <a:pt x="144" y="12"/>
                      </a:lnTo>
                      <a:lnTo>
                        <a:pt x="156" y="18"/>
                      </a:lnTo>
                      <a:lnTo>
                        <a:pt x="156" y="24"/>
                      </a:lnTo>
                      <a:lnTo>
                        <a:pt x="156" y="30"/>
                      </a:lnTo>
                      <a:lnTo>
                        <a:pt x="150" y="30"/>
                      </a:lnTo>
                      <a:lnTo>
                        <a:pt x="144" y="36"/>
                      </a:lnTo>
                      <a:lnTo>
                        <a:pt x="126" y="42"/>
                      </a:lnTo>
                      <a:lnTo>
                        <a:pt x="114" y="48"/>
                      </a:lnTo>
                      <a:lnTo>
                        <a:pt x="78" y="66"/>
                      </a:lnTo>
                      <a:lnTo>
                        <a:pt x="48" y="72"/>
                      </a:lnTo>
                      <a:lnTo>
                        <a:pt x="12" y="60"/>
                      </a:lnTo>
                      <a:lnTo>
                        <a:pt x="0" y="54"/>
                      </a:lnTo>
                      <a:lnTo>
                        <a:pt x="0" y="48"/>
                      </a:lnTo>
                      <a:lnTo>
                        <a:pt x="6" y="36"/>
                      </a:lnTo>
                      <a:lnTo>
                        <a:pt x="12" y="30"/>
                      </a:lnTo>
                      <a:lnTo>
                        <a:pt x="24" y="24"/>
                      </a:lnTo>
                      <a:lnTo>
                        <a:pt x="42" y="18"/>
                      </a:lnTo>
                      <a:lnTo>
                        <a:pt x="54" y="12"/>
                      </a:lnTo>
                      <a:lnTo>
                        <a:pt x="72" y="12"/>
                      </a:lnTo>
                      <a:lnTo>
                        <a:pt x="84" y="6"/>
                      </a:lnTo>
                      <a:lnTo>
                        <a:pt x="96" y="0"/>
                      </a:lnTo>
                      <a:lnTo>
                        <a:pt x="10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6" name="Freeform 127">
                  <a:extLst>
                    <a:ext uri="{FF2B5EF4-FFF2-40B4-BE49-F238E27FC236}">
                      <a16:creationId xmlns:a16="http://schemas.microsoft.com/office/drawing/2014/main" id="{7F18F095-CD42-4B5D-9E7D-4C5C8CE41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7" y="330"/>
                  <a:ext cx="30" cy="48"/>
                </a:xfrm>
                <a:custGeom>
                  <a:avLst/>
                  <a:gdLst>
                    <a:gd name="T0" fmla="*/ 12 w 30"/>
                    <a:gd name="T1" fmla="*/ 0 h 48"/>
                    <a:gd name="T2" fmla="*/ 18 w 30"/>
                    <a:gd name="T3" fmla="*/ 6 h 48"/>
                    <a:gd name="T4" fmla="*/ 30 w 30"/>
                    <a:gd name="T5" fmla="*/ 18 h 48"/>
                    <a:gd name="T6" fmla="*/ 30 w 30"/>
                    <a:gd name="T7" fmla="*/ 24 h 48"/>
                    <a:gd name="T8" fmla="*/ 30 w 30"/>
                    <a:gd name="T9" fmla="*/ 36 h 48"/>
                    <a:gd name="T10" fmla="*/ 24 w 30"/>
                    <a:gd name="T11" fmla="*/ 42 h 48"/>
                    <a:gd name="T12" fmla="*/ 18 w 30"/>
                    <a:gd name="T13" fmla="*/ 48 h 48"/>
                    <a:gd name="T14" fmla="*/ 12 w 30"/>
                    <a:gd name="T15" fmla="*/ 42 h 48"/>
                    <a:gd name="T16" fmla="*/ 6 w 30"/>
                    <a:gd name="T17" fmla="*/ 30 h 48"/>
                    <a:gd name="T18" fmla="*/ 0 w 30"/>
                    <a:gd name="T19" fmla="*/ 18 h 48"/>
                    <a:gd name="T20" fmla="*/ 0 w 30"/>
                    <a:gd name="T21" fmla="*/ 6 h 48"/>
                    <a:gd name="T22" fmla="*/ 6 w 30"/>
                    <a:gd name="T23" fmla="*/ 0 h 48"/>
                    <a:gd name="T24" fmla="*/ 12 w 30"/>
                    <a:gd name="T2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0" h="48">
                      <a:moveTo>
                        <a:pt x="12" y="0"/>
                      </a:moveTo>
                      <a:lnTo>
                        <a:pt x="18" y="6"/>
                      </a:lnTo>
                      <a:lnTo>
                        <a:pt x="30" y="18"/>
                      </a:lnTo>
                      <a:lnTo>
                        <a:pt x="30" y="24"/>
                      </a:lnTo>
                      <a:lnTo>
                        <a:pt x="30" y="36"/>
                      </a:lnTo>
                      <a:lnTo>
                        <a:pt x="24" y="42"/>
                      </a:lnTo>
                      <a:lnTo>
                        <a:pt x="18" y="48"/>
                      </a:lnTo>
                      <a:lnTo>
                        <a:pt x="12" y="42"/>
                      </a:lnTo>
                      <a:lnTo>
                        <a:pt x="6" y="30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7" name="Freeform 128">
                  <a:extLst>
                    <a:ext uri="{FF2B5EF4-FFF2-40B4-BE49-F238E27FC236}">
                      <a16:creationId xmlns:a16="http://schemas.microsoft.com/office/drawing/2014/main" id="{6C47DA41-E0B9-492F-A4E5-D50228CD11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79" y="2316"/>
                  <a:ext cx="264" cy="456"/>
                </a:xfrm>
                <a:custGeom>
                  <a:avLst/>
                  <a:gdLst>
                    <a:gd name="T0" fmla="*/ 54 w 264"/>
                    <a:gd name="T1" fmla="*/ 0 h 456"/>
                    <a:gd name="T2" fmla="*/ 78 w 264"/>
                    <a:gd name="T3" fmla="*/ 0 h 456"/>
                    <a:gd name="T4" fmla="*/ 96 w 264"/>
                    <a:gd name="T5" fmla="*/ 12 h 456"/>
                    <a:gd name="T6" fmla="*/ 108 w 264"/>
                    <a:gd name="T7" fmla="*/ 18 h 456"/>
                    <a:gd name="T8" fmla="*/ 120 w 264"/>
                    <a:gd name="T9" fmla="*/ 30 h 456"/>
                    <a:gd name="T10" fmla="*/ 138 w 264"/>
                    <a:gd name="T11" fmla="*/ 48 h 456"/>
                    <a:gd name="T12" fmla="*/ 168 w 264"/>
                    <a:gd name="T13" fmla="*/ 102 h 456"/>
                    <a:gd name="T14" fmla="*/ 204 w 264"/>
                    <a:gd name="T15" fmla="*/ 150 h 456"/>
                    <a:gd name="T16" fmla="*/ 222 w 264"/>
                    <a:gd name="T17" fmla="*/ 168 h 456"/>
                    <a:gd name="T18" fmla="*/ 228 w 264"/>
                    <a:gd name="T19" fmla="*/ 174 h 456"/>
                    <a:gd name="T20" fmla="*/ 234 w 264"/>
                    <a:gd name="T21" fmla="*/ 186 h 456"/>
                    <a:gd name="T22" fmla="*/ 234 w 264"/>
                    <a:gd name="T23" fmla="*/ 198 h 456"/>
                    <a:gd name="T24" fmla="*/ 234 w 264"/>
                    <a:gd name="T25" fmla="*/ 204 h 456"/>
                    <a:gd name="T26" fmla="*/ 228 w 264"/>
                    <a:gd name="T27" fmla="*/ 222 h 456"/>
                    <a:gd name="T28" fmla="*/ 234 w 264"/>
                    <a:gd name="T29" fmla="*/ 234 h 456"/>
                    <a:gd name="T30" fmla="*/ 240 w 264"/>
                    <a:gd name="T31" fmla="*/ 252 h 456"/>
                    <a:gd name="T32" fmla="*/ 246 w 264"/>
                    <a:gd name="T33" fmla="*/ 270 h 456"/>
                    <a:gd name="T34" fmla="*/ 252 w 264"/>
                    <a:gd name="T35" fmla="*/ 288 h 456"/>
                    <a:gd name="T36" fmla="*/ 258 w 264"/>
                    <a:gd name="T37" fmla="*/ 318 h 456"/>
                    <a:gd name="T38" fmla="*/ 264 w 264"/>
                    <a:gd name="T39" fmla="*/ 348 h 456"/>
                    <a:gd name="T40" fmla="*/ 252 w 264"/>
                    <a:gd name="T41" fmla="*/ 372 h 456"/>
                    <a:gd name="T42" fmla="*/ 234 w 264"/>
                    <a:gd name="T43" fmla="*/ 390 h 456"/>
                    <a:gd name="T44" fmla="*/ 192 w 264"/>
                    <a:gd name="T45" fmla="*/ 414 h 456"/>
                    <a:gd name="T46" fmla="*/ 162 w 264"/>
                    <a:gd name="T47" fmla="*/ 438 h 456"/>
                    <a:gd name="T48" fmla="*/ 126 w 264"/>
                    <a:gd name="T49" fmla="*/ 450 h 456"/>
                    <a:gd name="T50" fmla="*/ 102 w 264"/>
                    <a:gd name="T51" fmla="*/ 456 h 456"/>
                    <a:gd name="T52" fmla="*/ 84 w 264"/>
                    <a:gd name="T53" fmla="*/ 450 h 456"/>
                    <a:gd name="T54" fmla="*/ 66 w 264"/>
                    <a:gd name="T55" fmla="*/ 444 h 456"/>
                    <a:gd name="T56" fmla="*/ 54 w 264"/>
                    <a:gd name="T57" fmla="*/ 432 h 456"/>
                    <a:gd name="T58" fmla="*/ 48 w 264"/>
                    <a:gd name="T59" fmla="*/ 414 h 456"/>
                    <a:gd name="T60" fmla="*/ 48 w 264"/>
                    <a:gd name="T61" fmla="*/ 390 h 456"/>
                    <a:gd name="T62" fmla="*/ 36 w 264"/>
                    <a:gd name="T63" fmla="*/ 318 h 456"/>
                    <a:gd name="T64" fmla="*/ 24 w 264"/>
                    <a:gd name="T65" fmla="*/ 264 h 456"/>
                    <a:gd name="T66" fmla="*/ 18 w 264"/>
                    <a:gd name="T67" fmla="*/ 234 h 456"/>
                    <a:gd name="T68" fmla="*/ 18 w 264"/>
                    <a:gd name="T69" fmla="*/ 192 h 456"/>
                    <a:gd name="T70" fmla="*/ 24 w 264"/>
                    <a:gd name="T71" fmla="*/ 162 h 456"/>
                    <a:gd name="T72" fmla="*/ 30 w 264"/>
                    <a:gd name="T73" fmla="*/ 138 h 456"/>
                    <a:gd name="T74" fmla="*/ 36 w 264"/>
                    <a:gd name="T75" fmla="*/ 126 h 456"/>
                    <a:gd name="T76" fmla="*/ 42 w 264"/>
                    <a:gd name="T77" fmla="*/ 114 h 456"/>
                    <a:gd name="T78" fmla="*/ 36 w 264"/>
                    <a:gd name="T79" fmla="*/ 102 h 456"/>
                    <a:gd name="T80" fmla="*/ 30 w 264"/>
                    <a:gd name="T81" fmla="*/ 90 h 456"/>
                    <a:gd name="T82" fmla="*/ 24 w 264"/>
                    <a:gd name="T83" fmla="*/ 84 h 456"/>
                    <a:gd name="T84" fmla="*/ 18 w 264"/>
                    <a:gd name="T85" fmla="*/ 78 h 456"/>
                    <a:gd name="T86" fmla="*/ 12 w 264"/>
                    <a:gd name="T87" fmla="*/ 72 h 456"/>
                    <a:gd name="T88" fmla="*/ 6 w 264"/>
                    <a:gd name="T89" fmla="*/ 66 h 456"/>
                    <a:gd name="T90" fmla="*/ 0 w 264"/>
                    <a:gd name="T91" fmla="*/ 60 h 456"/>
                    <a:gd name="T92" fmla="*/ 0 w 264"/>
                    <a:gd name="T93" fmla="*/ 54 h 456"/>
                    <a:gd name="T94" fmla="*/ 6 w 264"/>
                    <a:gd name="T95" fmla="*/ 54 h 456"/>
                    <a:gd name="T96" fmla="*/ 18 w 264"/>
                    <a:gd name="T97" fmla="*/ 54 h 456"/>
                    <a:gd name="T98" fmla="*/ 30 w 264"/>
                    <a:gd name="T99" fmla="*/ 48 h 456"/>
                    <a:gd name="T100" fmla="*/ 36 w 264"/>
                    <a:gd name="T101" fmla="*/ 48 h 456"/>
                    <a:gd name="T102" fmla="*/ 36 w 264"/>
                    <a:gd name="T103" fmla="*/ 42 h 456"/>
                    <a:gd name="T104" fmla="*/ 36 w 264"/>
                    <a:gd name="T105" fmla="*/ 30 h 456"/>
                    <a:gd name="T106" fmla="*/ 36 w 264"/>
                    <a:gd name="T107" fmla="*/ 24 h 456"/>
                    <a:gd name="T108" fmla="*/ 30 w 264"/>
                    <a:gd name="T109" fmla="*/ 18 h 456"/>
                    <a:gd name="T110" fmla="*/ 30 w 264"/>
                    <a:gd name="T111" fmla="*/ 12 h 456"/>
                    <a:gd name="T112" fmla="*/ 30 w 264"/>
                    <a:gd name="T113" fmla="*/ 6 h 456"/>
                    <a:gd name="T114" fmla="*/ 42 w 264"/>
                    <a:gd name="T115" fmla="*/ 0 h 456"/>
                    <a:gd name="T116" fmla="*/ 54 w 264"/>
                    <a:gd name="T117" fmla="*/ 0 h 4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64" h="456">
                      <a:moveTo>
                        <a:pt x="54" y="0"/>
                      </a:moveTo>
                      <a:lnTo>
                        <a:pt x="78" y="0"/>
                      </a:lnTo>
                      <a:lnTo>
                        <a:pt x="96" y="12"/>
                      </a:lnTo>
                      <a:lnTo>
                        <a:pt x="108" y="18"/>
                      </a:lnTo>
                      <a:lnTo>
                        <a:pt x="120" y="30"/>
                      </a:lnTo>
                      <a:lnTo>
                        <a:pt x="138" y="48"/>
                      </a:lnTo>
                      <a:lnTo>
                        <a:pt x="168" y="102"/>
                      </a:lnTo>
                      <a:lnTo>
                        <a:pt x="204" y="150"/>
                      </a:lnTo>
                      <a:lnTo>
                        <a:pt x="222" y="168"/>
                      </a:lnTo>
                      <a:lnTo>
                        <a:pt x="228" y="174"/>
                      </a:lnTo>
                      <a:lnTo>
                        <a:pt x="234" y="186"/>
                      </a:lnTo>
                      <a:lnTo>
                        <a:pt x="234" y="198"/>
                      </a:lnTo>
                      <a:lnTo>
                        <a:pt x="234" y="204"/>
                      </a:lnTo>
                      <a:lnTo>
                        <a:pt x="228" y="222"/>
                      </a:lnTo>
                      <a:lnTo>
                        <a:pt x="234" y="234"/>
                      </a:lnTo>
                      <a:lnTo>
                        <a:pt x="240" y="252"/>
                      </a:lnTo>
                      <a:lnTo>
                        <a:pt x="246" y="270"/>
                      </a:lnTo>
                      <a:lnTo>
                        <a:pt x="252" y="288"/>
                      </a:lnTo>
                      <a:lnTo>
                        <a:pt x="258" y="318"/>
                      </a:lnTo>
                      <a:lnTo>
                        <a:pt x="264" y="348"/>
                      </a:lnTo>
                      <a:lnTo>
                        <a:pt x="252" y="372"/>
                      </a:lnTo>
                      <a:lnTo>
                        <a:pt x="234" y="390"/>
                      </a:lnTo>
                      <a:lnTo>
                        <a:pt x="192" y="414"/>
                      </a:lnTo>
                      <a:lnTo>
                        <a:pt x="162" y="438"/>
                      </a:lnTo>
                      <a:lnTo>
                        <a:pt x="126" y="450"/>
                      </a:lnTo>
                      <a:lnTo>
                        <a:pt x="102" y="456"/>
                      </a:lnTo>
                      <a:lnTo>
                        <a:pt x="84" y="450"/>
                      </a:lnTo>
                      <a:lnTo>
                        <a:pt x="66" y="444"/>
                      </a:lnTo>
                      <a:lnTo>
                        <a:pt x="54" y="432"/>
                      </a:lnTo>
                      <a:lnTo>
                        <a:pt x="48" y="414"/>
                      </a:lnTo>
                      <a:lnTo>
                        <a:pt x="48" y="390"/>
                      </a:lnTo>
                      <a:lnTo>
                        <a:pt x="36" y="318"/>
                      </a:lnTo>
                      <a:lnTo>
                        <a:pt x="24" y="264"/>
                      </a:lnTo>
                      <a:lnTo>
                        <a:pt x="18" y="234"/>
                      </a:lnTo>
                      <a:lnTo>
                        <a:pt x="18" y="192"/>
                      </a:lnTo>
                      <a:lnTo>
                        <a:pt x="24" y="162"/>
                      </a:lnTo>
                      <a:lnTo>
                        <a:pt x="30" y="138"/>
                      </a:lnTo>
                      <a:lnTo>
                        <a:pt x="36" y="126"/>
                      </a:lnTo>
                      <a:lnTo>
                        <a:pt x="42" y="114"/>
                      </a:lnTo>
                      <a:lnTo>
                        <a:pt x="36" y="102"/>
                      </a:lnTo>
                      <a:lnTo>
                        <a:pt x="30" y="90"/>
                      </a:lnTo>
                      <a:lnTo>
                        <a:pt x="24" y="84"/>
                      </a:lnTo>
                      <a:lnTo>
                        <a:pt x="18" y="78"/>
                      </a:lnTo>
                      <a:lnTo>
                        <a:pt x="12" y="72"/>
                      </a:lnTo>
                      <a:lnTo>
                        <a:pt x="6" y="66"/>
                      </a:lnTo>
                      <a:lnTo>
                        <a:pt x="0" y="60"/>
                      </a:lnTo>
                      <a:lnTo>
                        <a:pt x="0" y="54"/>
                      </a:lnTo>
                      <a:lnTo>
                        <a:pt x="6" y="54"/>
                      </a:lnTo>
                      <a:lnTo>
                        <a:pt x="18" y="54"/>
                      </a:lnTo>
                      <a:lnTo>
                        <a:pt x="30" y="48"/>
                      </a:lnTo>
                      <a:lnTo>
                        <a:pt x="36" y="48"/>
                      </a:lnTo>
                      <a:lnTo>
                        <a:pt x="36" y="42"/>
                      </a:lnTo>
                      <a:lnTo>
                        <a:pt x="36" y="30"/>
                      </a:lnTo>
                      <a:lnTo>
                        <a:pt x="36" y="24"/>
                      </a:lnTo>
                      <a:lnTo>
                        <a:pt x="30" y="18"/>
                      </a:lnTo>
                      <a:lnTo>
                        <a:pt x="30" y="12"/>
                      </a:lnTo>
                      <a:lnTo>
                        <a:pt x="30" y="6"/>
                      </a:lnTo>
                      <a:lnTo>
                        <a:pt x="42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8" name="Freeform 129">
                  <a:extLst>
                    <a:ext uri="{FF2B5EF4-FFF2-40B4-BE49-F238E27FC236}">
                      <a16:creationId xmlns:a16="http://schemas.microsoft.com/office/drawing/2014/main" id="{7E801296-ACD4-4195-B6E6-2E3DBB963E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23" y="1728"/>
                  <a:ext cx="48" cy="282"/>
                </a:xfrm>
                <a:custGeom>
                  <a:avLst/>
                  <a:gdLst>
                    <a:gd name="T0" fmla="*/ 42 w 48"/>
                    <a:gd name="T1" fmla="*/ 0 h 282"/>
                    <a:gd name="T2" fmla="*/ 48 w 48"/>
                    <a:gd name="T3" fmla="*/ 0 h 282"/>
                    <a:gd name="T4" fmla="*/ 48 w 48"/>
                    <a:gd name="T5" fmla="*/ 24 h 282"/>
                    <a:gd name="T6" fmla="*/ 48 w 48"/>
                    <a:gd name="T7" fmla="*/ 60 h 282"/>
                    <a:gd name="T8" fmla="*/ 48 w 48"/>
                    <a:gd name="T9" fmla="*/ 102 h 282"/>
                    <a:gd name="T10" fmla="*/ 42 w 48"/>
                    <a:gd name="T11" fmla="*/ 150 h 282"/>
                    <a:gd name="T12" fmla="*/ 42 w 48"/>
                    <a:gd name="T13" fmla="*/ 192 h 282"/>
                    <a:gd name="T14" fmla="*/ 36 w 48"/>
                    <a:gd name="T15" fmla="*/ 252 h 282"/>
                    <a:gd name="T16" fmla="*/ 30 w 48"/>
                    <a:gd name="T17" fmla="*/ 270 h 282"/>
                    <a:gd name="T18" fmla="*/ 24 w 48"/>
                    <a:gd name="T19" fmla="*/ 282 h 282"/>
                    <a:gd name="T20" fmla="*/ 18 w 48"/>
                    <a:gd name="T21" fmla="*/ 282 h 282"/>
                    <a:gd name="T22" fmla="*/ 12 w 48"/>
                    <a:gd name="T23" fmla="*/ 276 h 282"/>
                    <a:gd name="T24" fmla="*/ 6 w 48"/>
                    <a:gd name="T25" fmla="*/ 270 h 282"/>
                    <a:gd name="T26" fmla="*/ 6 w 48"/>
                    <a:gd name="T27" fmla="*/ 252 h 282"/>
                    <a:gd name="T28" fmla="*/ 0 w 48"/>
                    <a:gd name="T29" fmla="*/ 240 h 282"/>
                    <a:gd name="T30" fmla="*/ 0 w 48"/>
                    <a:gd name="T31" fmla="*/ 222 h 282"/>
                    <a:gd name="T32" fmla="*/ 0 w 48"/>
                    <a:gd name="T33" fmla="*/ 204 h 282"/>
                    <a:gd name="T34" fmla="*/ 0 w 48"/>
                    <a:gd name="T35" fmla="*/ 132 h 282"/>
                    <a:gd name="T36" fmla="*/ 0 w 48"/>
                    <a:gd name="T37" fmla="*/ 60 h 282"/>
                    <a:gd name="T38" fmla="*/ 6 w 48"/>
                    <a:gd name="T39" fmla="*/ 48 h 282"/>
                    <a:gd name="T40" fmla="*/ 12 w 48"/>
                    <a:gd name="T41" fmla="*/ 36 h 282"/>
                    <a:gd name="T42" fmla="*/ 18 w 48"/>
                    <a:gd name="T43" fmla="*/ 18 h 282"/>
                    <a:gd name="T44" fmla="*/ 24 w 48"/>
                    <a:gd name="T45" fmla="*/ 12 h 282"/>
                    <a:gd name="T46" fmla="*/ 30 w 48"/>
                    <a:gd name="T47" fmla="*/ 0 h 282"/>
                    <a:gd name="T48" fmla="*/ 42 w 48"/>
                    <a:gd name="T49" fmla="*/ 0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8" h="282">
                      <a:moveTo>
                        <a:pt x="42" y="0"/>
                      </a:moveTo>
                      <a:lnTo>
                        <a:pt x="48" y="0"/>
                      </a:lnTo>
                      <a:lnTo>
                        <a:pt x="48" y="24"/>
                      </a:lnTo>
                      <a:lnTo>
                        <a:pt x="48" y="60"/>
                      </a:lnTo>
                      <a:lnTo>
                        <a:pt x="48" y="102"/>
                      </a:lnTo>
                      <a:lnTo>
                        <a:pt x="42" y="150"/>
                      </a:lnTo>
                      <a:lnTo>
                        <a:pt x="42" y="192"/>
                      </a:lnTo>
                      <a:lnTo>
                        <a:pt x="36" y="252"/>
                      </a:lnTo>
                      <a:lnTo>
                        <a:pt x="30" y="270"/>
                      </a:lnTo>
                      <a:lnTo>
                        <a:pt x="24" y="282"/>
                      </a:lnTo>
                      <a:lnTo>
                        <a:pt x="18" y="282"/>
                      </a:lnTo>
                      <a:lnTo>
                        <a:pt x="12" y="276"/>
                      </a:lnTo>
                      <a:lnTo>
                        <a:pt x="6" y="270"/>
                      </a:lnTo>
                      <a:lnTo>
                        <a:pt x="6" y="252"/>
                      </a:lnTo>
                      <a:lnTo>
                        <a:pt x="0" y="240"/>
                      </a:lnTo>
                      <a:lnTo>
                        <a:pt x="0" y="222"/>
                      </a:lnTo>
                      <a:lnTo>
                        <a:pt x="0" y="204"/>
                      </a:lnTo>
                      <a:lnTo>
                        <a:pt x="0" y="132"/>
                      </a:lnTo>
                      <a:lnTo>
                        <a:pt x="0" y="60"/>
                      </a:lnTo>
                      <a:lnTo>
                        <a:pt x="6" y="48"/>
                      </a:lnTo>
                      <a:lnTo>
                        <a:pt x="12" y="36"/>
                      </a:lnTo>
                      <a:lnTo>
                        <a:pt x="18" y="18"/>
                      </a:lnTo>
                      <a:lnTo>
                        <a:pt x="24" y="12"/>
                      </a:lnTo>
                      <a:lnTo>
                        <a:pt x="30" y="0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69" name="Freeform 130">
                  <a:extLst>
                    <a:ext uri="{FF2B5EF4-FFF2-40B4-BE49-F238E27FC236}">
                      <a16:creationId xmlns:a16="http://schemas.microsoft.com/office/drawing/2014/main" id="{C7865830-B33D-4379-AAE3-6C45E78EC0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17" y="2106"/>
                  <a:ext cx="42" cy="66"/>
                </a:xfrm>
                <a:custGeom>
                  <a:avLst/>
                  <a:gdLst>
                    <a:gd name="T0" fmla="*/ 24 w 42"/>
                    <a:gd name="T1" fmla="*/ 0 h 66"/>
                    <a:gd name="T2" fmla="*/ 36 w 42"/>
                    <a:gd name="T3" fmla="*/ 0 h 66"/>
                    <a:gd name="T4" fmla="*/ 42 w 42"/>
                    <a:gd name="T5" fmla="*/ 6 h 66"/>
                    <a:gd name="T6" fmla="*/ 42 w 42"/>
                    <a:gd name="T7" fmla="*/ 18 h 66"/>
                    <a:gd name="T8" fmla="*/ 42 w 42"/>
                    <a:gd name="T9" fmla="*/ 30 h 66"/>
                    <a:gd name="T10" fmla="*/ 42 w 42"/>
                    <a:gd name="T11" fmla="*/ 42 h 66"/>
                    <a:gd name="T12" fmla="*/ 36 w 42"/>
                    <a:gd name="T13" fmla="*/ 48 h 66"/>
                    <a:gd name="T14" fmla="*/ 36 w 42"/>
                    <a:gd name="T15" fmla="*/ 60 h 66"/>
                    <a:gd name="T16" fmla="*/ 30 w 42"/>
                    <a:gd name="T17" fmla="*/ 66 h 66"/>
                    <a:gd name="T18" fmla="*/ 24 w 42"/>
                    <a:gd name="T19" fmla="*/ 66 h 66"/>
                    <a:gd name="T20" fmla="*/ 12 w 42"/>
                    <a:gd name="T21" fmla="*/ 60 h 66"/>
                    <a:gd name="T22" fmla="*/ 6 w 42"/>
                    <a:gd name="T23" fmla="*/ 48 h 66"/>
                    <a:gd name="T24" fmla="*/ 0 w 42"/>
                    <a:gd name="T25" fmla="*/ 36 h 66"/>
                    <a:gd name="T26" fmla="*/ 0 w 42"/>
                    <a:gd name="T27" fmla="*/ 18 h 66"/>
                    <a:gd name="T28" fmla="*/ 6 w 42"/>
                    <a:gd name="T29" fmla="*/ 12 h 66"/>
                    <a:gd name="T30" fmla="*/ 12 w 42"/>
                    <a:gd name="T31" fmla="*/ 0 h 66"/>
                    <a:gd name="T32" fmla="*/ 24 w 42"/>
                    <a:gd name="T33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2" h="66">
                      <a:moveTo>
                        <a:pt x="24" y="0"/>
                      </a:moveTo>
                      <a:lnTo>
                        <a:pt x="36" y="0"/>
                      </a:lnTo>
                      <a:lnTo>
                        <a:pt x="42" y="6"/>
                      </a:lnTo>
                      <a:lnTo>
                        <a:pt x="42" y="18"/>
                      </a:lnTo>
                      <a:lnTo>
                        <a:pt x="42" y="30"/>
                      </a:lnTo>
                      <a:lnTo>
                        <a:pt x="42" y="42"/>
                      </a:lnTo>
                      <a:lnTo>
                        <a:pt x="36" y="48"/>
                      </a:lnTo>
                      <a:lnTo>
                        <a:pt x="36" y="60"/>
                      </a:lnTo>
                      <a:lnTo>
                        <a:pt x="30" y="66"/>
                      </a:lnTo>
                      <a:lnTo>
                        <a:pt x="24" y="66"/>
                      </a:lnTo>
                      <a:lnTo>
                        <a:pt x="12" y="60"/>
                      </a:lnTo>
                      <a:lnTo>
                        <a:pt x="6" y="48"/>
                      </a:lnTo>
                      <a:lnTo>
                        <a:pt x="0" y="36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12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0" name="Freeform 131">
                  <a:extLst>
                    <a:ext uri="{FF2B5EF4-FFF2-40B4-BE49-F238E27FC236}">
                      <a16:creationId xmlns:a16="http://schemas.microsoft.com/office/drawing/2014/main" id="{96DE63B3-14E4-4041-B416-81CC9BD7D4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03" y="852"/>
                  <a:ext cx="240" cy="240"/>
                </a:xfrm>
                <a:custGeom>
                  <a:avLst/>
                  <a:gdLst>
                    <a:gd name="T0" fmla="*/ 138 w 240"/>
                    <a:gd name="T1" fmla="*/ 0 h 240"/>
                    <a:gd name="T2" fmla="*/ 180 w 240"/>
                    <a:gd name="T3" fmla="*/ 6 h 240"/>
                    <a:gd name="T4" fmla="*/ 216 w 240"/>
                    <a:gd name="T5" fmla="*/ 18 h 240"/>
                    <a:gd name="T6" fmla="*/ 228 w 240"/>
                    <a:gd name="T7" fmla="*/ 30 h 240"/>
                    <a:gd name="T8" fmla="*/ 234 w 240"/>
                    <a:gd name="T9" fmla="*/ 42 h 240"/>
                    <a:gd name="T10" fmla="*/ 240 w 240"/>
                    <a:gd name="T11" fmla="*/ 60 h 240"/>
                    <a:gd name="T12" fmla="*/ 240 w 240"/>
                    <a:gd name="T13" fmla="*/ 72 h 240"/>
                    <a:gd name="T14" fmla="*/ 234 w 240"/>
                    <a:gd name="T15" fmla="*/ 90 h 240"/>
                    <a:gd name="T16" fmla="*/ 234 w 240"/>
                    <a:gd name="T17" fmla="*/ 102 h 240"/>
                    <a:gd name="T18" fmla="*/ 222 w 240"/>
                    <a:gd name="T19" fmla="*/ 108 h 240"/>
                    <a:gd name="T20" fmla="*/ 210 w 240"/>
                    <a:gd name="T21" fmla="*/ 114 h 240"/>
                    <a:gd name="T22" fmla="*/ 204 w 240"/>
                    <a:gd name="T23" fmla="*/ 126 h 240"/>
                    <a:gd name="T24" fmla="*/ 198 w 240"/>
                    <a:gd name="T25" fmla="*/ 144 h 240"/>
                    <a:gd name="T26" fmla="*/ 198 w 240"/>
                    <a:gd name="T27" fmla="*/ 162 h 240"/>
                    <a:gd name="T28" fmla="*/ 204 w 240"/>
                    <a:gd name="T29" fmla="*/ 186 h 240"/>
                    <a:gd name="T30" fmla="*/ 204 w 240"/>
                    <a:gd name="T31" fmla="*/ 204 h 240"/>
                    <a:gd name="T32" fmla="*/ 198 w 240"/>
                    <a:gd name="T33" fmla="*/ 216 h 240"/>
                    <a:gd name="T34" fmla="*/ 186 w 240"/>
                    <a:gd name="T35" fmla="*/ 228 h 240"/>
                    <a:gd name="T36" fmla="*/ 174 w 240"/>
                    <a:gd name="T37" fmla="*/ 228 h 240"/>
                    <a:gd name="T38" fmla="*/ 156 w 240"/>
                    <a:gd name="T39" fmla="*/ 240 h 240"/>
                    <a:gd name="T40" fmla="*/ 132 w 240"/>
                    <a:gd name="T41" fmla="*/ 240 h 240"/>
                    <a:gd name="T42" fmla="*/ 114 w 240"/>
                    <a:gd name="T43" fmla="*/ 240 h 240"/>
                    <a:gd name="T44" fmla="*/ 72 w 240"/>
                    <a:gd name="T45" fmla="*/ 222 h 240"/>
                    <a:gd name="T46" fmla="*/ 42 w 240"/>
                    <a:gd name="T47" fmla="*/ 192 h 240"/>
                    <a:gd name="T48" fmla="*/ 18 w 240"/>
                    <a:gd name="T49" fmla="*/ 138 h 240"/>
                    <a:gd name="T50" fmla="*/ 0 w 240"/>
                    <a:gd name="T51" fmla="*/ 96 h 240"/>
                    <a:gd name="T52" fmla="*/ 0 w 240"/>
                    <a:gd name="T53" fmla="*/ 72 h 240"/>
                    <a:gd name="T54" fmla="*/ 12 w 240"/>
                    <a:gd name="T55" fmla="*/ 54 h 240"/>
                    <a:gd name="T56" fmla="*/ 30 w 240"/>
                    <a:gd name="T57" fmla="*/ 42 h 240"/>
                    <a:gd name="T58" fmla="*/ 42 w 240"/>
                    <a:gd name="T59" fmla="*/ 36 h 240"/>
                    <a:gd name="T60" fmla="*/ 54 w 240"/>
                    <a:gd name="T61" fmla="*/ 30 h 240"/>
                    <a:gd name="T62" fmla="*/ 66 w 240"/>
                    <a:gd name="T63" fmla="*/ 24 h 240"/>
                    <a:gd name="T64" fmla="*/ 78 w 240"/>
                    <a:gd name="T65" fmla="*/ 18 h 240"/>
                    <a:gd name="T66" fmla="*/ 96 w 240"/>
                    <a:gd name="T67" fmla="*/ 6 h 240"/>
                    <a:gd name="T68" fmla="*/ 138 w 240"/>
                    <a:gd name="T69" fmla="*/ 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40" h="240">
                      <a:moveTo>
                        <a:pt x="138" y="0"/>
                      </a:moveTo>
                      <a:lnTo>
                        <a:pt x="180" y="6"/>
                      </a:lnTo>
                      <a:lnTo>
                        <a:pt x="216" y="18"/>
                      </a:lnTo>
                      <a:lnTo>
                        <a:pt x="228" y="30"/>
                      </a:lnTo>
                      <a:lnTo>
                        <a:pt x="234" y="42"/>
                      </a:lnTo>
                      <a:lnTo>
                        <a:pt x="240" y="60"/>
                      </a:lnTo>
                      <a:lnTo>
                        <a:pt x="240" y="72"/>
                      </a:lnTo>
                      <a:lnTo>
                        <a:pt x="234" y="90"/>
                      </a:lnTo>
                      <a:lnTo>
                        <a:pt x="234" y="102"/>
                      </a:lnTo>
                      <a:lnTo>
                        <a:pt x="222" y="108"/>
                      </a:lnTo>
                      <a:lnTo>
                        <a:pt x="210" y="114"/>
                      </a:lnTo>
                      <a:lnTo>
                        <a:pt x="204" y="126"/>
                      </a:lnTo>
                      <a:lnTo>
                        <a:pt x="198" y="144"/>
                      </a:lnTo>
                      <a:lnTo>
                        <a:pt x="198" y="162"/>
                      </a:lnTo>
                      <a:lnTo>
                        <a:pt x="204" y="186"/>
                      </a:lnTo>
                      <a:lnTo>
                        <a:pt x="204" y="204"/>
                      </a:lnTo>
                      <a:lnTo>
                        <a:pt x="198" y="216"/>
                      </a:lnTo>
                      <a:lnTo>
                        <a:pt x="186" y="228"/>
                      </a:lnTo>
                      <a:lnTo>
                        <a:pt x="174" y="228"/>
                      </a:lnTo>
                      <a:lnTo>
                        <a:pt x="156" y="240"/>
                      </a:lnTo>
                      <a:lnTo>
                        <a:pt x="132" y="240"/>
                      </a:lnTo>
                      <a:lnTo>
                        <a:pt x="114" y="240"/>
                      </a:lnTo>
                      <a:lnTo>
                        <a:pt x="72" y="222"/>
                      </a:lnTo>
                      <a:lnTo>
                        <a:pt x="42" y="192"/>
                      </a:lnTo>
                      <a:lnTo>
                        <a:pt x="18" y="138"/>
                      </a:lnTo>
                      <a:lnTo>
                        <a:pt x="0" y="96"/>
                      </a:lnTo>
                      <a:lnTo>
                        <a:pt x="0" y="72"/>
                      </a:lnTo>
                      <a:lnTo>
                        <a:pt x="12" y="54"/>
                      </a:lnTo>
                      <a:lnTo>
                        <a:pt x="30" y="42"/>
                      </a:lnTo>
                      <a:lnTo>
                        <a:pt x="42" y="36"/>
                      </a:lnTo>
                      <a:lnTo>
                        <a:pt x="54" y="30"/>
                      </a:lnTo>
                      <a:lnTo>
                        <a:pt x="66" y="24"/>
                      </a:lnTo>
                      <a:lnTo>
                        <a:pt x="78" y="18"/>
                      </a:lnTo>
                      <a:lnTo>
                        <a:pt x="96" y="6"/>
                      </a:lnTo>
                      <a:lnTo>
                        <a:pt x="13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1" name="Freeform 132">
                  <a:extLst>
                    <a:ext uri="{FF2B5EF4-FFF2-40B4-BE49-F238E27FC236}">
                      <a16:creationId xmlns:a16="http://schemas.microsoft.com/office/drawing/2014/main" id="{36265990-9244-4DC2-AEA8-E4637B7EE4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07" y="18"/>
                  <a:ext cx="162" cy="438"/>
                </a:xfrm>
                <a:custGeom>
                  <a:avLst/>
                  <a:gdLst>
                    <a:gd name="T0" fmla="*/ 96 w 162"/>
                    <a:gd name="T1" fmla="*/ 0 h 438"/>
                    <a:gd name="T2" fmla="*/ 126 w 162"/>
                    <a:gd name="T3" fmla="*/ 18 h 438"/>
                    <a:gd name="T4" fmla="*/ 144 w 162"/>
                    <a:gd name="T5" fmla="*/ 48 h 438"/>
                    <a:gd name="T6" fmla="*/ 162 w 162"/>
                    <a:gd name="T7" fmla="*/ 114 h 438"/>
                    <a:gd name="T8" fmla="*/ 150 w 162"/>
                    <a:gd name="T9" fmla="*/ 162 h 438"/>
                    <a:gd name="T10" fmla="*/ 144 w 162"/>
                    <a:gd name="T11" fmla="*/ 198 h 438"/>
                    <a:gd name="T12" fmla="*/ 144 w 162"/>
                    <a:gd name="T13" fmla="*/ 252 h 438"/>
                    <a:gd name="T14" fmla="*/ 144 w 162"/>
                    <a:gd name="T15" fmla="*/ 312 h 438"/>
                    <a:gd name="T16" fmla="*/ 144 w 162"/>
                    <a:gd name="T17" fmla="*/ 360 h 438"/>
                    <a:gd name="T18" fmla="*/ 138 w 162"/>
                    <a:gd name="T19" fmla="*/ 384 h 438"/>
                    <a:gd name="T20" fmla="*/ 138 w 162"/>
                    <a:gd name="T21" fmla="*/ 402 h 438"/>
                    <a:gd name="T22" fmla="*/ 138 w 162"/>
                    <a:gd name="T23" fmla="*/ 414 h 438"/>
                    <a:gd name="T24" fmla="*/ 138 w 162"/>
                    <a:gd name="T25" fmla="*/ 426 h 438"/>
                    <a:gd name="T26" fmla="*/ 132 w 162"/>
                    <a:gd name="T27" fmla="*/ 438 h 438"/>
                    <a:gd name="T28" fmla="*/ 126 w 162"/>
                    <a:gd name="T29" fmla="*/ 438 h 438"/>
                    <a:gd name="T30" fmla="*/ 120 w 162"/>
                    <a:gd name="T31" fmla="*/ 438 h 438"/>
                    <a:gd name="T32" fmla="*/ 108 w 162"/>
                    <a:gd name="T33" fmla="*/ 432 h 438"/>
                    <a:gd name="T34" fmla="*/ 60 w 162"/>
                    <a:gd name="T35" fmla="*/ 378 h 438"/>
                    <a:gd name="T36" fmla="*/ 18 w 162"/>
                    <a:gd name="T37" fmla="*/ 306 h 438"/>
                    <a:gd name="T38" fmla="*/ 6 w 162"/>
                    <a:gd name="T39" fmla="*/ 252 h 438"/>
                    <a:gd name="T40" fmla="*/ 6 w 162"/>
                    <a:gd name="T41" fmla="*/ 204 h 438"/>
                    <a:gd name="T42" fmla="*/ 0 w 162"/>
                    <a:gd name="T43" fmla="*/ 162 h 438"/>
                    <a:gd name="T44" fmla="*/ 0 w 162"/>
                    <a:gd name="T45" fmla="*/ 120 h 438"/>
                    <a:gd name="T46" fmla="*/ 18 w 162"/>
                    <a:gd name="T47" fmla="*/ 84 h 438"/>
                    <a:gd name="T48" fmla="*/ 36 w 162"/>
                    <a:gd name="T49" fmla="*/ 48 h 438"/>
                    <a:gd name="T50" fmla="*/ 66 w 162"/>
                    <a:gd name="T51" fmla="*/ 6 h 438"/>
                    <a:gd name="T52" fmla="*/ 96 w 162"/>
                    <a:gd name="T53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62" h="438">
                      <a:moveTo>
                        <a:pt x="96" y="0"/>
                      </a:moveTo>
                      <a:lnTo>
                        <a:pt x="126" y="18"/>
                      </a:lnTo>
                      <a:lnTo>
                        <a:pt x="144" y="48"/>
                      </a:lnTo>
                      <a:lnTo>
                        <a:pt x="162" y="114"/>
                      </a:lnTo>
                      <a:lnTo>
                        <a:pt x="150" y="162"/>
                      </a:lnTo>
                      <a:lnTo>
                        <a:pt x="144" y="198"/>
                      </a:lnTo>
                      <a:lnTo>
                        <a:pt x="144" y="252"/>
                      </a:lnTo>
                      <a:lnTo>
                        <a:pt x="144" y="312"/>
                      </a:lnTo>
                      <a:lnTo>
                        <a:pt x="144" y="360"/>
                      </a:lnTo>
                      <a:lnTo>
                        <a:pt x="138" y="384"/>
                      </a:lnTo>
                      <a:lnTo>
                        <a:pt x="138" y="402"/>
                      </a:lnTo>
                      <a:lnTo>
                        <a:pt x="138" y="414"/>
                      </a:lnTo>
                      <a:lnTo>
                        <a:pt x="138" y="426"/>
                      </a:lnTo>
                      <a:lnTo>
                        <a:pt x="132" y="438"/>
                      </a:lnTo>
                      <a:lnTo>
                        <a:pt x="126" y="438"/>
                      </a:lnTo>
                      <a:lnTo>
                        <a:pt x="120" y="438"/>
                      </a:lnTo>
                      <a:lnTo>
                        <a:pt x="108" y="432"/>
                      </a:lnTo>
                      <a:lnTo>
                        <a:pt x="60" y="378"/>
                      </a:lnTo>
                      <a:lnTo>
                        <a:pt x="18" y="306"/>
                      </a:lnTo>
                      <a:lnTo>
                        <a:pt x="6" y="252"/>
                      </a:lnTo>
                      <a:lnTo>
                        <a:pt x="6" y="204"/>
                      </a:lnTo>
                      <a:lnTo>
                        <a:pt x="0" y="162"/>
                      </a:lnTo>
                      <a:lnTo>
                        <a:pt x="0" y="120"/>
                      </a:lnTo>
                      <a:lnTo>
                        <a:pt x="18" y="84"/>
                      </a:lnTo>
                      <a:lnTo>
                        <a:pt x="36" y="48"/>
                      </a:lnTo>
                      <a:lnTo>
                        <a:pt x="66" y="6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2" name="Freeform 133">
                  <a:extLst>
                    <a:ext uri="{FF2B5EF4-FFF2-40B4-BE49-F238E27FC236}">
                      <a16:creationId xmlns:a16="http://schemas.microsoft.com/office/drawing/2014/main" id="{46690513-0326-4493-929A-C4CA76BFBB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37" y="-1182"/>
                  <a:ext cx="60" cy="54"/>
                </a:xfrm>
                <a:custGeom>
                  <a:avLst/>
                  <a:gdLst>
                    <a:gd name="T0" fmla="*/ 24 w 60"/>
                    <a:gd name="T1" fmla="*/ 0 h 54"/>
                    <a:gd name="T2" fmla="*/ 42 w 60"/>
                    <a:gd name="T3" fmla="*/ 6 h 54"/>
                    <a:gd name="T4" fmla="*/ 54 w 60"/>
                    <a:gd name="T5" fmla="*/ 12 h 54"/>
                    <a:gd name="T6" fmla="*/ 60 w 60"/>
                    <a:gd name="T7" fmla="*/ 18 h 54"/>
                    <a:gd name="T8" fmla="*/ 60 w 60"/>
                    <a:gd name="T9" fmla="*/ 24 h 54"/>
                    <a:gd name="T10" fmla="*/ 60 w 60"/>
                    <a:gd name="T11" fmla="*/ 36 h 54"/>
                    <a:gd name="T12" fmla="*/ 54 w 60"/>
                    <a:gd name="T13" fmla="*/ 42 h 54"/>
                    <a:gd name="T14" fmla="*/ 42 w 60"/>
                    <a:gd name="T15" fmla="*/ 48 h 54"/>
                    <a:gd name="T16" fmla="*/ 36 w 60"/>
                    <a:gd name="T17" fmla="*/ 54 h 54"/>
                    <a:gd name="T18" fmla="*/ 24 w 60"/>
                    <a:gd name="T19" fmla="*/ 54 h 54"/>
                    <a:gd name="T20" fmla="*/ 12 w 60"/>
                    <a:gd name="T21" fmla="*/ 54 h 54"/>
                    <a:gd name="T22" fmla="*/ 6 w 60"/>
                    <a:gd name="T23" fmla="*/ 48 h 54"/>
                    <a:gd name="T24" fmla="*/ 6 w 60"/>
                    <a:gd name="T25" fmla="*/ 36 h 54"/>
                    <a:gd name="T26" fmla="*/ 0 w 60"/>
                    <a:gd name="T27" fmla="*/ 30 h 54"/>
                    <a:gd name="T28" fmla="*/ 6 w 60"/>
                    <a:gd name="T29" fmla="*/ 18 h 54"/>
                    <a:gd name="T30" fmla="*/ 12 w 60"/>
                    <a:gd name="T31" fmla="*/ 6 h 54"/>
                    <a:gd name="T32" fmla="*/ 18 w 60"/>
                    <a:gd name="T33" fmla="*/ 0 h 54"/>
                    <a:gd name="T34" fmla="*/ 24 w 60"/>
                    <a:gd name="T35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0" h="54">
                      <a:moveTo>
                        <a:pt x="24" y="0"/>
                      </a:moveTo>
                      <a:lnTo>
                        <a:pt x="42" y="6"/>
                      </a:lnTo>
                      <a:lnTo>
                        <a:pt x="54" y="12"/>
                      </a:lnTo>
                      <a:lnTo>
                        <a:pt x="60" y="18"/>
                      </a:lnTo>
                      <a:lnTo>
                        <a:pt x="60" y="24"/>
                      </a:lnTo>
                      <a:lnTo>
                        <a:pt x="60" y="36"/>
                      </a:lnTo>
                      <a:lnTo>
                        <a:pt x="54" y="42"/>
                      </a:lnTo>
                      <a:lnTo>
                        <a:pt x="42" y="48"/>
                      </a:lnTo>
                      <a:lnTo>
                        <a:pt x="36" y="54"/>
                      </a:lnTo>
                      <a:lnTo>
                        <a:pt x="24" y="54"/>
                      </a:lnTo>
                      <a:lnTo>
                        <a:pt x="12" y="54"/>
                      </a:lnTo>
                      <a:lnTo>
                        <a:pt x="6" y="48"/>
                      </a:lnTo>
                      <a:lnTo>
                        <a:pt x="6" y="36"/>
                      </a:lnTo>
                      <a:lnTo>
                        <a:pt x="0" y="30"/>
                      </a:lnTo>
                      <a:lnTo>
                        <a:pt x="6" y="18"/>
                      </a:lnTo>
                      <a:lnTo>
                        <a:pt x="12" y="6"/>
                      </a:lnTo>
                      <a:lnTo>
                        <a:pt x="18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3" name="Freeform 134">
                  <a:extLst>
                    <a:ext uri="{FF2B5EF4-FFF2-40B4-BE49-F238E27FC236}">
                      <a16:creationId xmlns:a16="http://schemas.microsoft.com/office/drawing/2014/main" id="{A28205B4-49BE-4864-A45D-3CA2B662ED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81" y="-2574"/>
                  <a:ext cx="972" cy="1272"/>
                </a:xfrm>
                <a:custGeom>
                  <a:avLst/>
                  <a:gdLst>
                    <a:gd name="T0" fmla="*/ 744 w 972"/>
                    <a:gd name="T1" fmla="*/ 18 h 1272"/>
                    <a:gd name="T2" fmla="*/ 774 w 972"/>
                    <a:gd name="T3" fmla="*/ 84 h 1272"/>
                    <a:gd name="T4" fmla="*/ 864 w 972"/>
                    <a:gd name="T5" fmla="*/ 186 h 1272"/>
                    <a:gd name="T6" fmla="*/ 882 w 972"/>
                    <a:gd name="T7" fmla="*/ 222 h 1272"/>
                    <a:gd name="T8" fmla="*/ 918 w 972"/>
                    <a:gd name="T9" fmla="*/ 282 h 1272"/>
                    <a:gd name="T10" fmla="*/ 894 w 972"/>
                    <a:gd name="T11" fmla="*/ 360 h 1272"/>
                    <a:gd name="T12" fmla="*/ 852 w 972"/>
                    <a:gd name="T13" fmla="*/ 492 h 1272"/>
                    <a:gd name="T14" fmla="*/ 906 w 972"/>
                    <a:gd name="T15" fmla="*/ 594 h 1272"/>
                    <a:gd name="T16" fmla="*/ 930 w 972"/>
                    <a:gd name="T17" fmla="*/ 762 h 1272"/>
                    <a:gd name="T18" fmla="*/ 972 w 972"/>
                    <a:gd name="T19" fmla="*/ 858 h 1272"/>
                    <a:gd name="T20" fmla="*/ 948 w 972"/>
                    <a:gd name="T21" fmla="*/ 906 h 1272"/>
                    <a:gd name="T22" fmla="*/ 936 w 972"/>
                    <a:gd name="T23" fmla="*/ 966 h 1272"/>
                    <a:gd name="T24" fmla="*/ 894 w 972"/>
                    <a:gd name="T25" fmla="*/ 996 h 1272"/>
                    <a:gd name="T26" fmla="*/ 876 w 972"/>
                    <a:gd name="T27" fmla="*/ 960 h 1272"/>
                    <a:gd name="T28" fmla="*/ 834 w 972"/>
                    <a:gd name="T29" fmla="*/ 966 h 1272"/>
                    <a:gd name="T30" fmla="*/ 828 w 972"/>
                    <a:gd name="T31" fmla="*/ 1038 h 1272"/>
                    <a:gd name="T32" fmla="*/ 786 w 972"/>
                    <a:gd name="T33" fmla="*/ 1044 h 1272"/>
                    <a:gd name="T34" fmla="*/ 744 w 972"/>
                    <a:gd name="T35" fmla="*/ 1074 h 1272"/>
                    <a:gd name="T36" fmla="*/ 702 w 972"/>
                    <a:gd name="T37" fmla="*/ 1092 h 1272"/>
                    <a:gd name="T38" fmla="*/ 642 w 972"/>
                    <a:gd name="T39" fmla="*/ 1056 h 1272"/>
                    <a:gd name="T40" fmla="*/ 612 w 972"/>
                    <a:gd name="T41" fmla="*/ 1068 h 1272"/>
                    <a:gd name="T42" fmla="*/ 624 w 972"/>
                    <a:gd name="T43" fmla="*/ 1104 h 1272"/>
                    <a:gd name="T44" fmla="*/ 642 w 972"/>
                    <a:gd name="T45" fmla="*/ 1140 h 1272"/>
                    <a:gd name="T46" fmla="*/ 606 w 972"/>
                    <a:gd name="T47" fmla="*/ 1164 h 1272"/>
                    <a:gd name="T48" fmla="*/ 582 w 972"/>
                    <a:gd name="T49" fmla="*/ 1212 h 1272"/>
                    <a:gd name="T50" fmla="*/ 564 w 972"/>
                    <a:gd name="T51" fmla="*/ 1272 h 1272"/>
                    <a:gd name="T52" fmla="*/ 528 w 972"/>
                    <a:gd name="T53" fmla="*/ 1248 h 1272"/>
                    <a:gd name="T54" fmla="*/ 504 w 972"/>
                    <a:gd name="T55" fmla="*/ 1194 h 1272"/>
                    <a:gd name="T56" fmla="*/ 474 w 972"/>
                    <a:gd name="T57" fmla="*/ 1170 h 1272"/>
                    <a:gd name="T58" fmla="*/ 444 w 972"/>
                    <a:gd name="T59" fmla="*/ 1122 h 1272"/>
                    <a:gd name="T60" fmla="*/ 396 w 972"/>
                    <a:gd name="T61" fmla="*/ 1098 h 1272"/>
                    <a:gd name="T62" fmla="*/ 402 w 972"/>
                    <a:gd name="T63" fmla="*/ 1062 h 1272"/>
                    <a:gd name="T64" fmla="*/ 330 w 972"/>
                    <a:gd name="T65" fmla="*/ 1080 h 1272"/>
                    <a:gd name="T66" fmla="*/ 240 w 972"/>
                    <a:gd name="T67" fmla="*/ 1170 h 1272"/>
                    <a:gd name="T68" fmla="*/ 180 w 972"/>
                    <a:gd name="T69" fmla="*/ 1188 h 1272"/>
                    <a:gd name="T70" fmla="*/ 150 w 972"/>
                    <a:gd name="T71" fmla="*/ 1242 h 1272"/>
                    <a:gd name="T72" fmla="*/ 66 w 972"/>
                    <a:gd name="T73" fmla="*/ 1248 h 1272"/>
                    <a:gd name="T74" fmla="*/ 6 w 972"/>
                    <a:gd name="T75" fmla="*/ 1218 h 1272"/>
                    <a:gd name="T76" fmla="*/ 24 w 972"/>
                    <a:gd name="T77" fmla="*/ 1158 h 1272"/>
                    <a:gd name="T78" fmla="*/ 78 w 972"/>
                    <a:gd name="T79" fmla="*/ 1092 h 1272"/>
                    <a:gd name="T80" fmla="*/ 90 w 972"/>
                    <a:gd name="T81" fmla="*/ 1002 h 1272"/>
                    <a:gd name="T82" fmla="*/ 126 w 972"/>
                    <a:gd name="T83" fmla="*/ 960 h 1272"/>
                    <a:gd name="T84" fmla="*/ 192 w 972"/>
                    <a:gd name="T85" fmla="*/ 954 h 1272"/>
                    <a:gd name="T86" fmla="*/ 276 w 972"/>
                    <a:gd name="T87" fmla="*/ 942 h 1272"/>
                    <a:gd name="T88" fmla="*/ 336 w 972"/>
                    <a:gd name="T89" fmla="*/ 924 h 1272"/>
                    <a:gd name="T90" fmla="*/ 384 w 972"/>
                    <a:gd name="T91" fmla="*/ 924 h 1272"/>
                    <a:gd name="T92" fmla="*/ 420 w 972"/>
                    <a:gd name="T93" fmla="*/ 942 h 1272"/>
                    <a:gd name="T94" fmla="*/ 444 w 972"/>
                    <a:gd name="T95" fmla="*/ 900 h 1272"/>
                    <a:gd name="T96" fmla="*/ 426 w 972"/>
                    <a:gd name="T97" fmla="*/ 846 h 1272"/>
                    <a:gd name="T98" fmla="*/ 456 w 972"/>
                    <a:gd name="T99" fmla="*/ 684 h 1272"/>
                    <a:gd name="T100" fmla="*/ 444 w 972"/>
                    <a:gd name="T101" fmla="*/ 594 h 1272"/>
                    <a:gd name="T102" fmla="*/ 480 w 972"/>
                    <a:gd name="T103" fmla="*/ 582 h 1272"/>
                    <a:gd name="T104" fmla="*/ 504 w 972"/>
                    <a:gd name="T105" fmla="*/ 642 h 1272"/>
                    <a:gd name="T106" fmla="*/ 516 w 972"/>
                    <a:gd name="T107" fmla="*/ 684 h 1272"/>
                    <a:gd name="T108" fmla="*/ 552 w 972"/>
                    <a:gd name="T109" fmla="*/ 690 h 1272"/>
                    <a:gd name="T110" fmla="*/ 612 w 972"/>
                    <a:gd name="T111" fmla="*/ 600 h 1272"/>
                    <a:gd name="T112" fmla="*/ 648 w 972"/>
                    <a:gd name="T113" fmla="*/ 378 h 1272"/>
                    <a:gd name="T114" fmla="*/ 624 w 972"/>
                    <a:gd name="T115" fmla="*/ 204 h 1272"/>
                    <a:gd name="T116" fmla="*/ 606 w 972"/>
                    <a:gd name="T117" fmla="*/ 132 h 1272"/>
                    <a:gd name="T118" fmla="*/ 636 w 972"/>
                    <a:gd name="T119" fmla="*/ 96 h 1272"/>
                    <a:gd name="T120" fmla="*/ 666 w 972"/>
                    <a:gd name="T121" fmla="*/ 60 h 1272"/>
                    <a:gd name="T122" fmla="*/ 708 w 972"/>
                    <a:gd name="T123" fmla="*/ 54 h 1272"/>
                    <a:gd name="T124" fmla="*/ 726 w 972"/>
                    <a:gd name="T125" fmla="*/ 0 h 12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972" h="1272">
                      <a:moveTo>
                        <a:pt x="726" y="0"/>
                      </a:moveTo>
                      <a:lnTo>
                        <a:pt x="732" y="0"/>
                      </a:lnTo>
                      <a:lnTo>
                        <a:pt x="738" y="6"/>
                      </a:lnTo>
                      <a:lnTo>
                        <a:pt x="744" y="18"/>
                      </a:lnTo>
                      <a:lnTo>
                        <a:pt x="750" y="36"/>
                      </a:lnTo>
                      <a:lnTo>
                        <a:pt x="762" y="48"/>
                      </a:lnTo>
                      <a:lnTo>
                        <a:pt x="768" y="66"/>
                      </a:lnTo>
                      <a:lnTo>
                        <a:pt x="774" y="84"/>
                      </a:lnTo>
                      <a:lnTo>
                        <a:pt x="792" y="132"/>
                      </a:lnTo>
                      <a:lnTo>
                        <a:pt x="822" y="168"/>
                      </a:lnTo>
                      <a:lnTo>
                        <a:pt x="858" y="180"/>
                      </a:lnTo>
                      <a:lnTo>
                        <a:pt x="864" y="186"/>
                      </a:lnTo>
                      <a:lnTo>
                        <a:pt x="876" y="192"/>
                      </a:lnTo>
                      <a:lnTo>
                        <a:pt x="876" y="198"/>
                      </a:lnTo>
                      <a:lnTo>
                        <a:pt x="882" y="210"/>
                      </a:lnTo>
                      <a:lnTo>
                        <a:pt x="882" y="222"/>
                      </a:lnTo>
                      <a:lnTo>
                        <a:pt x="888" y="240"/>
                      </a:lnTo>
                      <a:lnTo>
                        <a:pt x="900" y="252"/>
                      </a:lnTo>
                      <a:lnTo>
                        <a:pt x="912" y="264"/>
                      </a:lnTo>
                      <a:lnTo>
                        <a:pt x="918" y="282"/>
                      </a:lnTo>
                      <a:lnTo>
                        <a:pt x="918" y="294"/>
                      </a:lnTo>
                      <a:lnTo>
                        <a:pt x="912" y="312"/>
                      </a:lnTo>
                      <a:lnTo>
                        <a:pt x="906" y="324"/>
                      </a:lnTo>
                      <a:lnTo>
                        <a:pt x="894" y="360"/>
                      </a:lnTo>
                      <a:lnTo>
                        <a:pt x="888" y="396"/>
                      </a:lnTo>
                      <a:lnTo>
                        <a:pt x="864" y="426"/>
                      </a:lnTo>
                      <a:lnTo>
                        <a:pt x="846" y="450"/>
                      </a:lnTo>
                      <a:lnTo>
                        <a:pt x="852" y="492"/>
                      </a:lnTo>
                      <a:lnTo>
                        <a:pt x="870" y="528"/>
                      </a:lnTo>
                      <a:lnTo>
                        <a:pt x="894" y="564"/>
                      </a:lnTo>
                      <a:lnTo>
                        <a:pt x="900" y="570"/>
                      </a:lnTo>
                      <a:lnTo>
                        <a:pt x="906" y="594"/>
                      </a:lnTo>
                      <a:lnTo>
                        <a:pt x="918" y="630"/>
                      </a:lnTo>
                      <a:lnTo>
                        <a:pt x="924" y="672"/>
                      </a:lnTo>
                      <a:lnTo>
                        <a:pt x="924" y="714"/>
                      </a:lnTo>
                      <a:lnTo>
                        <a:pt x="930" y="762"/>
                      </a:lnTo>
                      <a:lnTo>
                        <a:pt x="942" y="804"/>
                      </a:lnTo>
                      <a:lnTo>
                        <a:pt x="954" y="828"/>
                      </a:lnTo>
                      <a:lnTo>
                        <a:pt x="966" y="846"/>
                      </a:lnTo>
                      <a:lnTo>
                        <a:pt x="972" y="858"/>
                      </a:lnTo>
                      <a:lnTo>
                        <a:pt x="972" y="876"/>
                      </a:lnTo>
                      <a:lnTo>
                        <a:pt x="966" y="888"/>
                      </a:lnTo>
                      <a:lnTo>
                        <a:pt x="954" y="900"/>
                      </a:lnTo>
                      <a:lnTo>
                        <a:pt x="948" y="906"/>
                      </a:lnTo>
                      <a:lnTo>
                        <a:pt x="942" y="918"/>
                      </a:lnTo>
                      <a:lnTo>
                        <a:pt x="942" y="936"/>
                      </a:lnTo>
                      <a:lnTo>
                        <a:pt x="942" y="948"/>
                      </a:lnTo>
                      <a:lnTo>
                        <a:pt x="936" y="966"/>
                      </a:lnTo>
                      <a:lnTo>
                        <a:pt x="924" y="984"/>
                      </a:lnTo>
                      <a:lnTo>
                        <a:pt x="912" y="996"/>
                      </a:lnTo>
                      <a:lnTo>
                        <a:pt x="900" y="996"/>
                      </a:lnTo>
                      <a:lnTo>
                        <a:pt x="894" y="996"/>
                      </a:lnTo>
                      <a:lnTo>
                        <a:pt x="888" y="990"/>
                      </a:lnTo>
                      <a:lnTo>
                        <a:pt x="888" y="984"/>
                      </a:lnTo>
                      <a:lnTo>
                        <a:pt x="882" y="972"/>
                      </a:lnTo>
                      <a:lnTo>
                        <a:pt x="876" y="960"/>
                      </a:lnTo>
                      <a:lnTo>
                        <a:pt x="864" y="954"/>
                      </a:lnTo>
                      <a:lnTo>
                        <a:pt x="852" y="948"/>
                      </a:lnTo>
                      <a:lnTo>
                        <a:pt x="840" y="954"/>
                      </a:lnTo>
                      <a:lnTo>
                        <a:pt x="834" y="966"/>
                      </a:lnTo>
                      <a:lnTo>
                        <a:pt x="834" y="978"/>
                      </a:lnTo>
                      <a:lnTo>
                        <a:pt x="834" y="996"/>
                      </a:lnTo>
                      <a:lnTo>
                        <a:pt x="834" y="1020"/>
                      </a:lnTo>
                      <a:lnTo>
                        <a:pt x="828" y="1038"/>
                      </a:lnTo>
                      <a:lnTo>
                        <a:pt x="822" y="1050"/>
                      </a:lnTo>
                      <a:lnTo>
                        <a:pt x="810" y="1050"/>
                      </a:lnTo>
                      <a:lnTo>
                        <a:pt x="798" y="1044"/>
                      </a:lnTo>
                      <a:lnTo>
                        <a:pt x="786" y="1044"/>
                      </a:lnTo>
                      <a:lnTo>
                        <a:pt x="774" y="1044"/>
                      </a:lnTo>
                      <a:lnTo>
                        <a:pt x="762" y="1056"/>
                      </a:lnTo>
                      <a:lnTo>
                        <a:pt x="756" y="1062"/>
                      </a:lnTo>
                      <a:lnTo>
                        <a:pt x="744" y="1074"/>
                      </a:lnTo>
                      <a:lnTo>
                        <a:pt x="732" y="1080"/>
                      </a:lnTo>
                      <a:lnTo>
                        <a:pt x="726" y="1086"/>
                      </a:lnTo>
                      <a:lnTo>
                        <a:pt x="714" y="1092"/>
                      </a:lnTo>
                      <a:lnTo>
                        <a:pt x="702" y="1092"/>
                      </a:lnTo>
                      <a:lnTo>
                        <a:pt x="690" y="1086"/>
                      </a:lnTo>
                      <a:lnTo>
                        <a:pt x="672" y="1074"/>
                      </a:lnTo>
                      <a:lnTo>
                        <a:pt x="654" y="1062"/>
                      </a:lnTo>
                      <a:lnTo>
                        <a:pt x="642" y="1056"/>
                      </a:lnTo>
                      <a:lnTo>
                        <a:pt x="630" y="1050"/>
                      </a:lnTo>
                      <a:lnTo>
                        <a:pt x="624" y="1050"/>
                      </a:lnTo>
                      <a:lnTo>
                        <a:pt x="618" y="1056"/>
                      </a:lnTo>
                      <a:lnTo>
                        <a:pt x="612" y="1068"/>
                      </a:lnTo>
                      <a:lnTo>
                        <a:pt x="612" y="1074"/>
                      </a:lnTo>
                      <a:lnTo>
                        <a:pt x="618" y="1086"/>
                      </a:lnTo>
                      <a:lnTo>
                        <a:pt x="618" y="1098"/>
                      </a:lnTo>
                      <a:lnTo>
                        <a:pt x="624" y="1104"/>
                      </a:lnTo>
                      <a:lnTo>
                        <a:pt x="636" y="1110"/>
                      </a:lnTo>
                      <a:lnTo>
                        <a:pt x="642" y="1122"/>
                      </a:lnTo>
                      <a:lnTo>
                        <a:pt x="642" y="1134"/>
                      </a:lnTo>
                      <a:lnTo>
                        <a:pt x="642" y="1140"/>
                      </a:lnTo>
                      <a:lnTo>
                        <a:pt x="636" y="1152"/>
                      </a:lnTo>
                      <a:lnTo>
                        <a:pt x="624" y="1158"/>
                      </a:lnTo>
                      <a:lnTo>
                        <a:pt x="618" y="1158"/>
                      </a:lnTo>
                      <a:lnTo>
                        <a:pt x="606" y="1164"/>
                      </a:lnTo>
                      <a:lnTo>
                        <a:pt x="600" y="1170"/>
                      </a:lnTo>
                      <a:lnTo>
                        <a:pt x="594" y="1182"/>
                      </a:lnTo>
                      <a:lnTo>
                        <a:pt x="588" y="1194"/>
                      </a:lnTo>
                      <a:lnTo>
                        <a:pt x="582" y="1212"/>
                      </a:lnTo>
                      <a:lnTo>
                        <a:pt x="582" y="1236"/>
                      </a:lnTo>
                      <a:lnTo>
                        <a:pt x="576" y="1254"/>
                      </a:lnTo>
                      <a:lnTo>
                        <a:pt x="570" y="1266"/>
                      </a:lnTo>
                      <a:lnTo>
                        <a:pt x="564" y="1272"/>
                      </a:lnTo>
                      <a:lnTo>
                        <a:pt x="552" y="1272"/>
                      </a:lnTo>
                      <a:lnTo>
                        <a:pt x="546" y="1266"/>
                      </a:lnTo>
                      <a:lnTo>
                        <a:pt x="534" y="1260"/>
                      </a:lnTo>
                      <a:lnTo>
                        <a:pt x="528" y="1248"/>
                      </a:lnTo>
                      <a:lnTo>
                        <a:pt x="516" y="1236"/>
                      </a:lnTo>
                      <a:lnTo>
                        <a:pt x="510" y="1224"/>
                      </a:lnTo>
                      <a:lnTo>
                        <a:pt x="510" y="1212"/>
                      </a:lnTo>
                      <a:lnTo>
                        <a:pt x="504" y="1194"/>
                      </a:lnTo>
                      <a:lnTo>
                        <a:pt x="498" y="1188"/>
                      </a:lnTo>
                      <a:lnTo>
                        <a:pt x="486" y="1182"/>
                      </a:lnTo>
                      <a:lnTo>
                        <a:pt x="480" y="1176"/>
                      </a:lnTo>
                      <a:lnTo>
                        <a:pt x="474" y="1170"/>
                      </a:lnTo>
                      <a:lnTo>
                        <a:pt x="462" y="1164"/>
                      </a:lnTo>
                      <a:lnTo>
                        <a:pt x="462" y="1152"/>
                      </a:lnTo>
                      <a:lnTo>
                        <a:pt x="456" y="1134"/>
                      </a:lnTo>
                      <a:lnTo>
                        <a:pt x="444" y="1122"/>
                      </a:lnTo>
                      <a:lnTo>
                        <a:pt x="426" y="1110"/>
                      </a:lnTo>
                      <a:lnTo>
                        <a:pt x="408" y="1110"/>
                      </a:lnTo>
                      <a:lnTo>
                        <a:pt x="402" y="1104"/>
                      </a:lnTo>
                      <a:lnTo>
                        <a:pt x="396" y="1098"/>
                      </a:lnTo>
                      <a:lnTo>
                        <a:pt x="396" y="1092"/>
                      </a:lnTo>
                      <a:lnTo>
                        <a:pt x="402" y="1080"/>
                      </a:lnTo>
                      <a:lnTo>
                        <a:pt x="402" y="1074"/>
                      </a:lnTo>
                      <a:lnTo>
                        <a:pt x="402" y="1062"/>
                      </a:lnTo>
                      <a:lnTo>
                        <a:pt x="396" y="1056"/>
                      </a:lnTo>
                      <a:lnTo>
                        <a:pt x="390" y="1050"/>
                      </a:lnTo>
                      <a:lnTo>
                        <a:pt x="360" y="1062"/>
                      </a:lnTo>
                      <a:lnTo>
                        <a:pt x="330" y="1080"/>
                      </a:lnTo>
                      <a:lnTo>
                        <a:pt x="294" y="1110"/>
                      </a:lnTo>
                      <a:lnTo>
                        <a:pt x="270" y="1140"/>
                      </a:lnTo>
                      <a:lnTo>
                        <a:pt x="258" y="1158"/>
                      </a:lnTo>
                      <a:lnTo>
                        <a:pt x="240" y="1170"/>
                      </a:lnTo>
                      <a:lnTo>
                        <a:pt x="222" y="1176"/>
                      </a:lnTo>
                      <a:lnTo>
                        <a:pt x="210" y="1182"/>
                      </a:lnTo>
                      <a:lnTo>
                        <a:pt x="192" y="1182"/>
                      </a:lnTo>
                      <a:lnTo>
                        <a:pt x="180" y="1188"/>
                      </a:lnTo>
                      <a:lnTo>
                        <a:pt x="168" y="1194"/>
                      </a:lnTo>
                      <a:lnTo>
                        <a:pt x="156" y="1206"/>
                      </a:lnTo>
                      <a:lnTo>
                        <a:pt x="150" y="1224"/>
                      </a:lnTo>
                      <a:lnTo>
                        <a:pt x="150" y="1242"/>
                      </a:lnTo>
                      <a:lnTo>
                        <a:pt x="144" y="1254"/>
                      </a:lnTo>
                      <a:lnTo>
                        <a:pt x="120" y="1260"/>
                      </a:lnTo>
                      <a:lnTo>
                        <a:pt x="96" y="1254"/>
                      </a:lnTo>
                      <a:lnTo>
                        <a:pt x="66" y="1248"/>
                      </a:lnTo>
                      <a:lnTo>
                        <a:pt x="48" y="1242"/>
                      </a:lnTo>
                      <a:lnTo>
                        <a:pt x="30" y="1236"/>
                      </a:lnTo>
                      <a:lnTo>
                        <a:pt x="18" y="1230"/>
                      </a:lnTo>
                      <a:lnTo>
                        <a:pt x="6" y="1218"/>
                      </a:lnTo>
                      <a:lnTo>
                        <a:pt x="0" y="1200"/>
                      </a:lnTo>
                      <a:lnTo>
                        <a:pt x="6" y="1182"/>
                      </a:lnTo>
                      <a:lnTo>
                        <a:pt x="12" y="1170"/>
                      </a:lnTo>
                      <a:lnTo>
                        <a:pt x="24" y="1158"/>
                      </a:lnTo>
                      <a:lnTo>
                        <a:pt x="36" y="1146"/>
                      </a:lnTo>
                      <a:lnTo>
                        <a:pt x="54" y="1140"/>
                      </a:lnTo>
                      <a:lnTo>
                        <a:pt x="66" y="1122"/>
                      </a:lnTo>
                      <a:lnTo>
                        <a:pt x="78" y="1092"/>
                      </a:lnTo>
                      <a:lnTo>
                        <a:pt x="90" y="1056"/>
                      </a:lnTo>
                      <a:lnTo>
                        <a:pt x="90" y="1026"/>
                      </a:lnTo>
                      <a:lnTo>
                        <a:pt x="84" y="1014"/>
                      </a:lnTo>
                      <a:lnTo>
                        <a:pt x="90" y="1002"/>
                      </a:lnTo>
                      <a:lnTo>
                        <a:pt x="96" y="990"/>
                      </a:lnTo>
                      <a:lnTo>
                        <a:pt x="108" y="978"/>
                      </a:lnTo>
                      <a:lnTo>
                        <a:pt x="114" y="966"/>
                      </a:lnTo>
                      <a:lnTo>
                        <a:pt x="126" y="960"/>
                      </a:lnTo>
                      <a:lnTo>
                        <a:pt x="144" y="948"/>
                      </a:lnTo>
                      <a:lnTo>
                        <a:pt x="162" y="948"/>
                      </a:lnTo>
                      <a:lnTo>
                        <a:pt x="174" y="948"/>
                      </a:lnTo>
                      <a:lnTo>
                        <a:pt x="192" y="954"/>
                      </a:lnTo>
                      <a:lnTo>
                        <a:pt x="204" y="954"/>
                      </a:lnTo>
                      <a:lnTo>
                        <a:pt x="222" y="954"/>
                      </a:lnTo>
                      <a:lnTo>
                        <a:pt x="252" y="948"/>
                      </a:lnTo>
                      <a:lnTo>
                        <a:pt x="276" y="942"/>
                      </a:lnTo>
                      <a:lnTo>
                        <a:pt x="300" y="936"/>
                      </a:lnTo>
                      <a:lnTo>
                        <a:pt x="306" y="930"/>
                      </a:lnTo>
                      <a:lnTo>
                        <a:pt x="324" y="930"/>
                      </a:lnTo>
                      <a:lnTo>
                        <a:pt x="336" y="924"/>
                      </a:lnTo>
                      <a:lnTo>
                        <a:pt x="348" y="918"/>
                      </a:lnTo>
                      <a:lnTo>
                        <a:pt x="360" y="918"/>
                      </a:lnTo>
                      <a:lnTo>
                        <a:pt x="372" y="918"/>
                      </a:lnTo>
                      <a:lnTo>
                        <a:pt x="384" y="924"/>
                      </a:lnTo>
                      <a:lnTo>
                        <a:pt x="390" y="942"/>
                      </a:lnTo>
                      <a:lnTo>
                        <a:pt x="396" y="948"/>
                      </a:lnTo>
                      <a:lnTo>
                        <a:pt x="408" y="948"/>
                      </a:lnTo>
                      <a:lnTo>
                        <a:pt x="420" y="942"/>
                      </a:lnTo>
                      <a:lnTo>
                        <a:pt x="432" y="930"/>
                      </a:lnTo>
                      <a:lnTo>
                        <a:pt x="444" y="924"/>
                      </a:lnTo>
                      <a:lnTo>
                        <a:pt x="444" y="912"/>
                      </a:lnTo>
                      <a:lnTo>
                        <a:pt x="444" y="900"/>
                      </a:lnTo>
                      <a:lnTo>
                        <a:pt x="444" y="888"/>
                      </a:lnTo>
                      <a:lnTo>
                        <a:pt x="438" y="876"/>
                      </a:lnTo>
                      <a:lnTo>
                        <a:pt x="432" y="864"/>
                      </a:lnTo>
                      <a:lnTo>
                        <a:pt x="426" y="846"/>
                      </a:lnTo>
                      <a:lnTo>
                        <a:pt x="432" y="792"/>
                      </a:lnTo>
                      <a:lnTo>
                        <a:pt x="450" y="744"/>
                      </a:lnTo>
                      <a:lnTo>
                        <a:pt x="462" y="720"/>
                      </a:lnTo>
                      <a:lnTo>
                        <a:pt x="456" y="684"/>
                      </a:lnTo>
                      <a:lnTo>
                        <a:pt x="450" y="648"/>
                      </a:lnTo>
                      <a:lnTo>
                        <a:pt x="444" y="618"/>
                      </a:lnTo>
                      <a:lnTo>
                        <a:pt x="444" y="606"/>
                      </a:lnTo>
                      <a:lnTo>
                        <a:pt x="444" y="594"/>
                      </a:lnTo>
                      <a:lnTo>
                        <a:pt x="450" y="588"/>
                      </a:lnTo>
                      <a:lnTo>
                        <a:pt x="462" y="582"/>
                      </a:lnTo>
                      <a:lnTo>
                        <a:pt x="468" y="582"/>
                      </a:lnTo>
                      <a:lnTo>
                        <a:pt x="480" y="582"/>
                      </a:lnTo>
                      <a:lnTo>
                        <a:pt x="492" y="594"/>
                      </a:lnTo>
                      <a:lnTo>
                        <a:pt x="498" y="606"/>
                      </a:lnTo>
                      <a:lnTo>
                        <a:pt x="504" y="630"/>
                      </a:lnTo>
                      <a:lnTo>
                        <a:pt x="504" y="642"/>
                      </a:lnTo>
                      <a:lnTo>
                        <a:pt x="510" y="654"/>
                      </a:lnTo>
                      <a:lnTo>
                        <a:pt x="510" y="666"/>
                      </a:lnTo>
                      <a:lnTo>
                        <a:pt x="510" y="672"/>
                      </a:lnTo>
                      <a:lnTo>
                        <a:pt x="516" y="684"/>
                      </a:lnTo>
                      <a:lnTo>
                        <a:pt x="522" y="690"/>
                      </a:lnTo>
                      <a:lnTo>
                        <a:pt x="534" y="696"/>
                      </a:lnTo>
                      <a:lnTo>
                        <a:pt x="540" y="696"/>
                      </a:lnTo>
                      <a:lnTo>
                        <a:pt x="552" y="690"/>
                      </a:lnTo>
                      <a:lnTo>
                        <a:pt x="564" y="684"/>
                      </a:lnTo>
                      <a:lnTo>
                        <a:pt x="576" y="666"/>
                      </a:lnTo>
                      <a:lnTo>
                        <a:pt x="588" y="636"/>
                      </a:lnTo>
                      <a:lnTo>
                        <a:pt x="612" y="600"/>
                      </a:lnTo>
                      <a:lnTo>
                        <a:pt x="630" y="558"/>
                      </a:lnTo>
                      <a:lnTo>
                        <a:pt x="642" y="504"/>
                      </a:lnTo>
                      <a:lnTo>
                        <a:pt x="648" y="432"/>
                      </a:lnTo>
                      <a:lnTo>
                        <a:pt x="648" y="378"/>
                      </a:lnTo>
                      <a:lnTo>
                        <a:pt x="642" y="336"/>
                      </a:lnTo>
                      <a:lnTo>
                        <a:pt x="642" y="300"/>
                      </a:lnTo>
                      <a:lnTo>
                        <a:pt x="636" y="252"/>
                      </a:lnTo>
                      <a:lnTo>
                        <a:pt x="624" y="204"/>
                      </a:lnTo>
                      <a:lnTo>
                        <a:pt x="606" y="162"/>
                      </a:lnTo>
                      <a:lnTo>
                        <a:pt x="600" y="150"/>
                      </a:lnTo>
                      <a:lnTo>
                        <a:pt x="600" y="138"/>
                      </a:lnTo>
                      <a:lnTo>
                        <a:pt x="606" y="132"/>
                      </a:lnTo>
                      <a:lnTo>
                        <a:pt x="618" y="120"/>
                      </a:lnTo>
                      <a:lnTo>
                        <a:pt x="624" y="114"/>
                      </a:lnTo>
                      <a:lnTo>
                        <a:pt x="630" y="102"/>
                      </a:lnTo>
                      <a:lnTo>
                        <a:pt x="636" y="96"/>
                      </a:lnTo>
                      <a:lnTo>
                        <a:pt x="642" y="90"/>
                      </a:lnTo>
                      <a:lnTo>
                        <a:pt x="642" y="78"/>
                      </a:lnTo>
                      <a:lnTo>
                        <a:pt x="648" y="66"/>
                      </a:lnTo>
                      <a:lnTo>
                        <a:pt x="666" y="60"/>
                      </a:lnTo>
                      <a:lnTo>
                        <a:pt x="678" y="60"/>
                      </a:lnTo>
                      <a:lnTo>
                        <a:pt x="690" y="66"/>
                      </a:lnTo>
                      <a:lnTo>
                        <a:pt x="702" y="60"/>
                      </a:lnTo>
                      <a:lnTo>
                        <a:pt x="708" y="54"/>
                      </a:lnTo>
                      <a:lnTo>
                        <a:pt x="708" y="36"/>
                      </a:lnTo>
                      <a:lnTo>
                        <a:pt x="714" y="12"/>
                      </a:lnTo>
                      <a:lnTo>
                        <a:pt x="720" y="0"/>
                      </a:lnTo>
                      <a:lnTo>
                        <a:pt x="72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4" name="Freeform 135">
                  <a:extLst>
                    <a:ext uri="{FF2B5EF4-FFF2-40B4-BE49-F238E27FC236}">
                      <a16:creationId xmlns:a16="http://schemas.microsoft.com/office/drawing/2014/main" id="{0D87144F-C07C-49C7-985A-3D9FDAB29A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73" y="-1416"/>
                  <a:ext cx="240" cy="276"/>
                </a:xfrm>
                <a:custGeom>
                  <a:avLst/>
                  <a:gdLst>
                    <a:gd name="T0" fmla="*/ 174 w 240"/>
                    <a:gd name="T1" fmla="*/ 0 h 276"/>
                    <a:gd name="T2" fmla="*/ 210 w 240"/>
                    <a:gd name="T3" fmla="*/ 12 h 276"/>
                    <a:gd name="T4" fmla="*/ 234 w 240"/>
                    <a:gd name="T5" fmla="*/ 36 h 276"/>
                    <a:gd name="T6" fmla="*/ 240 w 240"/>
                    <a:gd name="T7" fmla="*/ 72 h 276"/>
                    <a:gd name="T8" fmla="*/ 228 w 240"/>
                    <a:gd name="T9" fmla="*/ 108 h 276"/>
                    <a:gd name="T10" fmla="*/ 222 w 240"/>
                    <a:gd name="T11" fmla="*/ 144 h 276"/>
                    <a:gd name="T12" fmla="*/ 210 w 240"/>
                    <a:gd name="T13" fmla="*/ 168 h 276"/>
                    <a:gd name="T14" fmla="*/ 198 w 240"/>
                    <a:gd name="T15" fmla="*/ 168 h 276"/>
                    <a:gd name="T16" fmla="*/ 174 w 240"/>
                    <a:gd name="T17" fmla="*/ 150 h 276"/>
                    <a:gd name="T18" fmla="*/ 162 w 240"/>
                    <a:gd name="T19" fmla="*/ 144 h 276"/>
                    <a:gd name="T20" fmla="*/ 156 w 240"/>
                    <a:gd name="T21" fmla="*/ 156 h 276"/>
                    <a:gd name="T22" fmla="*/ 144 w 240"/>
                    <a:gd name="T23" fmla="*/ 174 h 276"/>
                    <a:gd name="T24" fmla="*/ 126 w 240"/>
                    <a:gd name="T25" fmla="*/ 198 h 276"/>
                    <a:gd name="T26" fmla="*/ 120 w 240"/>
                    <a:gd name="T27" fmla="*/ 228 h 276"/>
                    <a:gd name="T28" fmla="*/ 126 w 240"/>
                    <a:gd name="T29" fmla="*/ 264 h 276"/>
                    <a:gd name="T30" fmla="*/ 108 w 240"/>
                    <a:gd name="T31" fmla="*/ 276 h 276"/>
                    <a:gd name="T32" fmla="*/ 90 w 240"/>
                    <a:gd name="T33" fmla="*/ 276 h 276"/>
                    <a:gd name="T34" fmla="*/ 72 w 240"/>
                    <a:gd name="T35" fmla="*/ 264 h 276"/>
                    <a:gd name="T36" fmla="*/ 66 w 240"/>
                    <a:gd name="T37" fmla="*/ 240 h 276"/>
                    <a:gd name="T38" fmla="*/ 54 w 240"/>
                    <a:gd name="T39" fmla="*/ 210 h 276"/>
                    <a:gd name="T40" fmla="*/ 30 w 240"/>
                    <a:gd name="T41" fmla="*/ 186 h 276"/>
                    <a:gd name="T42" fmla="*/ 6 w 240"/>
                    <a:gd name="T43" fmla="*/ 180 h 276"/>
                    <a:gd name="T44" fmla="*/ 0 w 240"/>
                    <a:gd name="T45" fmla="*/ 168 h 276"/>
                    <a:gd name="T46" fmla="*/ 12 w 240"/>
                    <a:gd name="T47" fmla="*/ 144 h 276"/>
                    <a:gd name="T48" fmla="*/ 24 w 240"/>
                    <a:gd name="T49" fmla="*/ 120 h 276"/>
                    <a:gd name="T50" fmla="*/ 36 w 240"/>
                    <a:gd name="T51" fmla="*/ 102 h 276"/>
                    <a:gd name="T52" fmla="*/ 42 w 240"/>
                    <a:gd name="T53" fmla="*/ 78 h 276"/>
                    <a:gd name="T54" fmla="*/ 60 w 240"/>
                    <a:gd name="T55" fmla="*/ 60 h 276"/>
                    <a:gd name="T56" fmla="*/ 78 w 240"/>
                    <a:gd name="T57" fmla="*/ 54 h 276"/>
                    <a:gd name="T58" fmla="*/ 96 w 240"/>
                    <a:gd name="T59" fmla="*/ 54 h 276"/>
                    <a:gd name="T60" fmla="*/ 108 w 240"/>
                    <a:gd name="T61" fmla="*/ 36 h 276"/>
                    <a:gd name="T62" fmla="*/ 120 w 240"/>
                    <a:gd name="T63" fmla="*/ 6 h 276"/>
                    <a:gd name="T64" fmla="*/ 144 w 240"/>
                    <a:gd name="T65" fmla="*/ 0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40" h="276">
                      <a:moveTo>
                        <a:pt x="162" y="0"/>
                      </a:moveTo>
                      <a:lnTo>
                        <a:pt x="174" y="0"/>
                      </a:lnTo>
                      <a:lnTo>
                        <a:pt x="192" y="6"/>
                      </a:lnTo>
                      <a:lnTo>
                        <a:pt x="210" y="12"/>
                      </a:lnTo>
                      <a:lnTo>
                        <a:pt x="222" y="24"/>
                      </a:lnTo>
                      <a:lnTo>
                        <a:pt x="234" y="36"/>
                      </a:lnTo>
                      <a:lnTo>
                        <a:pt x="240" y="48"/>
                      </a:lnTo>
                      <a:lnTo>
                        <a:pt x="240" y="72"/>
                      </a:lnTo>
                      <a:lnTo>
                        <a:pt x="234" y="90"/>
                      </a:lnTo>
                      <a:lnTo>
                        <a:pt x="228" y="108"/>
                      </a:lnTo>
                      <a:lnTo>
                        <a:pt x="222" y="132"/>
                      </a:lnTo>
                      <a:lnTo>
                        <a:pt x="222" y="144"/>
                      </a:lnTo>
                      <a:lnTo>
                        <a:pt x="216" y="156"/>
                      </a:lnTo>
                      <a:lnTo>
                        <a:pt x="210" y="168"/>
                      </a:lnTo>
                      <a:lnTo>
                        <a:pt x="204" y="168"/>
                      </a:lnTo>
                      <a:lnTo>
                        <a:pt x="198" y="168"/>
                      </a:lnTo>
                      <a:lnTo>
                        <a:pt x="186" y="156"/>
                      </a:lnTo>
                      <a:lnTo>
                        <a:pt x="174" y="150"/>
                      </a:lnTo>
                      <a:lnTo>
                        <a:pt x="168" y="144"/>
                      </a:lnTo>
                      <a:lnTo>
                        <a:pt x="162" y="144"/>
                      </a:lnTo>
                      <a:lnTo>
                        <a:pt x="156" y="150"/>
                      </a:lnTo>
                      <a:lnTo>
                        <a:pt x="156" y="156"/>
                      </a:lnTo>
                      <a:lnTo>
                        <a:pt x="150" y="168"/>
                      </a:lnTo>
                      <a:lnTo>
                        <a:pt x="144" y="174"/>
                      </a:lnTo>
                      <a:lnTo>
                        <a:pt x="132" y="186"/>
                      </a:lnTo>
                      <a:lnTo>
                        <a:pt x="126" y="198"/>
                      </a:lnTo>
                      <a:lnTo>
                        <a:pt x="120" y="210"/>
                      </a:lnTo>
                      <a:lnTo>
                        <a:pt x="120" y="228"/>
                      </a:lnTo>
                      <a:lnTo>
                        <a:pt x="126" y="246"/>
                      </a:lnTo>
                      <a:lnTo>
                        <a:pt x="126" y="264"/>
                      </a:lnTo>
                      <a:lnTo>
                        <a:pt x="120" y="270"/>
                      </a:lnTo>
                      <a:lnTo>
                        <a:pt x="108" y="276"/>
                      </a:lnTo>
                      <a:lnTo>
                        <a:pt x="102" y="276"/>
                      </a:lnTo>
                      <a:lnTo>
                        <a:pt x="90" y="276"/>
                      </a:lnTo>
                      <a:lnTo>
                        <a:pt x="78" y="270"/>
                      </a:lnTo>
                      <a:lnTo>
                        <a:pt x="72" y="264"/>
                      </a:lnTo>
                      <a:lnTo>
                        <a:pt x="72" y="252"/>
                      </a:lnTo>
                      <a:lnTo>
                        <a:pt x="66" y="240"/>
                      </a:lnTo>
                      <a:lnTo>
                        <a:pt x="60" y="222"/>
                      </a:lnTo>
                      <a:lnTo>
                        <a:pt x="54" y="210"/>
                      </a:lnTo>
                      <a:lnTo>
                        <a:pt x="42" y="198"/>
                      </a:lnTo>
                      <a:lnTo>
                        <a:pt x="30" y="186"/>
                      </a:lnTo>
                      <a:lnTo>
                        <a:pt x="18" y="180"/>
                      </a:lnTo>
                      <a:lnTo>
                        <a:pt x="6" y="180"/>
                      </a:lnTo>
                      <a:lnTo>
                        <a:pt x="0" y="174"/>
                      </a:lnTo>
                      <a:lnTo>
                        <a:pt x="0" y="168"/>
                      </a:lnTo>
                      <a:lnTo>
                        <a:pt x="6" y="156"/>
                      </a:lnTo>
                      <a:lnTo>
                        <a:pt x="12" y="144"/>
                      </a:lnTo>
                      <a:lnTo>
                        <a:pt x="18" y="132"/>
                      </a:lnTo>
                      <a:lnTo>
                        <a:pt x="24" y="120"/>
                      </a:lnTo>
                      <a:lnTo>
                        <a:pt x="30" y="108"/>
                      </a:lnTo>
                      <a:lnTo>
                        <a:pt x="36" y="102"/>
                      </a:lnTo>
                      <a:lnTo>
                        <a:pt x="42" y="90"/>
                      </a:lnTo>
                      <a:lnTo>
                        <a:pt x="42" y="78"/>
                      </a:lnTo>
                      <a:lnTo>
                        <a:pt x="48" y="66"/>
                      </a:lnTo>
                      <a:lnTo>
                        <a:pt x="60" y="60"/>
                      </a:lnTo>
                      <a:lnTo>
                        <a:pt x="66" y="60"/>
                      </a:lnTo>
                      <a:lnTo>
                        <a:pt x="78" y="54"/>
                      </a:lnTo>
                      <a:lnTo>
                        <a:pt x="90" y="54"/>
                      </a:lnTo>
                      <a:lnTo>
                        <a:pt x="96" y="54"/>
                      </a:lnTo>
                      <a:lnTo>
                        <a:pt x="102" y="48"/>
                      </a:lnTo>
                      <a:lnTo>
                        <a:pt x="108" y="36"/>
                      </a:lnTo>
                      <a:lnTo>
                        <a:pt x="114" y="18"/>
                      </a:lnTo>
                      <a:lnTo>
                        <a:pt x="120" y="6"/>
                      </a:lnTo>
                      <a:lnTo>
                        <a:pt x="132" y="0"/>
                      </a:lnTo>
                      <a:lnTo>
                        <a:pt x="144" y="0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5" name="Freeform 136">
                  <a:extLst>
                    <a:ext uri="{FF2B5EF4-FFF2-40B4-BE49-F238E27FC236}">
                      <a16:creationId xmlns:a16="http://schemas.microsoft.com/office/drawing/2014/main" id="{5638D7FC-B08F-4E91-905C-5B311610A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91" y="-1290"/>
                  <a:ext cx="288" cy="420"/>
                </a:xfrm>
                <a:custGeom>
                  <a:avLst/>
                  <a:gdLst>
                    <a:gd name="T0" fmla="*/ 84 w 288"/>
                    <a:gd name="T1" fmla="*/ 0 h 420"/>
                    <a:gd name="T2" fmla="*/ 102 w 288"/>
                    <a:gd name="T3" fmla="*/ 12 h 420"/>
                    <a:gd name="T4" fmla="*/ 126 w 288"/>
                    <a:gd name="T5" fmla="*/ 24 h 420"/>
                    <a:gd name="T6" fmla="*/ 168 w 288"/>
                    <a:gd name="T7" fmla="*/ 36 h 420"/>
                    <a:gd name="T8" fmla="*/ 234 w 288"/>
                    <a:gd name="T9" fmla="*/ 78 h 420"/>
                    <a:gd name="T10" fmla="*/ 258 w 288"/>
                    <a:gd name="T11" fmla="*/ 102 h 420"/>
                    <a:gd name="T12" fmla="*/ 270 w 288"/>
                    <a:gd name="T13" fmla="*/ 126 h 420"/>
                    <a:gd name="T14" fmla="*/ 270 w 288"/>
                    <a:gd name="T15" fmla="*/ 156 h 420"/>
                    <a:gd name="T16" fmla="*/ 276 w 288"/>
                    <a:gd name="T17" fmla="*/ 186 h 420"/>
                    <a:gd name="T18" fmla="*/ 276 w 288"/>
                    <a:gd name="T19" fmla="*/ 210 h 420"/>
                    <a:gd name="T20" fmla="*/ 276 w 288"/>
                    <a:gd name="T21" fmla="*/ 228 h 420"/>
                    <a:gd name="T22" fmla="*/ 276 w 288"/>
                    <a:gd name="T23" fmla="*/ 246 h 420"/>
                    <a:gd name="T24" fmla="*/ 264 w 288"/>
                    <a:gd name="T25" fmla="*/ 264 h 420"/>
                    <a:gd name="T26" fmla="*/ 270 w 288"/>
                    <a:gd name="T27" fmla="*/ 276 h 420"/>
                    <a:gd name="T28" fmla="*/ 282 w 288"/>
                    <a:gd name="T29" fmla="*/ 288 h 420"/>
                    <a:gd name="T30" fmla="*/ 288 w 288"/>
                    <a:gd name="T31" fmla="*/ 300 h 420"/>
                    <a:gd name="T32" fmla="*/ 282 w 288"/>
                    <a:gd name="T33" fmla="*/ 318 h 420"/>
                    <a:gd name="T34" fmla="*/ 264 w 288"/>
                    <a:gd name="T35" fmla="*/ 336 h 420"/>
                    <a:gd name="T36" fmla="*/ 258 w 288"/>
                    <a:gd name="T37" fmla="*/ 372 h 420"/>
                    <a:gd name="T38" fmla="*/ 252 w 288"/>
                    <a:gd name="T39" fmla="*/ 408 h 420"/>
                    <a:gd name="T40" fmla="*/ 228 w 288"/>
                    <a:gd name="T41" fmla="*/ 420 h 420"/>
                    <a:gd name="T42" fmla="*/ 198 w 288"/>
                    <a:gd name="T43" fmla="*/ 414 h 420"/>
                    <a:gd name="T44" fmla="*/ 162 w 288"/>
                    <a:gd name="T45" fmla="*/ 396 h 420"/>
                    <a:gd name="T46" fmla="*/ 144 w 288"/>
                    <a:gd name="T47" fmla="*/ 378 h 420"/>
                    <a:gd name="T48" fmla="*/ 144 w 288"/>
                    <a:gd name="T49" fmla="*/ 354 h 420"/>
                    <a:gd name="T50" fmla="*/ 138 w 288"/>
                    <a:gd name="T51" fmla="*/ 324 h 420"/>
                    <a:gd name="T52" fmla="*/ 126 w 288"/>
                    <a:gd name="T53" fmla="*/ 300 h 420"/>
                    <a:gd name="T54" fmla="*/ 114 w 288"/>
                    <a:gd name="T55" fmla="*/ 276 h 420"/>
                    <a:gd name="T56" fmla="*/ 132 w 288"/>
                    <a:gd name="T57" fmla="*/ 258 h 420"/>
                    <a:gd name="T58" fmla="*/ 144 w 288"/>
                    <a:gd name="T59" fmla="*/ 246 h 420"/>
                    <a:gd name="T60" fmla="*/ 138 w 288"/>
                    <a:gd name="T61" fmla="*/ 222 h 420"/>
                    <a:gd name="T62" fmla="*/ 114 w 288"/>
                    <a:gd name="T63" fmla="*/ 210 h 420"/>
                    <a:gd name="T64" fmla="*/ 90 w 288"/>
                    <a:gd name="T65" fmla="*/ 222 h 420"/>
                    <a:gd name="T66" fmla="*/ 78 w 288"/>
                    <a:gd name="T67" fmla="*/ 216 h 420"/>
                    <a:gd name="T68" fmla="*/ 72 w 288"/>
                    <a:gd name="T69" fmla="*/ 198 h 420"/>
                    <a:gd name="T70" fmla="*/ 60 w 288"/>
                    <a:gd name="T71" fmla="*/ 174 h 420"/>
                    <a:gd name="T72" fmla="*/ 36 w 288"/>
                    <a:gd name="T73" fmla="*/ 144 h 420"/>
                    <a:gd name="T74" fmla="*/ 6 w 288"/>
                    <a:gd name="T75" fmla="*/ 126 h 420"/>
                    <a:gd name="T76" fmla="*/ 0 w 288"/>
                    <a:gd name="T77" fmla="*/ 102 h 420"/>
                    <a:gd name="T78" fmla="*/ 0 w 288"/>
                    <a:gd name="T79" fmla="*/ 72 h 420"/>
                    <a:gd name="T80" fmla="*/ 18 w 288"/>
                    <a:gd name="T81" fmla="*/ 54 h 420"/>
                    <a:gd name="T82" fmla="*/ 48 w 288"/>
                    <a:gd name="T83" fmla="*/ 36 h 420"/>
                    <a:gd name="T84" fmla="*/ 60 w 288"/>
                    <a:gd name="T85" fmla="*/ 18 h 420"/>
                    <a:gd name="T86" fmla="*/ 78 w 288"/>
                    <a:gd name="T87" fmla="*/ 0 h 4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88" h="420">
                      <a:moveTo>
                        <a:pt x="78" y="0"/>
                      </a:moveTo>
                      <a:lnTo>
                        <a:pt x="84" y="0"/>
                      </a:lnTo>
                      <a:lnTo>
                        <a:pt x="90" y="6"/>
                      </a:lnTo>
                      <a:lnTo>
                        <a:pt x="102" y="12"/>
                      </a:lnTo>
                      <a:lnTo>
                        <a:pt x="114" y="18"/>
                      </a:lnTo>
                      <a:lnTo>
                        <a:pt x="126" y="24"/>
                      </a:lnTo>
                      <a:lnTo>
                        <a:pt x="138" y="24"/>
                      </a:lnTo>
                      <a:lnTo>
                        <a:pt x="168" y="36"/>
                      </a:lnTo>
                      <a:lnTo>
                        <a:pt x="204" y="60"/>
                      </a:lnTo>
                      <a:lnTo>
                        <a:pt x="234" y="78"/>
                      </a:lnTo>
                      <a:lnTo>
                        <a:pt x="246" y="90"/>
                      </a:lnTo>
                      <a:lnTo>
                        <a:pt x="258" y="102"/>
                      </a:lnTo>
                      <a:lnTo>
                        <a:pt x="270" y="114"/>
                      </a:lnTo>
                      <a:lnTo>
                        <a:pt x="270" y="126"/>
                      </a:lnTo>
                      <a:lnTo>
                        <a:pt x="270" y="144"/>
                      </a:lnTo>
                      <a:lnTo>
                        <a:pt x="270" y="156"/>
                      </a:lnTo>
                      <a:lnTo>
                        <a:pt x="270" y="174"/>
                      </a:lnTo>
                      <a:lnTo>
                        <a:pt x="276" y="186"/>
                      </a:lnTo>
                      <a:lnTo>
                        <a:pt x="276" y="198"/>
                      </a:lnTo>
                      <a:lnTo>
                        <a:pt x="276" y="210"/>
                      </a:lnTo>
                      <a:lnTo>
                        <a:pt x="276" y="222"/>
                      </a:lnTo>
                      <a:lnTo>
                        <a:pt x="276" y="228"/>
                      </a:lnTo>
                      <a:lnTo>
                        <a:pt x="276" y="240"/>
                      </a:lnTo>
                      <a:lnTo>
                        <a:pt x="276" y="246"/>
                      </a:lnTo>
                      <a:lnTo>
                        <a:pt x="270" y="252"/>
                      </a:lnTo>
                      <a:lnTo>
                        <a:pt x="264" y="264"/>
                      </a:lnTo>
                      <a:lnTo>
                        <a:pt x="264" y="270"/>
                      </a:lnTo>
                      <a:lnTo>
                        <a:pt x="270" y="276"/>
                      </a:lnTo>
                      <a:lnTo>
                        <a:pt x="276" y="282"/>
                      </a:lnTo>
                      <a:lnTo>
                        <a:pt x="282" y="288"/>
                      </a:lnTo>
                      <a:lnTo>
                        <a:pt x="288" y="294"/>
                      </a:lnTo>
                      <a:lnTo>
                        <a:pt x="288" y="300"/>
                      </a:lnTo>
                      <a:lnTo>
                        <a:pt x="288" y="312"/>
                      </a:lnTo>
                      <a:lnTo>
                        <a:pt x="282" y="318"/>
                      </a:lnTo>
                      <a:lnTo>
                        <a:pt x="270" y="324"/>
                      </a:lnTo>
                      <a:lnTo>
                        <a:pt x="264" y="336"/>
                      </a:lnTo>
                      <a:lnTo>
                        <a:pt x="258" y="354"/>
                      </a:lnTo>
                      <a:lnTo>
                        <a:pt x="258" y="372"/>
                      </a:lnTo>
                      <a:lnTo>
                        <a:pt x="258" y="390"/>
                      </a:lnTo>
                      <a:lnTo>
                        <a:pt x="252" y="408"/>
                      </a:lnTo>
                      <a:lnTo>
                        <a:pt x="240" y="420"/>
                      </a:lnTo>
                      <a:lnTo>
                        <a:pt x="228" y="420"/>
                      </a:lnTo>
                      <a:lnTo>
                        <a:pt x="216" y="420"/>
                      </a:lnTo>
                      <a:lnTo>
                        <a:pt x="198" y="414"/>
                      </a:lnTo>
                      <a:lnTo>
                        <a:pt x="180" y="402"/>
                      </a:lnTo>
                      <a:lnTo>
                        <a:pt x="162" y="396"/>
                      </a:lnTo>
                      <a:lnTo>
                        <a:pt x="150" y="390"/>
                      </a:lnTo>
                      <a:lnTo>
                        <a:pt x="144" y="378"/>
                      </a:lnTo>
                      <a:lnTo>
                        <a:pt x="144" y="372"/>
                      </a:lnTo>
                      <a:lnTo>
                        <a:pt x="144" y="354"/>
                      </a:lnTo>
                      <a:lnTo>
                        <a:pt x="144" y="342"/>
                      </a:lnTo>
                      <a:lnTo>
                        <a:pt x="138" y="324"/>
                      </a:lnTo>
                      <a:lnTo>
                        <a:pt x="138" y="312"/>
                      </a:lnTo>
                      <a:lnTo>
                        <a:pt x="126" y="300"/>
                      </a:lnTo>
                      <a:lnTo>
                        <a:pt x="114" y="288"/>
                      </a:lnTo>
                      <a:lnTo>
                        <a:pt x="114" y="276"/>
                      </a:lnTo>
                      <a:lnTo>
                        <a:pt x="120" y="270"/>
                      </a:lnTo>
                      <a:lnTo>
                        <a:pt x="132" y="258"/>
                      </a:lnTo>
                      <a:lnTo>
                        <a:pt x="138" y="258"/>
                      </a:lnTo>
                      <a:lnTo>
                        <a:pt x="144" y="246"/>
                      </a:lnTo>
                      <a:lnTo>
                        <a:pt x="138" y="234"/>
                      </a:lnTo>
                      <a:lnTo>
                        <a:pt x="138" y="222"/>
                      </a:lnTo>
                      <a:lnTo>
                        <a:pt x="126" y="216"/>
                      </a:lnTo>
                      <a:lnTo>
                        <a:pt x="114" y="210"/>
                      </a:lnTo>
                      <a:lnTo>
                        <a:pt x="108" y="216"/>
                      </a:lnTo>
                      <a:lnTo>
                        <a:pt x="90" y="222"/>
                      </a:lnTo>
                      <a:lnTo>
                        <a:pt x="84" y="216"/>
                      </a:lnTo>
                      <a:lnTo>
                        <a:pt x="78" y="216"/>
                      </a:lnTo>
                      <a:lnTo>
                        <a:pt x="72" y="204"/>
                      </a:lnTo>
                      <a:lnTo>
                        <a:pt x="72" y="198"/>
                      </a:lnTo>
                      <a:lnTo>
                        <a:pt x="66" y="186"/>
                      </a:lnTo>
                      <a:lnTo>
                        <a:pt x="60" y="174"/>
                      </a:lnTo>
                      <a:lnTo>
                        <a:pt x="48" y="156"/>
                      </a:lnTo>
                      <a:lnTo>
                        <a:pt x="36" y="144"/>
                      </a:lnTo>
                      <a:lnTo>
                        <a:pt x="18" y="132"/>
                      </a:lnTo>
                      <a:lnTo>
                        <a:pt x="6" y="126"/>
                      </a:lnTo>
                      <a:lnTo>
                        <a:pt x="0" y="114"/>
                      </a:lnTo>
                      <a:lnTo>
                        <a:pt x="0" y="102"/>
                      </a:lnTo>
                      <a:lnTo>
                        <a:pt x="0" y="84"/>
                      </a:lnTo>
                      <a:lnTo>
                        <a:pt x="0" y="72"/>
                      </a:lnTo>
                      <a:lnTo>
                        <a:pt x="6" y="60"/>
                      </a:lnTo>
                      <a:lnTo>
                        <a:pt x="18" y="54"/>
                      </a:lnTo>
                      <a:lnTo>
                        <a:pt x="30" y="48"/>
                      </a:lnTo>
                      <a:lnTo>
                        <a:pt x="48" y="36"/>
                      </a:lnTo>
                      <a:lnTo>
                        <a:pt x="54" y="30"/>
                      </a:lnTo>
                      <a:lnTo>
                        <a:pt x="60" y="18"/>
                      </a:lnTo>
                      <a:lnTo>
                        <a:pt x="72" y="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6" name="Freeform 137">
                  <a:extLst>
                    <a:ext uri="{FF2B5EF4-FFF2-40B4-BE49-F238E27FC236}">
                      <a16:creationId xmlns:a16="http://schemas.microsoft.com/office/drawing/2014/main" id="{4F94DC4E-E922-4807-BC3A-59B54AC5DB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65" y="-3324"/>
                  <a:ext cx="612" cy="744"/>
                </a:xfrm>
                <a:custGeom>
                  <a:avLst/>
                  <a:gdLst>
                    <a:gd name="T0" fmla="*/ 126 w 612"/>
                    <a:gd name="T1" fmla="*/ 12 h 744"/>
                    <a:gd name="T2" fmla="*/ 198 w 612"/>
                    <a:gd name="T3" fmla="*/ 84 h 744"/>
                    <a:gd name="T4" fmla="*/ 312 w 612"/>
                    <a:gd name="T5" fmla="*/ 150 h 744"/>
                    <a:gd name="T6" fmla="*/ 402 w 612"/>
                    <a:gd name="T7" fmla="*/ 192 h 744"/>
                    <a:gd name="T8" fmla="*/ 468 w 612"/>
                    <a:gd name="T9" fmla="*/ 180 h 744"/>
                    <a:gd name="T10" fmla="*/ 510 w 612"/>
                    <a:gd name="T11" fmla="*/ 144 h 744"/>
                    <a:gd name="T12" fmla="*/ 534 w 612"/>
                    <a:gd name="T13" fmla="*/ 120 h 744"/>
                    <a:gd name="T14" fmla="*/ 546 w 612"/>
                    <a:gd name="T15" fmla="*/ 138 h 744"/>
                    <a:gd name="T16" fmla="*/ 546 w 612"/>
                    <a:gd name="T17" fmla="*/ 204 h 744"/>
                    <a:gd name="T18" fmla="*/ 570 w 612"/>
                    <a:gd name="T19" fmla="*/ 222 h 744"/>
                    <a:gd name="T20" fmla="*/ 582 w 612"/>
                    <a:gd name="T21" fmla="*/ 252 h 744"/>
                    <a:gd name="T22" fmla="*/ 600 w 612"/>
                    <a:gd name="T23" fmla="*/ 264 h 744"/>
                    <a:gd name="T24" fmla="*/ 612 w 612"/>
                    <a:gd name="T25" fmla="*/ 276 h 744"/>
                    <a:gd name="T26" fmla="*/ 588 w 612"/>
                    <a:gd name="T27" fmla="*/ 312 h 744"/>
                    <a:gd name="T28" fmla="*/ 540 w 612"/>
                    <a:gd name="T29" fmla="*/ 342 h 744"/>
                    <a:gd name="T30" fmla="*/ 504 w 612"/>
                    <a:gd name="T31" fmla="*/ 366 h 744"/>
                    <a:gd name="T32" fmla="*/ 474 w 612"/>
                    <a:gd name="T33" fmla="*/ 378 h 744"/>
                    <a:gd name="T34" fmla="*/ 432 w 612"/>
                    <a:gd name="T35" fmla="*/ 390 h 744"/>
                    <a:gd name="T36" fmla="*/ 408 w 612"/>
                    <a:gd name="T37" fmla="*/ 420 h 744"/>
                    <a:gd name="T38" fmla="*/ 414 w 612"/>
                    <a:gd name="T39" fmla="*/ 456 h 744"/>
                    <a:gd name="T40" fmla="*/ 456 w 612"/>
                    <a:gd name="T41" fmla="*/ 528 h 744"/>
                    <a:gd name="T42" fmla="*/ 468 w 612"/>
                    <a:gd name="T43" fmla="*/ 600 h 744"/>
                    <a:gd name="T44" fmla="*/ 438 w 612"/>
                    <a:gd name="T45" fmla="*/ 588 h 744"/>
                    <a:gd name="T46" fmla="*/ 348 w 612"/>
                    <a:gd name="T47" fmla="*/ 510 h 744"/>
                    <a:gd name="T48" fmla="*/ 276 w 612"/>
                    <a:gd name="T49" fmla="*/ 480 h 744"/>
                    <a:gd name="T50" fmla="*/ 240 w 612"/>
                    <a:gd name="T51" fmla="*/ 492 h 744"/>
                    <a:gd name="T52" fmla="*/ 216 w 612"/>
                    <a:gd name="T53" fmla="*/ 522 h 744"/>
                    <a:gd name="T54" fmla="*/ 192 w 612"/>
                    <a:gd name="T55" fmla="*/ 546 h 744"/>
                    <a:gd name="T56" fmla="*/ 168 w 612"/>
                    <a:gd name="T57" fmla="*/ 564 h 744"/>
                    <a:gd name="T58" fmla="*/ 174 w 612"/>
                    <a:gd name="T59" fmla="*/ 594 h 744"/>
                    <a:gd name="T60" fmla="*/ 288 w 612"/>
                    <a:gd name="T61" fmla="*/ 636 h 744"/>
                    <a:gd name="T62" fmla="*/ 324 w 612"/>
                    <a:gd name="T63" fmla="*/ 672 h 744"/>
                    <a:gd name="T64" fmla="*/ 306 w 612"/>
                    <a:gd name="T65" fmla="*/ 702 h 744"/>
                    <a:gd name="T66" fmla="*/ 270 w 612"/>
                    <a:gd name="T67" fmla="*/ 702 h 744"/>
                    <a:gd name="T68" fmla="*/ 246 w 612"/>
                    <a:gd name="T69" fmla="*/ 714 h 744"/>
                    <a:gd name="T70" fmla="*/ 246 w 612"/>
                    <a:gd name="T71" fmla="*/ 738 h 744"/>
                    <a:gd name="T72" fmla="*/ 216 w 612"/>
                    <a:gd name="T73" fmla="*/ 744 h 744"/>
                    <a:gd name="T74" fmla="*/ 174 w 612"/>
                    <a:gd name="T75" fmla="*/ 678 h 744"/>
                    <a:gd name="T76" fmla="*/ 60 w 612"/>
                    <a:gd name="T77" fmla="*/ 582 h 744"/>
                    <a:gd name="T78" fmla="*/ 0 w 612"/>
                    <a:gd name="T79" fmla="*/ 522 h 744"/>
                    <a:gd name="T80" fmla="*/ 54 w 612"/>
                    <a:gd name="T81" fmla="*/ 516 h 744"/>
                    <a:gd name="T82" fmla="*/ 72 w 612"/>
                    <a:gd name="T83" fmla="*/ 498 h 744"/>
                    <a:gd name="T84" fmla="*/ 60 w 612"/>
                    <a:gd name="T85" fmla="*/ 450 h 744"/>
                    <a:gd name="T86" fmla="*/ 60 w 612"/>
                    <a:gd name="T87" fmla="*/ 402 h 744"/>
                    <a:gd name="T88" fmla="*/ 96 w 612"/>
                    <a:gd name="T89" fmla="*/ 390 h 744"/>
                    <a:gd name="T90" fmla="*/ 132 w 612"/>
                    <a:gd name="T91" fmla="*/ 390 h 744"/>
                    <a:gd name="T92" fmla="*/ 156 w 612"/>
                    <a:gd name="T93" fmla="*/ 372 h 744"/>
                    <a:gd name="T94" fmla="*/ 150 w 612"/>
                    <a:gd name="T95" fmla="*/ 318 h 744"/>
                    <a:gd name="T96" fmla="*/ 126 w 612"/>
                    <a:gd name="T97" fmla="*/ 222 h 744"/>
                    <a:gd name="T98" fmla="*/ 162 w 612"/>
                    <a:gd name="T99" fmla="*/ 198 h 744"/>
                    <a:gd name="T100" fmla="*/ 144 w 612"/>
                    <a:gd name="T101" fmla="*/ 162 h 744"/>
                    <a:gd name="T102" fmla="*/ 78 w 612"/>
                    <a:gd name="T103" fmla="*/ 96 h 744"/>
                    <a:gd name="T104" fmla="*/ 78 w 612"/>
                    <a:gd name="T105" fmla="*/ 30 h 744"/>
                    <a:gd name="T106" fmla="*/ 90 w 612"/>
                    <a:gd name="T107" fmla="*/ 6 h 7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12" h="744">
                      <a:moveTo>
                        <a:pt x="102" y="0"/>
                      </a:moveTo>
                      <a:lnTo>
                        <a:pt x="114" y="0"/>
                      </a:lnTo>
                      <a:lnTo>
                        <a:pt x="126" y="12"/>
                      </a:lnTo>
                      <a:lnTo>
                        <a:pt x="144" y="24"/>
                      </a:lnTo>
                      <a:lnTo>
                        <a:pt x="162" y="48"/>
                      </a:lnTo>
                      <a:lnTo>
                        <a:pt x="198" y="84"/>
                      </a:lnTo>
                      <a:lnTo>
                        <a:pt x="228" y="114"/>
                      </a:lnTo>
                      <a:lnTo>
                        <a:pt x="264" y="138"/>
                      </a:lnTo>
                      <a:lnTo>
                        <a:pt x="312" y="150"/>
                      </a:lnTo>
                      <a:lnTo>
                        <a:pt x="348" y="162"/>
                      </a:lnTo>
                      <a:lnTo>
                        <a:pt x="372" y="180"/>
                      </a:lnTo>
                      <a:lnTo>
                        <a:pt x="402" y="192"/>
                      </a:lnTo>
                      <a:lnTo>
                        <a:pt x="426" y="204"/>
                      </a:lnTo>
                      <a:lnTo>
                        <a:pt x="450" y="192"/>
                      </a:lnTo>
                      <a:lnTo>
                        <a:pt x="468" y="180"/>
                      </a:lnTo>
                      <a:lnTo>
                        <a:pt x="480" y="168"/>
                      </a:lnTo>
                      <a:lnTo>
                        <a:pt x="498" y="156"/>
                      </a:lnTo>
                      <a:lnTo>
                        <a:pt x="510" y="144"/>
                      </a:lnTo>
                      <a:lnTo>
                        <a:pt x="516" y="132"/>
                      </a:lnTo>
                      <a:lnTo>
                        <a:pt x="528" y="126"/>
                      </a:lnTo>
                      <a:lnTo>
                        <a:pt x="534" y="120"/>
                      </a:lnTo>
                      <a:lnTo>
                        <a:pt x="540" y="120"/>
                      </a:lnTo>
                      <a:lnTo>
                        <a:pt x="546" y="126"/>
                      </a:lnTo>
                      <a:lnTo>
                        <a:pt x="546" y="138"/>
                      </a:lnTo>
                      <a:lnTo>
                        <a:pt x="546" y="168"/>
                      </a:lnTo>
                      <a:lnTo>
                        <a:pt x="540" y="186"/>
                      </a:lnTo>
                      <a:lnTo>
                        <a:pt x="546" y="204"/>
                      </a:lnTo>
                      <a:lnTo>
                        <a:pt x="552" y="216"/>
                      </a:lnTo>
                      <a:lnTo>
                        <a:pt x="564" y="216"/>
                      </a:lnTo>
                      <a:lnTo>
                        <a:pt x="570" y="222"/>
                      </a:lnTo>
                      <a:lnTo>
                        <a:pt x="576" y="234"/>
                      </a:lnTo>
                      <a:lnTo>
                        <a:pt x="576" y="240"/>
                      </a:lnTo>
                      <a:lnTo>
                        <a:pt x="582" y="252"/>
                      </a:lnTo>
                      <a:lnTo>
                        <a:pt x="582" y="258"/>
                      </a:lnTo>
                      <a:lnTo>
                        <a:pt x="588" y="264"/>
                      </a:lnTo>
                      <a:lnTo>
                        <a:pt x="600" y="264"/>
                      </a:lnTo>
                      <a:lnTo>
                        <a:pt x="612" y="264"/>
                      </a:lnTo>
                      <a:lnTo>
                        <a:pt x="612" y="270"/>
                      </a:lnTo>
                      <a:lnTo>
                        <a:pt x="612" y="276"/>
                      </a:lnTo>
                      <a:lnTo>
                        <a:pt x="612" y="288"/>
                      </a:lnTo>
                      <a:lnTo>
                        <a:pt x="600" y="300"/>
                      </a:lnTo>
                      <a:lnTo>
                        <a:pt x="588" y="312"/>
                      </a:lnTo>
                      <a:lnTo>
                        <a:pt x="576" y="318"/>
                      </a:lnTo>
                      <a:lnTo>
                        <a:pt x="558" y="330"/>
                      </a:lnTo>
                      <a:lnTo>
                        <a:pt x="540" y="342"/>
                      </a:lnTo>
                      <a:lnTo>
                        <a:pt x="522" y="348"/>
                      </a:lnTo>
                      <a:lnTo>
                        <a:pt x="510" y="360"/>
                      </a:lnTo>
                      <a:lnTo>
                        <a:pt x="504" y="366"/>
                      </a:lnTo>
                      <a:lnTo>
                        <a:pt x="498" y="372"/>
                      </a:lnTo>
                      <a:lnTo>
                        <a:pt x="486" y="372"/>
                      </a:lnTo>
                      <a:lnTo>
                        <a:pt x="474" y="378"/>
                      </a:lnTo>
                      <a:lnTo>
                        <a:pt x="462" y="378"/>
                      </a:lnTo>
                      <a:lnTo>
                        <a:pt x="444" y="384"/>
                      </a:lnTo>
                      <a:lnTo>
                        <a:pt x="432" y="390"/>
                      </a:lnTo>
                      <a:lnTo>
                        <a:pt x="420" y="396"/>
                      </a:lnTo>
                      <a:lnTo>
                        <a:pt x="414" y="408"/>
                      </a:lnTo>
                      <a:lnTo>
                        <a:pt x="408" y="420"/>
                      </a:lnTo>
                      <a:lnTo>
                        <a:pt x="408" y="432"/>
                      </a:lnTo>
                      <a:lnTo>
                        <a:pt x="408" y="444"/>
                      </a:lnTo>
                      <a:lnTo>
                        <a:pt x="414" y="456"/>
                      </a:lnTo>
                      <a:lnTo>
                        <a:pt x="420" y="468"/>
                      </a:lnTo>
                      <a:lnTo>
                        <a:pt x="432" y="486"/>
                      </a:lnTo>
                      <a:lnTo>
                        <a:pt x="456" y="528"/>
                      </a:lnTo>
                      <a:lnTo>
                        <a:pt x="468" y="570"/>
                      </a:lnTo>
                      <a:lnTo>
                        <a:pt x="468" y="594"/>
                      </a:lnTo>
                      <a:lnTo>
                        <a:pt x="468" y="600"/>
                      </a:lnTo>
                      <a:lnTo>
                        <a:pt x="456" y="600"/>
                      </a:lnTo>
                      <a:lnTo>
                        <a:pt x="450" y="594"/>
                      </a:lnTo>
                      <a:lnTo>
                        <a:pt x="438" y="588"/>
                      </a:lnTo>
                      <a:lnTo>
                        <a:pt x="426" y="570"/>
                      </a:lnTo>
                      <a:lnTo>
                        <a:pt x="390" y="540"/>
                      </a:lnTo>
                      <a:lnTo>
                        <a:pt x="348" y="510"/>
                      </a:lnTo>
                      <a:lnTo>
                        <a:pt x="312" y="492"/>
                      </a:lnTo>
                      <a:lnTo>
                        <a:pt x="294" y="486"/>
                      </a:lnTo>
                      <a:lnTo>
                        <a:pt x="276" y="480"/>
                      </a:lnTo>
                      <a:lnTo>
                        <a:pt x="264" y="480"/>
                      </a:lnTo>
                      <a:lnTo>
                        <a:pt x="252" y="486"/>
                      </a:lnTo>
                      <a:lnTo>
                        <a:pt x="240" y="492"/>
                      </a:lnTo>
                      <a:lnTo>
                        <a:pt x="228" y="504"/>
                      </a:lnTo>
                      <a:lnTo>
                        <a:pt x="222" y="516"/>
                      </a:lnTo>
                      <a:lnTo>
                        <a:pt x="216" y="522"/>
                      </a:lnTo>
                      <a:lnTo>
                        <a:pt x="210" y="534"/>
                      </a:lnTo>
                      <a:lnTo>
                        <a:pt x="204" y="540"/>
                      </a:lnTo>
                      <a:lnTo>
                        <a:pt x="192" y="546"/>
                      </a:lnTo>
                      <a:lnTo>
                        <a:pt x="180" y="546"/>
                      </a:lnTo>
                      <a:lnTo>
                        <a:pt x="174" y="552"/>
                      </a:lnTo>
                      <a:lnTo>
                        <a:pt x="168" y="564"/>
                      </a:lnTo>
                      <a:lnTo>
                        <a:pt x="162" y="576"/>
                      </a:lnTo>
                      <a:lnTo>
                        <a:pt x="168" y="588"/>
                      </a:lnTo>
                      <a:lnTo>
                        <a:pt x="174" y="594"/>
                      </a:lnTo>
                      <a:lnTo>
                        <a:pt x="192" y="600"/>
                      </a:lnTo>
                      <a:lnTo>
                        <a:pt x="240" y="618"/>
                      </a:lnTo>
                      <a:lnTo>
                        <a:pt x="288" y="636"/>
                      </a:lnTo>
                      <a:lnTo>
                        <a:pt x="318" y="648"/>
                      </a:lnTo>
                      <a:lnTo>
                        <a:pt x="318" y="660"/>
                      </a:lnTo>
                      <a:lnTo>
                        <a:pt x="324" y="672"/>
                      </a:lnTo>
                      <a:lnTo>
                        <a:pt x="318" y="678"/>
                      </a:lnTo>
                      <a:lnTo>
                        <a:pt x="312" y="690"/>
                      </a:lnTo>
                      <a:lnTo>
                        <a:pt x="306" y="702"/>
                      </a:lnTo>
                      <a:lnTo>
                        <a:pt x="294" y="702"/>
                      </a:lnTo>
                      <a:lnTo>
                        <a:pt x="282" y="702"/>
                      </a:lnTo>
                      <a:lnTo>
                        <a:pt x="270" y="702"/>
                      </a:lnTo>
                      <a:lnTo>
                        <a:pt x="258" y="702"/>
                      </a:lnTo>
                      <a:lnTo>
                        <a:pt x="252" y="708"/>
                      </a:lnTo>
                      <a:lnTo>
                        <a:pt x="246" y="714"/>
                      </a:lnTo>
                      <a:lnTo>
                        <a:pt x="246" y="720"/>
                      </a:lnTo>
                      <a:lnTo>
                        <a:pt x="246" y="726"/>
                      </a:lnTo>
                      <a:lnTo>
                        <a:pt x="246" y="738"/>
                      </a:lnTo>
                      <a:lnTo>
                        <a:pt x="240" y="744"/>
                      </a:lnTo>
                      <a:lnTo>
                        <a:pt x="228" y="744"/>
                      </a:lnTo>
                      <a:lnTo>
                        <a:pt x="216" y="744"/>
                      </a:lnTo>
                      <a:lnTo>
                        <a:pt x="204" y="726"/>
                      </a:lnTo>
                      <a:lnTo>
                        <a:pt x="186" y="708"/>
                      </a:lnTo>
                      <a:lnTo>
                        <a:pt x="174" y="678"/>
                      </a:lnTo>
                      <a:lnTo>
                        <a:pt x="144" y="648"/>
                      </a:lnTo>
                      <a:lnTo>
                        <a:pt x="102" y="612"/>
                      </a:lnTo>
                      <a:lnTo>
                        <a:pt x="60" y="582"/>
                      </a:lnTo>
                      <a:lnTo>
                        <a:pt x="24" y="558"/>
                      </a:lnTo>
                      <a:lnTo>
                        <a:pt x="6" y="534"/>
                      </a:lnTo>
                      <a:lnTo>
                        <a:pt x="0" y="522"/>
                      </a:lnTo>
                      <a:lnTo>
                        <a:pt x="18" y="516"/>
                      </a:lnTo>
                      <a:lnTo>
                        <a:pt x="36" y="516"/>
                      </a:lnTo>
                      <a:lnTo>
                        <a:pt x="54" y="516"/>
                      </a:lnTo>
                      <a:lnTo>
                        <a:pt x="60" y="510"/>
                      </a:lnTo>
                      <a:lnTo>
                        <a:pt x="72" y="510"/>
                      </a:lnTo>
                      <a:lnTo>
                        <a:pt x="72" y="498"/>
                      </a:lnTo>
                      <a:lnTo>
                        <a:pt x="72" y="486"/>
                      </a:lnTo>
                      <a:lnTo>
                        <a:pt x="66" y="468"/>
                      </a:lnTo>
                      <a:lnTo>
                        <a:pt x="60" y="450"/>
                      </a:lnTo>
                      <a:lnTo>
                        <a:pt x="60" y="432"/>
                      </a:lnTo>
                      <a:lnTo>
                        <a:pt x="60" y="414"/>
                      </a:lnTo>
                      <a:lnTo>
                        <a:pt x="60" y="402"/>
                      </a:lnTo>
                      <a:lnTo>
                        <a:pt x="72" y="390"/>
                      </a:lnTo>
                      <a:lnTo>
                        <a:pt x="78" y="384"/>
                      </a:lnTo>
                      <a:lnTo>
                        <a:pt x="96" y="390"/>
                      </a:lnTo>
                      <a:lnTo>
                        <a:pt x="108" y="390"/>
                      </a:lnTo>
                      <a:lnTo>
                        <a:pt x="120" y="390"/>
                      </a:lnTo>
                      <a:lnTo>
                        <a:pt x="132" y="390"/>
                      </a:lnTo>
                      <a:lnTo>
                        <a:pt x="144" y="390"/>
                      </a:lnTo>
                      <a:lnTo>
                        <a:pt x="150" y="378"/>
                      </a:lnTo>
                      <a:lnTo>
                        <a:pt x="156" y="372"/>
                      </a:lnTo>
                      <a:lnTo>
                        <a:pt x="162" y="354"/>
                      </a:lnTo>
                      <a:lnTo>
                        <a:pt x="156" y="336"/>
                      </a:lnTo>
                      <a:lnTo>
                        <a:pt x="150" y="318"/>
                      </a:lnTo>
                      <a:lnTo>
                        <a:pt x="132" y="270"/>
                      </a:lnTo>
                      <a:lnTo>
                        <a:pt x="126" y="240"/>
                      </a:lnTo>
                      <a:lnTo>
                        <a:pt x="126" y="222"/>
                      </a:lnTo>
                      <a:lnTo>
                        <a:pt x="144" y="210"/>
                      </a:lnTo>
                      <a:lnTo>
                        <a:pt x="156" y="204"/>
                      </a:lnTo>
                      <a:lnTo>
                        <a:pt x="162" y="198"/>
                      </a:lnTo>
                      <a:lnTo>
                        <a:pt x="162" y="192"/>
                      </a:lnTo>
                      <a:lnTo>
                        <a:pt x="156" y="180"/>
                      </a:lnTo>
                      <a:lnTo>
                        <a:pt x="144" y="162"/>
                      </a:lnTo>
                      <a:lnTo>
                        <a:pt x="126" y="144"/>
                      </a:lnTo>
                      <a:lnTo>
                        <a:pt x="102" y="120"/>
                      </a:lnTo>
                      <a:lnTo>
                        <a:pt x="78" y="96"/>
                      </a:lnTo>
                      <a:lnTo>
                        <a:pt x="66" y="78"/>
                      </a:lnTo>
                      <a:lnTo>
                        <a:pt x="72" y="48"/>
                      </a:lnTo>
                      <a:lnTo>
                        <a:pt x="78" y="30"/>
                      </a:lnTo>
                      <a:lnTo>
                        <a:pt x="78" y="18"/>
                      </a:lnTo>
                      <a:lnTo>
                        <a:pt x="84" y="12"/>
                      </a:lnTo>
                      <a:lnTo>
                        <a:pt x="90" y="6"/>
                      </a:lnTo>
                      <a:lnTo>
                        <a:pt x="96" y="0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7" name="Freeform 138">
                  <a:extLst>
                    <a:ext uri="{FF2B5EF4-FFF2-40B4-BE49-F238E27FC236}">
                      <a16:creationId xmlns:a16="http://schemas.microsoft.com/office/drawing/2014/main" id="{06212A0A-0EC5-4DAD-8AA0-3B9D14DE8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95" y="-3426"/>
                  <a:ext cx="120" cy="156"/>
                </a:xfrm>
                <a:custGeom>
                  <a:avLst/>
                  <a:gdLst>
                    <a:gd name="T0" fmla="*/ 108 w 120"/>
                    <a:gd name="T1" fmla="*/ 0 h 156"/>
                    <a:gd name="T2" fmla="*/ 114 w 120"/>
                    <a:gd name="T3" fmla="*/ 6 h 156"/>
                    <a:gd name="T4" fmla="*/ 120 w 120"/>
                    <a:gd name="T5" fmla="*/ 12 h 156"/>
                    <a:gd name="T6" fmla="*/ 114 w 120"/>
                    <a:gd name="T7" fmla="*/ 18 h 156"/>
                    <a:gd name="T8" fmla="*/ 114 w 120"/>
                    <a:gd name="T9" fmla="*/ 30 h 156"/>
                    <a:gd name="T10" fmla="*/ 108 w 120"/>
                    <a:gd name="T11" fmla="*/ 42 h 156"/>
                    <a:gd name="T12" fmla="*/ 102 w 120"/>
                    <a:gd name="T13" fmla="*/ 54 h 156"/>
                    <a:gd name="T14" fmla="*/ 96 w 120"/>
                    <a:gd name="T15" fmla="*/ 60 h 156"/>
                    <a:gd name="T16" fmla="*/ 78 w 120"/>
                    <a:gd name="T17" fmla="*/ 72 h 156"/>
                    <a:gd name="T18" fmla="*/ 66 w 120"/>
                    <a:gd name="T19" fmla="*/ 84 h 156"/>
                    <a:gd name="T20" fmla="*/ 54 w 120"/>
                    <a:gd name="T21" fmla="*/ 102 h 156"/>
                    <a:gd name="T22" fmla="*/ 48 w 120"/>
                    <a:gd name="T23" fmla="*/ 132 h 156"/>
                    <a:gd name="T24" fmla="*/ 42 w 120"/>
                    <a:gd name="T25" fmla="*/ 144 h 156"/>
                    <a:gd name="T26" fmla="*/ 30 w 120"/>
                    <a:gd name="T27" fmla="*/ 156 h 156"/>
                    <a:gd name="T28" fmla="*/ 24 w 120"/>
                    <a:gd name="T29" fmla="*/ 156 h 156"/>
                    <a:gd name="T30" fmla="*/ 12 w 120"/>
                    <a:gd name="T31" fmla="*/ 156 h 156"/>
                    <a:gd name="T32" fmla="*/ 6 w 120"/>
                    <a:gd name="T33" fmla="*/ 150 h 156"/>
                    <a:gd name="T34" fmla="*/ 0 w 120"/>
                    <a:gd name="T35" fmla="*/ 138 h 156"/>
                    <a:gd name="T36" fmla="*/ 0 w 120"/>
                    <a:gd name="T37" fmla="*/ 120 h 156"/>
                    <a:gd name="T38" fmla="*/ 6 w 120"/>
                    <a:gd name="T39" fmla="*/ 102 h 156"/>
                    <a:gd name="T40" fmla="*/ 12 w 120"/>
                    <a:gd name="T41" fmla="*/ 84 h 156"/>
                    <a:gd name="T42" fmla="*/ 24 w 120"/>
                    <a:gd name="T43" fmla="*/ 66 h 156"/>
                    <a:gd name="T44" fmla="*/ 36 w 120"/>
                    <a:gd name="T45" fmla="*/ 54 h 156"/>
                    <a:gd name="T46" fmla="*/ 48 w 120"/>
                    <a:gd name="T47" fmla="*/ 36 h 156"/>
                    <a:gd name="T48" fmla="*/ 60 w 120"/>
                    <a:gd name="T49" fmla="*/ 24 h 156"/>
                    <a:gd name="T50" fmla="*/ 66 w 120"/>
                    <a:gd name="T51" fmla="*/ 18 h 156"/>
                    <a:gd name="T52" fmla="*/ 72 w 120"/>
                    <a:gd name="T53" fmla="*/ 12 h 156"/>
                    <a:gd name="T54" fmla="*/ 78 w 120"/>
                    <a:gd name="T55" fmla="*/ 12 h 156"/>
                    <a:gd name="T56" fmla="*/ 84 w 120"/>
                    <a:gd name="T57" fmla="*/ 12 h 156"/>
                    <a:gd name="T58" fmla="*/ 90 w 120"/>
                    <a:gd name="T59" fmla="*/ 6 h 156"/>
                    <a:gd name="T60" fmla="*/ 102 w 120"/>
                    <a:gd name="T61" fmla="*/ 0 h 156"/>
                    <a:gd name="T62" fmla="*/ 108 w 120"/>
                    <a:gd name="T63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20" h="156">
                      <a:moveTo>
                        <a:pt x="108" y="0"/>
                      </a:moveTo>
                      <a:lnTo>
                        <a:pt x="114" y="6"/>
                      </a:lnTo>
                      <a:lnTo>
                        <a:pt x="120" y="12"/>
                      </a:lnTo>
                      <a:lnTo>
                        <a:pt x="114" y="18"/>
                      </a:lnTo>
                      <a:lnTo>
                        <a:pt x="114" y="30"/>
                      </a:lnTo>
                      <a:lnTo>
                        <a:pt x="108" y="42"/>
                      </a:lnTo>
                      <a:lnTo>
                        <a:pt x="102" y="54"/>
                      </a:lnTo>
                      <a:lnTo>
                        <a:pt x="96" y="60"/>
                      </a:lnTo>
                      <a:lnTo>
                        <a:pt x="78" y="72"/>
                      </a:lnTo>
                      <a:lnTo>
                        <a:pt x="66" y="84"/>
                      </a:lnTo>
                      <a:lnTo>
                        <a:pt x="54" y="102"/>
                      </a:lnTo>
                      <a:lnTo>
                        <a:pt x="48" y="132"/>
                      </a:lnTo>
                      <a:lnTo>
                        <a:pt x="42" y="144"/>
                      </a:lnTo>
                      <a:lnTo>
                        <a:pt x="30" y="156"/>
                      </a:lnTo>
                      <a:lnTo>
                        <a:pt x="24" y="156"/>
                      </a:lnTo>
                      <a:lnTo>
                        <a:pt x="12" y="156"/>
                      </a:lnTo>
                      <a:lnTo>
                        <a:pt x="6" y="150"/>
                      </a:lnTo>
                      <a:lnTo>
                        <a:pt x="0" y="138"/>
                      </a:lnTo>
                      <a:lnTo>
                        <a:pt x="0" y="120"/>
                      </a:lnTo>
                      <a:lnTo>
                        <a:pt x="6" y="102"/>
                      </a:lnTo>
                      <a:lnTo>
                        <a:pt x="12" y="84"/>
                      </a:lnTo>
                      <a:lnTo>
                        <a:pt x="24" y="66"/>
                      </a:lnTo>
                      <a:lnTo>
                        <a:pt x="36" y="54"/>
                      </a:lnTo>
                      <a:lnTo>
                        <a:pt x="48" y="36"/>
                      </a:lnTo>
                      <a:lnTo>
                        <a:pt x="60" y="24"/>
                      </a:lnTo>
                      <a:lnTo>
                        <a:pt x="66" y="18"/>
                      </a:lnTo>
                      <a:lnTo>
                        <a:pt x="72" y="12"/>
                      </a:lnTo>
                      <a:lnTo>
                        <a:pt x="78" y="12"/>
                      </a:lnTo>
                      <a:lnTo>
                        <a:pt x="84" y="12"/>
                      </a:lnTo>
                      <a:lnTo>
                        <a:pt x="90" y="6"/>
                      </a:lnTo>
                      <a:lnTo>
                        <a:pt x="102" y="0"/>
                      </a:lnTo>
                      <a:lnTo>
                        <a:pt x="10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8" name="Freeform 139">
                  <a:extLst>
                    <a:ext uri="{FF2B5EF4-FFF2-40B4-BE49-F238E27FC236}">
                      <a16:creationId xmlns:a16="http://schemas.microsoft.com/office/drawing/2014/main" id="{3C8D2A7D-6B90-4410-AC83-D333B4DA9F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3" y="-3630"/>
                  <a:ext cx="78" cy="150"/>
                </a:xfrm>
                <a:custGeom>
                  <a:avLst/>
                  <a:gdLst>
                    <a:gd name="T0" fmla="*/ 72 w 78"/>
                    <a:gd name="T1" fmla="*/ 0 h 150"/>
                    <a:gd name="T2" fmla="*/ 78 w 78"/>
                    <a:gd name="T3" fmla="*/ 6 h 150"/>
                    <a:gd name="T4" fmla="*/ 78 w 78"/>
                    <a:gd name="T5" fmla="*/ 12 h 150"/>
                    <a:gd name="T6" fmla="*/ 78 w 78"/>
                    <a:gd name="T7" fmla="*/ 18 h 150"/>
                    <a:gd name="T8" fmla="*/ 78 w 78"/>
                    <a:gd name="T9" fmla="*/ 36 h 150"/>
                    <a:gd name="T10" fmla="*/ 72 w 78"/>
                    <a:gd name="T11" fmla="*/ 48 h 150"/>
                    <a:gd name="T12" fmla="*/ 66 w 78"/>
                    <a:gd name="T13" fmla="*/ 66 h 150"/>
                    <a:gd name="T14" fmla="*/ 60 w 78"/>
                    <a:gd name="T15" fmla="*/ 84 h 150"/>
                    <a:gd name="T16" fmla="*/ 48 w 78"/>
                    <a:gd name="T17" fmla="*/ 102 h 150"/>
                    <a:gd name="T18" fmla="*/ 42 w 78"/>
                    <a:gd name="T19" fmla="*/ 120 h 150"/>
                    <a:gd name="T20" fmla="*/ 24 w 78"/>
                    <a:gd name="T21" fmla="*/ 138 h 150"/>
                    <a:gd name="T22" fmla="*/ 18 w 78"/>
                    <a:gd name="T23" fmla="*/ 144 h 150"/>
                    <a:gd name="T24" fmla="*/ 6 w 78"/>
                    <a:gd name="T25" fmla="*/ 150 h 150"/>
                    <a:gd name="T26" fmla="*/ 6 w 78"/>
                    <a:gd name="T27" fmla="*/ 144 h 150"/>
                    <a:gd name="T28" fmla="*/ 0 w 78"/>
                    <a:gd name="T29" fmla="*/ 138 h 150"/>
                    <a:gd name="T30" fmla="*/ 0 w 78"/>
                    <a:gd name="T31" fmla="*/ 126 h 150"/>
                    <a:gd name="T32" fmla="*/ 0 w 78"/>
                    <a:gd name="T33" fmla="*/ 114 h 150"/>
                    <a:gd name="T34" fmla="*/ 6 w 78"/>
                    <a:gd name="T35" fmla="*/ 96 h 150"/>
                    <a:gd name="T36" fmla="*/ 6 w 78"/>
                    <a:gd name="T37" fmla="*/ 84 h 150"/>
                    <a:gd name="T38" fmla="*/ 12 w 78"/>
                    <a:gd name="T39" fmla="*/ 72 h 150"/>
                    <a:gd name="T40" fmla="*/ 24 w 78"/>
                    <a:gd name="T41" fmla="*/ 54 h 150"/>
                    <a:gd name="T42" fmla="*/ 36 w 78"/>
                    <a:gd name="T43" fmla="*/ 30 h 150"/>
                    <a:gd name="T44" fmla="*/ 54 w 78"/>
                    <a:gd name="T45" fmla="*/ 18 h 150"/>
                    <a:gd name="T46" fmla="*/ 66 w 78"/>
                    <a:gd name="T47" fmla="*/ 6 h 150"/>
                    <a:gd name="T48" fmla="*/ 72 w 78"/>
                    <a:gd name="T49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8" h="150">
                      <a:moveTo>
                        <a:pt x="72" y="0"/>
                      </a:moveTo>
                      <a:lnTo>
                        <a:pt x="78" y="6"/>
                      </a:lnTo>
                      <a:lnTo>
                        <a:pt x="78" y="12"/>
                      </a:lnTo>
                      <a:lnTo>
                        <a:pt x="78" y="18"/>
                      </a:lnTo>
                      <a:lnTo>
                        <a:pt x="78" y="36"/>
                      </a:lnTo>
                      <a:lnTo>
                        <a:pt x="72" y="48"/>
                      </a:lnTo>
                      <a:lnTo>
                        <a:pt x="66" y="66"/>
                      </a:lnTo>
                      <a:lnTo>
                        <a:pt x="60" y="84"/>
                      </a:lnTo>
                      <a:lnTo>
                        <a:pt x="48" y="102"/>
                      </a:lnTo>
                      <a:lnTo>
                        <a:pt x="42" y="120"/>
                      </a:lnTo>
                      <a:lnTo>
                        <a:pt x="24" y="138"/>
                      </a:lnTo>
                      <a:lnTo>
                        <a:pt x="18" y="144"/>
                      </a:lnTo>
                      <a:lnTo>
                        <a:pt x="6" y="150"/>
                      </a:lnTo>
                      <a:lnTo>
                        <a:pt x="6" y="144"/>
                      </a:lnTo>
                      <a:lnTo>
                        <a:pt x="0" y="138"/>
                      </a:lnTo>
                      <a:lnTo>
                        <a:pt x="0" y="126"/>
                      </a:lnTo>
                      <a:lnTo>
                        <a:pt x="0" y="114"/>
                      </a:lnTo>
                      <a:lnTo>
                        <a:pt x="6" y="96"/>
                      </a:lnTo>
                      <a:lnTo>
                        <a:pt x="6" y="84"/>
                      </a:lnTo>
                      <a:lnTo>
                        <a:pt x="12" y="72"/>
                      </a:lnTo>
                      <a:lnTo>
                        <a:pt x="24" y="54"/>
                      </a:lnTo>
                      <a:lnTo>
                        <a:pt x="36" y="30"/>
                      </a:lnTo>
                      <a:lnTo>
                        <a:pt x="54" y="18"/>
                      </a:lnTo>
                      <a:lnTo>
                        <a:pt x="66" y="6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79" name="Freeform 140">
                  <a:extLst>
                    <a:ext uri="{FF2B5EF4-FFF2-40B4-BE49-F238E27FC236}">
                      <a16:creationId xmlns:a16="http://schemas.microsoft.com/office/drawing/2014/main" id="{28468F0F-CD84-43CB-BE59-728AF6B406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53" y="-4938"/>
                  <a:ext cx="834" cy="1524"/>
                </a:xfrm>
                <a:custGeom>
                  <a:avLst/>
                  <a:gdLst>
                    <a:gd name="T0" fmla="*/ 78 w 834"/>
                    <a:gd name="T1" fmla="*/ 12 h 1524"/>
                    <a:gd name="T2" fmla="*/ 96 w 834"/>
                    <a:gd name="T3" fmla="*/ 60 h 1524"/>
                    <a:gd name="T4" fmla="*/ 114 w 834"/>
                    <a:gd name="T5" fmla="*/ 114 h 1524"/>
                    <a:gd name="T6" fmla="*/ 168 w 834"/>
                    <a:gd name="T7" fmla="*/ 150 h 1524"/>
                    <a:gd name="T8" fmla="*/ 216 w 834"/>
                    <a:gd name="T9" fmla="*/ 174 h 1524"/>
                    <a:gd name="T10" fmla="*/ 204 w 834"/>
                    <a:gd name="T11" fmla="*/ 204 h 1524"/>
                    <a:gd name="T12" fmla="*/ 210 w 834"/>
                    <a:gd name="T13" fmla="*/ 222 h 1524"/>
                    <a:gd name="T14" fmla="*/ 240 w 834"/>
                    <a:gd name="T15" fmla="*/ 234 h 1524"/>
                    <a:gd name="T16" fmla="*/ 246 w 834"/>
                    <a:gd name="T17" fmla="*/ 264 h 1524"/>
                    <a:gd name="T18" fmla="*/ 246 w 834"/>
                    <a:gd name="T19" fmla="*/ 354 h 1524"/>
                    <a:gd name="T20" fmla="*/ 288 w 834"/>
                    <a:gd name="T21" fmla="*/ 408 h 1524"/>
                    <a:gd name="T22" fmla="*/ 324 w 834"/>
                    <a:gd name="T23" fmla="*/ 432 h 1524"/>
                    <a:gd name="T24" fmla="*/ 342 w 834"/>
                    <a:gd name="T25" fmla="*/ 474 h 1524"/>
                    <a:gd name="T26" fmla="*/ 396 w 834"/>
                    <a:gd name="T27" fmla="*/ 516 h 1524"/>
                    <a:gd name="T28" fmla="*/ 462 w 834"/>
                    <a:gd name="T29" fmla="*/ 636 h 1524"/>
                    <a:gd name="T30" fmla="*/ 540 w 834"/>
                    <a:gd name="T31" fmla="*/ 750 h 1524"/>
                    <a:gd name="T32" fmla="*/ 570 w 834"/>
                    <a:gd name="T33" fmla="*/ 810 h 1524"/>
                    <a:gd name="T34" fmla="*/ 708 w 834"/>
                    <a:gd name="T35" fmla="*/ 936 h 1524"/>
                    <a:gd name="T36" fmla="*/ 738 w 834"/>
                    <a:gd name="T37" fmla="*/ 990 h 1524"/>
                    <a:gd name="T38" fmla="*/ 726 w 834"/>
                    <a:gd name="T39" fmla="*/ 1002 h 1524"/>
                    <a:gd name="T40" fmla="*/ 588 w 834"/>
                    <a:gd name="T41" fmla="*/ 894 h 1524"/>
                    <a:gd name="T42" fmla="*/ 546 w 834"/>
                    <a:gd name="T43" fmla="*/ 876 h 1524"/>
                    <a:gd name="T44" fmla="*/ 522 w 834"/>
                    <a:gd name="T45" fmla="*/ 894 h 1524"/>
                    <a:gd name="T46" fmla="*/ 528 w 834"/>
                    <a:gd name="T47" fmla="*/ 930 h 1524"/>
                    <a:gd name="T48" fmla="*/ 558 w 834"/>
                    <a:gd name="T49" fmla="*/ 1092 h 1524"/>
                    <a:gd name="T50" fmla="*/ 636 w 834"/>
                    <a:gd name="T51" fmla="*/ 1254 h 1524"/>
                    <a:gd name="T52" fmla="*/ 756 w 834"/>
                    <a:gd name="T53" fmla="*/ 1362 h 1524"/>
                    <a:gd name="T54" fmla="*/ 828 w 834"/>
                    <a:gd name="T55" fmla="*/ 1440 h 1524"/>
                    <a:gd name="T56" fmla="*/ 822 w 834"/>
                    <a:gd name="T57" fmla="*/ 1452 h 1524"/>
                    <a:gd name="T58" fmla="*/ 786 w 834"/>
                    <a:gd name="T59" fmla="*/ 1446 h 1524"/>
                    <a:gd name="T60" fmla="*/ 744 w 834"/>
                    <a:gd name="T61" fmla="*/ 1416 h 1524"/>
                    <a:gd name="T62" fmla="*/ 714 w 834"/>
                    <a:gd name="T63" fmla="*/ 1428 h 1524"/>
                    <a:gd name="T64" fmla="*/ 702 w 834"/>
                    <a:gd name="T65" fmla="*/ 1482 h 1524"/>
                    <a:gd name="T66" fmla="*/ 690 w 834"/>
                    <a:gd name="T67" fmla="*/ 1524 h 1524"/>
                    <a:gd name="T68" fmla="*/ 660 w 834"/>
                    <a:gd name="T69" fmla="*/ 1500 h 1524"/>
                    <a:gd name="T70" fmla="*/ 594 w 834"/>
                    <a:gd name="T71" fmla="*/ 1416 h 1524"/>
                    <a:gd name="T72" fmla="*/ 576 w 834"/>
                    <a:gd name="T73" fmla="*/ 1320 h 1524"/>
                    <a:gd name="T74" fmla="*/ 564 w 834"/>
                    <a:gd name="T75" fmla="*/ 1236 h 1524"/>
                    <a:gd name="T76" fmla="*/ 492 w 834"/>
                    <a:gd name="T77" fmla="*/ 1128 h 1524"/>
                    <a:gd name="T78" fmla="*/ 420 w 834"/>
                    <a:gd name="T79" fmla="*/ 978 h 1524"/>
                    <a:gd name="T80" fmla="*/ 390 w 834"/>
                    <a:gd name="T81" fmla="*/ 912 h 1524"/>
                    <a:gd name="T82" fmla="*/ 330 w 834"/>
                    <a:gd name="T83" fmla="*/ 822 h 1524"/>
                    <a:gd name="T84" fmla="*/ 318 w 834"/>
                    <a:gd name="T85" fmla="*/ 738 h 1524"/>
                    <a:gd name="T86" fmla="*/ 312 w 834"/>
                    <a:gd name="T87" fmla="*/ 636 h 1524"/>
                    <a:gd name="T88" fmla="*/ 282 w 834"/>
                    <a:gd name="T89" fmla="*/ 600 h 1524"/>
                    <a:gd name="T90" fmla="*/ 240 w 834"/>
                    <a:gd name="T91" fmla="*/ 570 h 1524"/>
                    <a:gd name="T92" fmla="*/ 204 w 834"/>
                    <a:gd name="T93" fmla="*/ 540 h 1524"/>
                    <a:gd name="T94" fmla="*/ 198 w 834"/>
                    <a:gd name="T95" fmla="*/ 510 h 1524"/>
                    <a:gd name="T96" fmla="*/ 150 w 834"/>
                    <a:gd name="T97" fmla="*/ 402 h 1524"/>
                    <a:gd name="T98" fmla="*/ 114 w 834"/>
                    <a:gd name="T99" fmla="*/ 348 h 1524"/>
                    <a:gd name="T100" fmla="*/ 84 w 834"/>
                    <a:gd name="T101" fmla="*/ 300 h 1524"/>
                    <a:gd name="T102" fmla="*/ 48 w 834"/>
                    <a:gd name="T103" fmla="*/ 258 h 1524"/>
                    <a:gd name="T104" fmla="*/ 42 w 834"/>
                    <a:gd name="T105" fmla="*/ 216 h 1524"/>
                    <a:gd name="T106" fmla="*/ 78 w 834"/>
                    <a:gd name="T107" fmla="*/ 186 h 1524"/>
                    <a:gd name="T108" fmla="*/ 84 w 834"/>
                    <a:gd name="T109" fmla="*/ 162 h 1524"/>
                    <a:gd name="T110" fmla="*/ 48 w 834"/>
                    <a:gd name="T111" fmla="*/ 126 h 1524"/>
                    <a:gd name="T112" fmla="*/ 12 w 834"/>
                    <a:gd name="T113" fmla="*/ 90 h 1524"/>
                    <a:gd name="T114" fmla="*/ 0 w 834"/>
                    <a:gd name="T115" fmla="*/ 72 h 1524"/>
                    <a:gd name="T116" fmla="*/ 24 w 834"/>
                    <a:gd name="T117" fmla="*/ 54 h 1524"/>
                    <a:gd name="T118" fmla="*/ 30 w 834"/>
                    <a:gd name="T119" fmla="*/ 36 h 1524"/>
                    <a:gd name="T120" fmla="*/ 42 w 834"/>
                    <a:gd name="T121" fmla="*/ 0 h 15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834" h="1524">
                      <a:moveTo>
                        <a:pt x="48" y="0"/>
                      </a:moveTo>
                      <a:lnTo>
                        <a:pt x="66" y="0"/>
                      </a:lnTo>
                      <a:lnTo>
                        <a:pt x="78" y="12"/>
                      </a:lnTo>
                      <a:lnTo>
                        <a:pt x="84" y="24"/>
                      </a:lnTo>
                      <a:lnTo>
                        <a:pt x="90" y="42"/>
                      </a:lnTo>
                      <a:lnTo>
                        <a:pt x="96" y="60"/>
                      </a:lnTo>
                      <a:lnTo>
                        <a:pt x="102" y="78"/>
                      </a:lnTo>
                      <a:lnTo>
                        <a:pt x="108" y="102"/>
                      </a:lnTo>
                      <a:lnTo>
                        <a:pt x="114" y="114"/>
                      </a:lnTo>
                      <a:lnTo>
                        <a:pt x="132" y="132"/>
                      </a:lnTo>
                      <a:lnTo>
                        <a:pt x="150" y="138"/>
                      </a:lnTo>
                      <a:lnTo>
                        <a:pt x="168" y="150"/>
                      </a:lnTo>
                      <a:lnTo>
                        <a:pt x="186" y="156"/>
                      </a:lnTo>
                      <a:lnTo>
                        <a:pt x="198" y="162"/>
                      </a:lnTo>
                      <a:lnTo>
                        <a:pt x="216" y="174"/>
                      </a:lnTo>
                      <a:lnTo>
                        <a:pt x="216" y="186"/>
                      </a:lnTo>
                      <a:lnTo>
                        <a:pt x="216" y="192"/>
                      </a:lnTo>
                      <a:lnTo>
                        <a:pt x="204" y="204"/>
                      </a:lnTo>
                      <a:lnTo>
                        <a:pt x="198" y="210"/>
                      </a:lnTo>
                      <a:lnTo>
                        <a:pt x="204" y="216"/>
                      </a:lnTo>
                      <a:lnTo>
                        <a:pt x="210" y="222"/>
                      </a:lnTo>
                      <a:lnTo>
                        <a:pt x="222" y="228"/>
                      </a:lnTo>
                      <a:lnTo>
                        <a:pt x="234" y="234"/>
                      </a:lnTo>
                      <a:lnTo>
                        <a:pt x="240" y="234"/>
                      </a:lnTo>
                      <a:lnTo>
                        <a:pt x="246" y="246"/>
                      </a:lnTo>
                      <a:lnTo>
                        <a:pt x="246" y="252"/>
                      </a:lnTo>
                      <a:lnTo>
                        <a:pt x="246" y="264"/>
                      </a:lnTo>
                      <a:lnTo>
                        <a:pt x="240" y="276"/>
                      </a:lnTo>
                      <a:lnTo>
                        <a:pt x="240" y="306"/>
                      </a:lnTo>
                      <a:lnTo>
                        <a:pt x="246" y="354"/>
                      </a:lnTo>
                      <a:lnTo>
                        <a:pt x="258" y="390"/>
                      </a:lnTo>
                      <a:lnTo>
                        <a:pt x="276" y="408"/>
                      </a:lnTo>
                      <a:lnTo>
                        <a:pt x="288" y="408"/>
                      </a:lnTo>
                      <a:lnTo>
                        <a:pt x="306" y="414"/>
                      </a:lnTo>
                      <a:lnTo>
                        <a:pt x="312" y="420"/>
                      </a:lnTo>
                      <a:lnTo>
                        <a:pt x="324" y="432"/>
                      </a:lnTo>
                      <a:lnTo>
                        <a:pt x="330" y="444"/>
                      </a:lnTo>
                      <a:lnTo>
                        <a:pt x="336" y="456"/>
                      </a:lnTo>
                      <a:lnTo>
                        <a:pt x="342" y="474"/>
                      </a:lnTo>
                      <a:lnTo>
                        <a:pt x="354" y="486"/>
                      </a:lnTo>
                      <a:lnTo>
                        <a:pt x="372" y="492"/>
                      </a:lnTo>
                      <a:lnTo>
                        <a:pt x="396" y="516"/>
                      </a:lnTo>
                      <a:lnTo>
                        <a:pt x="414" y="558"/>
                      </a:lnTo>
                      <a:lnTo>
                        <a:pt x="438" y="600"/>
                      </a:lnTo>
                      <a:lnTo>
                        <a:pt x="462" y="636"/>
                      </a:lnTo>
                      <a:lnTo>
                        <a:pt x="486" y="684"/>
                      </a:lnTo>
                      <a:lnTo>
                        <a:pt x="522" y="726"/>
                      </a:lnTo>
                      <a:lnTo>
                        <a:pt x="540" y="750"/>
                      </a:lnTo>
                      <a:lnTo>
                        <a:pt x="552" y="774"/>
                      </a:lnTo>
                      <a:lnTo>
                        <a:pt x="564" y="792"/>
                      </a:lnTo>
                      <a:lnTo>
                        <a:pt x="570" y="810"/>
                      </a:lnTo>
                      <a:lnTo>
                        <a:pt x="612" y="846"/>
                      </a:lnTo>
                      <a:lnTo>
                        <a:pt x="660" y="888"/>
                      </a:lnTo>
                      <a:lnTo>
                        <a:pt x="708" y="936"/>
                      </a:lnTo>
                      <a:lnTo>
                        <a:pt x="720" y="960"/>
                      </a:lnTo>
                      <a:lnTo>
                        <a:pt x="732" y="978"/>
                      </a:lnTo>
                      <a:lnTo>
                        <a:pt x="738" y="990"/>
                      </a:lnTo>
                      <a:lnTo>
                        <a:pt x="738" y="1002"/>
                      </a:lnTo>
                      <a:lnTo>
                        <a:pt x="732" y="1002"/>
                      </a:lnTo>
                      <a:lnTo>
                        <a:pt x="726" y="1002"/>
                      </a:lnTo>
                      <a:lnTo>
                        <a:pt x="714" y="996"/>
                      </a:lnTo>
                      <a:lnTo>
                        <a:pt x="666" y="954"/>
                      </a:lnTo>
                      <a:lnTo>
                        <a:pt x="588" y="894"/>
                      </a:lnTo>
                      <a:lnTo>
                        <a:pt x="570" y="882"/>
                      </a:lnTo>
                      <a:lnTo>
                        <a:pt x="558" y="876"/>
                      </a:lnTo>
                      <a:lnTo>
                        <a:pt x="546" y="876"/>
                      </a:lnTo>
                      <a:lnTo>
                        <a:pt x="534" y="882"/>
                      </a:lnTo>
                      <a:lnTo>
                        <a:pt x="528" y="888"/>
                      </a:lnTo>
                      <a:lnTo>
                        <a:pt x="522" y="894"/>
                      </a:lnTo>
                      <a:lnTo>
                        <a:pt x="522" y="906"/>
                      </a:lnTo>
                      <a:lnTo>
                        <a:pt x="522" y="918"/>
                      </a:lnTo>
                      <a:lnTo>
                        <a:pt x="528" y="930"/>
                      </a:lnTo>
                      <a:lnTo>
                        <a:pt x="534" y="972"/>
                      </a:lnTo>
                      <a:lnTo>
                        <a:pt x="552" y="1026"/>
                      </a:lnTo>
                      <a:lnTo>
                        <a:pt x="558" y="1092"/>
                      </a:lnTo>
                      <a:lnTo>
                        <a:pt x="576" y="1146"/>
                      </a:lnTo>
                      <a:lnTo>
                        <a:pt x="606" y="1200"/>
                      </a:lnTo>
                      <a:lnTo>
                        <a:pt x="636" y="1254"/>
                      </a:lnTo>
                      <a:lnTo>
                        <a:pt x="666" y="1284"/>
                      </a:lnTo>
                      <a:lnTo>
                        <a:pt x="702" y="1314"/>
                      </a:lnTo>
                      <a:lnTo>
                        <a:pt x="756" y="1362"/>
                      </a:lnTo>
                      <a:lnTo>
                        <a:pt x="810" y="1410"/>
                      </a:lnTo>
                      <a:lnTo>
                        <a:pt x="822" y="1428"/>
                      </a:lnTo>
                      <a:lnTo>
                        <a:pt x="828" y="1440"/>
                      </a:lnTo>
                      <a:lnTo>
                        <a:pt x="834" y="1446"/>
                      </a:lnTo>
                      <a:lnTo>
                        <a:pt x="828" y="1452"/>
                      </a:lnTo>
                      <a:lnTo>
                        <a:pt x="822" y="1452"/>
                      </a:lnTo>
                      <a:lnTo>
                        <a:pt x="810" y="1452"/>
                      </a:lnTo>
                      <a:lnTo>
                        <a:pt x="798" y="1452"/>
                      </a:lnTo>
                      <a:lnTo>
                        <a:pt x="786" y="1446"/>
                      </a:lnTo>
                      <a:lnTo>
                        <a:pt x="774" y="1434"/>
                      </a:lnTo>
                      <a:lnTo>
                        <a:pt x="762" y="1428"/>
                      </a:lnTo>
                      <a:lnTo>
                        <a:pt x="744" y="1416"/>
                      </a:lnTo>
                      <a:lnTo>
                        <a:pt x="732" y="1416"/>
                      </a:lnTo>
                      <a:lnTo>
                        <a:pt x="726" y="1416"/>
                      </a:lnTo>
                      <a:lnTo>
                        <a:pt x="714" y="1428"/>
                      </a:lnTo>
                      <a:lnTo>
                        <a:pt x="708" y="1440"/>
                      </a:lnTo>
                      <a:lnTo>
                        <a:pt x="702" y="1458"/>
                      </a:lnTo>
                      <a:lnTo>
                        <a:pt x="702" y="1482"/>
                      </a:lnTo>
                      <a:lnTo>
                        <a:pt x="702" y="1506"/>
                      </a:lnTo>
                      <a:lnTo>
                        <a:pt x="696" y="1518"/>
                      </a:lnTo>
                      <a:lnTo>
                        <a:pt x="690" y="1524"/>
                      </a:lnTo>
                      <a:lnTo>
                        <a:pt x="684" y="1524"/>
                      </a:lnTo>
                      <a:lnTo>
                        <a:pt x="672" y="1512"/>
                      </a:lnTo>
                      <a:lnTo>
                        <a:pt x="660" y="1500"/>
                      </a:lnTo>
                      <a:lnTo>
                        <a:pt x="636" y="1470"/>
                      </a:lnTo>
                      <a:lnTo>
                        <a:pt x="612" y="1446"/>
                      </a:lnTo>
                      <a:lnTo>
                        <a:pt x="594" y="1416"/>
                      </a:lnTo>
                      <a:lnTo>
                        <a:pt x="594" y="1374"/>
                      </a:lnTo>
                      <a:lnTo>
                        <a:pt x="588" y="1344"/>
                      </a:lnTo>
                      <a:lnTo>
                        <a:pt x="576" y="1320"/>
                      </a:lnTo>
                      <a:lnTo>
                        <a:pt x="564" y="1296"/>
                      </a:lnTo>
                      <a:lnTo>
                        <a:pt x="564" y="1272"/>
                      </a:lnTo>
                      <a:lnTo>
                        <a:pt x="564" y="1236"/>
                      </a:lnTo>
                      <a:lnTo>
                        <a:pt x="546" y="1200"/>
                      </a:lnTo>
                      <a:lnTo>
                        <a:pt x="522" y="1158"/>
                      </a:lnTo>
                      <a:lnTo>
                        <a:pt x="492" y="1128"/>
                      </a:lnTo>
                      <a:lnTo>
                        <a:pt x="456" y="1098"/>
                      </a:lnTo>
                      <a:lnTo>
                        <a:pt x="432" y="1044"/>
                      </a:lnTo>
                      <a:lnTo>
                        <a:pt x="420" y="978"/>
                      </a:lnTo>
                      <a:lnTo>
                        <a:pt x="408" y="960"/>
                      </a:lnTo>
                      <a:lnTo>
                        <a:pt x="402" y="936"/>
                      </a:lnTo>
                      <a:lnTo>
                        <a:pt x="390" y="912"/>
                      </a:lnTo>
                      <a:lnTo>
                        <a:pt x="378" y="888"/>
                      </a:lnTo>
                      <a:lnTo>
                        <a:pt x="354" y="852"/>
                      </a:lnTo>
                      <a:lnTo>
                        <a:pt x="330" y="822"/>
                      </a:lnTo>
                      <a:lnTo>
                        <a:pt x="312" y="786"/>
                      </a:lnTo>
                      <a:lnTo>
                        <a:pt x="312" y="762"/>
                      </a:lnTo>
                      <a:lnTo>
                        <a:pt x="318" y="738"/>
                      </a:lnTo>
                      <a:lnTo>
                        <a:pt x="324" y="702"/>
                      </a:lnTo>
                      <a:lnTo>
                        <a:pt x="318" y="660"/>
                      </a:lnTo>
                      <a:lnTo>
                        <a:pt x="312" y="636"/>
                      </a:lnTo>
                      <a:lnTo>
                        <a:pt x="306" y="618"/>
                      </a:lnTo>
                      <a:lnTo>
                        <a:pt x="294" y="606"/>
                      </a:lnTo>
                      <a:lnTo>
                        <a:pt x="282" y="600"/>
                      </a:lnTo>
                      <a:lnTo>
                        <a:pt x="270" y="588"/>
                      </a:lnTo>
                      <a:lnTo>
                        <a:pt x="258" y="582"/>
                      </a:lnTo>
                      <a:lnTo>
                        <a:pt x="240" y="570"/>
                      </a:lnTo>
                      <a:lnTo>
                        <a:pt x="222" y="558"/>
                      </a:lnTo>
                      <a:lnTo>
                        <a:pt x="210" y="546"/>
                      </a:lnTo>
                      <a:lnTo>
                        <a:pt x="204" y="540"/>
                      </a:lnTo>
                      <a:lnTo>
                        <a:pt x="204" y="534"/>
                      </a:lnTo>
                      <a:lnTo>
                        <a:pt x="198" y="522"/>
                      </a:lnTo>
                      <a:lnTo>
                        <a:pt x="198" y="510"/>
                      </a:lnTo>
                      <a:lnTo>
                        <a:pt x="192" y="498"/>
                      </a:lnTo>
                      <a:lnTo>
                        <a:pt x="174" y="450"/>
                      </a:lnTo>
                      <a:lnTo>
                        <a:pt x="150" y="402"/>
                      </a:lnTo>
                      <a:lnTo>
                        <a:pt x="138" y="378"/>
                      </a:lnTo>
                      <a:lnTo>
                        <a:pt x="126" y="360"/>
                      </a:lnTo>
                      <a:lnTo>
                        <a:pt x="114" y="348"/>
                      </a:lnTo>
                      <a:lnTo>
                        <a:pt x="102" y="324"/>
                      </a:lnTo>
                      <a:lnTo>
                        <a:pt x="96" y="312"/>
                      </a:lnTo>
                      <a:lnTo>
                        <a:pt x="84" y="300"/>
                      </a:lnTo>
                      <a:lnTo>
                        <a:pt x="72" y="294"/>
                      </a:lnTo>
                      <a:lnTo>
                        <a:pt x="60" y="282"/>
                      </a:lnTo>
                      <a:lnTo>
                        <a:pt x="48" y="258"/>
                      </a:lnTo>
                      <a:lnTo>
                        <a:pt x="42" y="240"/>
                      </a:lnTo>
                      <a:lnTo>
                        <a:pt x="36" y="228"/>
                      </a:lnTo>
                      <a:lnTo>
                        <a:pt x="42" y="216"/>
                      </a:lnTo>
                      <a:lnTo>
                        <a:pt x="48" y="204"/>
                      </a:lnTo>
                      <a:lnTo>
                        <a:pt x="60" y="192"/>
                      </a:lnTo>
                      <a:lnTo>
                        <a:pt x="78" y="186"/>
                      </a:lnTo>
                      <a:lnTo>
                        <a:pt x="84" y="180"/>
                      </a:lnTo>
                      <a:lnTo>
                        <a:pt x="90" y="174"/>
                      </a:lnTo>
                      <a:lnTo>
                        <a:pt x="84" y="162"/>
                      </a:lnTo>
                      <a:lnTo>
                        <a:pt x="72" y="150"/>
                      </a:lnTo>
                      <a:lnTo>
                        <a:pt x="66" y="138"/>
                      </a:lnTo>
                      <a:lnTo>
                        <a:pt x="48" y="126"/>
                      </a:lnTo>
                      <a:lnTo>
                        <a:pt x="36" y="114"/>
                      </a:lnTo>
                      <a:lnTo>
                        <a:pt x="24" y="102"/>
                      </a:lnTo>
                      <a:lnTo>
                        <a:pt x="12" y="90"/>
                      </a:lnTo>
                      <a:lnTo>
                        <a:pt x="6" y="84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6" y="66"/>
                      </a:lnTo>
                      <a:lnTo>
                        <a:pt x="18" y="60"/>
                      </a:lnTo>
                      <a:lnTo>
                        <a:pt x="24" y="54"/>
                      </a:lnTo>
                      <a:lnTo>
                        <a:pt x="30" y="48"/>
                      </a:lnTo>
                      <a:lnTo>
                        <a:pt x="30" y="42"/>
                      </a:lnTo>
                      <a:lnTo>
                        <a:pt x="30" y="36"/>
                      </a:lnTo>
                      <a:lnTo>
                        <a:pt x="30" y="24"/>
                      </a:lnTo>
                      <a:lnTo>
                        <a:pt x="30" y="6"/>
                      </a:lnTo>
                      <a:lnTo>
                        <a:pt x="42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0" name="Freeform 141">
                  <a:extLst>
                    <a:ext uri="{FF2B5EF4-FFF2-40B4-BE49-F238E27FC236}">
                      <a16:creationId xmlns:a16="http://schemas.microsoft.com/office/drawing/2014/main" id="{0B20CAE4-8056-4C9B-9973-C1508F26E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43" y="-4980"/>
                  <a:ext cx="96" cy="78"/>
                </a:xfrm>
                <a:custGeom>
                  <a:avLst/>
                  <a:gdLst>
                    <a:gd name="T0" fmla="*/ 30 w 96"/>
                    <a:gd name="T1" fmla="*/ 0 h 78"/>
                    <a:gd name="T2" fmla="*/ 42 w 96"/>
                    <a:gd name="T3" fmla="*/ 0 h 78"/>
                    <a:gd name="T4" fmla="*/ 54 w 96"/>
                    <a:gd name="T5" fmla="*/ 0 h 78"/>
                    <a:gd name="T6" fmla="*/ 66 w 96"/>
                    <a:gd name="T7" fmla="*/ 6 h 78"/>
                    <a:gd name="T8" fmla="*/ 78 w 96"/>
                    <a:gd name="T9" fmla="*/ 6 h 78"/>
                    <a:gd name="T10" fmla="*/ 90 w 96"/>
                    <a:gd name="T11" fmla="*/ 18 h 78"/>
                    <a:gd name="T12" fmla="*/ 96 w 96"/>
                    <a:gd name="T13" fmla="*/ 30 h 78"/>
                    <a:gd name="T14" fmla="*/ 96 w 96"/>
                    <a:gd name="T15" fmla="*/ 42 h 78"/>
                    <a:gd name="T16" fmla="*/ 96 w 96"/>
                    <a:gd name="T17" fmla="*/ 54 h 78"/>
                    <a:gd name="T18" fmla="*/ 90 w 96"/>
                    <a:gd name="T19" fmla="*/ 66 h 78"/>
                    <a:gd name="T20" fmla="*/ 78 w 96"/>
                    <a:gd name="T21" fmla="*/ 78 h 78"/>
                    <a:gd name="T22" fmla="*/ 66 w 96"/>
                    <a:gd name="T23" fmla="*/ 78 h 78"/>
                    <a:gd name="T24" fmla="*/ 48 w 96"/>
                    <a:gd name="T25" fmla="*/ 78 h 78"/>
                    <a:gd name="T26" fmla="*/ 36 w 96"/>
                    <a:gd name="T27" fmla="*/ 78 h 78"/>
                    <a:gd name="T28" fmla="*/ 24 w 96"/>
                    <a:gd name="T29" fmla="*/ 66 h 78"/>
                    <a:gd name="T30" fmla="*/ 18 w 96"/>
                    <a:gd name="T31" fmla="*/ 60 h 78"/>
                    <a:gd name="T32" fmla="*/ 12 w 96"/>
                    <a:gd name="T33" fmla="*/ 42 h 78"/>
                    <a:gd name="T34" fmla="*/ 0 w 96"/>
                    <a:gd name="T35" fmla="*/ 30 h 78"/>
                    <a:gd name="T36" fmla="*/ 0 w 96"/>
                    <a:gd name="T37" fmla="*/ 18 h 78"/>
                    <a:gd name="T38" fmla="*/ 0 w 96"/>
                    <a:gd name="T39" fmla="*/ 6 h 78"/>
                    <a:gd name="T40" fmla="*/ 6 w 96"/>
                    <a:gd name="T41" fmla="*/ 0 h 78"/>
                    <a:gd name="T42" fmla="*/ 18 w 96"/>
                    <a:gd name="T43" fmla="*/ 0 h 78"/>
                    <a:gd name="T44" fmla="*/ 30 w 96"/>
                    <a:gd name="T45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96" h="78">
                      <a:moveTo>
                        <a:pt x="30" y="0"/>
                      </a:moveTo>
                      <a:lnTo>
                        <a:pt x="42" y="0"/>
                      </a:lnTo>
                      <a:lnTo>
                        <a:pt x="54" y="0"/>
                      </a:lnTo>
                      <a:lnTo>
                        <a:pt x="66" y="6"/>
                      </a:lnTo>
                      <a:lnTo>
                        <a:pt x="78" y="6"/>
                      </a:lnTo>
                      <a:lnTo>
                        <a:pt x="90" y="18"/>
                      </a:lnTo>
                      <a:lnTo>
                        <a:pt x="96" y="30"/>
                      </a:lnTo>
                      <a:lnTo>
                        <a:pt x="96" y="42"/>
                      </a:lnTo>
                      <a:lnTo>
                        <a:pt x="96" y="54"/>
                      </a:lnTo>
                      <a:lnTo>
                        <a:pt x="90" y="66"/>
                      </a:lnTo>
                      <a:lnTo>
                        <a:pt x="78" y="78"/>
                      </a:lnTo>
                      <a:lnTo>
                        <a:pt x="66" y="78"/>
                      </a:lnTo>
                      <a:lnTo>
                        <a:pt x="48" y="78"/>
                      </a:lnTo>
                      <a:lnTo>
                        <a:pt x="36" y="78"/>
                      </a:lnTo>
                      <a:lnTo>
                        <a:pt x="24" y="66"/>
                      </a:lnTo>
                      <a:lnTo>
                        <a:pt x="18" y="60"/>
                      </a:lnTo>
                      <a:lnTo>
                        <a:pt x="12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8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1" name="Freeform 142">
                  <a:extLst>
                    <a:ext uri="{FF2B5EF4-FFF2-40B4-BE49-F238E27FC236}">
                      <a16:creationId xmlns:a16="http://schemas.microsoft.com/office/drawing/2014/main" id="{D74615A3-CA87-4BF6-B1AF-8550F39309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91" y="-4548"/>
                  <a:ext cx="60" cy="114"/>
                </a:xfrm>
                <a:custGeom>
                  <a:avLst/>
                  <a:gdLst>
                    <a:gd name="T0" fmla="*/ 42 w 60"/>
                    <a:gd name="T1" fmla="*/ 0 h 114"/>
                    <a:gd name="T2" fmla="*/ 48 w 60"/>
                    <a:gd name="T3" fmla="*/ 0 h 114"/>
                    <a:gd name="T4" fmla="*/ 54 w 60"/>
                    <a:gd name="T5" fmla="*/ 12 h 114"/>
                    <a:gd name="T6" fmla="*/ 60 w 60"/>
                    <a:gd name="T7" fmla="*/ 24 h 114"/>
                    <a:gd name="T8" fmla="*/ 60 w 60"/>
                    <a:gd name="T9" fmla="*/ 36 h 114"/>
                    <a:gd name="T10" fmla="*/ 60 w 60"/>
                    <a:gd name="T11" fmla="*/ 48 h 114"/>
                    <a:gd name="T12" fmla="*/ 54 w 60"/>
                    <a:gd name="T13" fmla="*/ 60 h 114"/>
                    <a:gd name="T14" fmla="*/ 54 w 60"/>
                    <a:gd name="T15" fmla="*/ 72 h 114"/>
                    <a:gd name="T16" fmla="*/ 42 w 60"/>
                    <a:gd name="T17" fmla="*/ 96 h 114"/>
                    <a:gd name="T18" fmla="*/ 36 w 60"/>
                    <a:gd name="T19" fmla="*/ 108 h 114"/>
                    <a:gd name="T20" fmla="*/ 24 w 60"/>
                    <a:gd name="T21" fmla="*/ 114 h 114"/>
                    <a:gd name="T22" fmla="*/ 18 w 60"/>
                    <a:gd name="T23" fmla="*/ 114 h 114"/>
                    <a:gd name="T24" fmla="*/ 12 w 60"/>
                    <a:gd name="T25" fmla="*/ 108 h 114"/>
                    <a:gd name="T26" fmla="*/ 0 w 60"/>
                    <a:gd name="T27" fmla="*/ 96 h 114"/>
                    <a:gd name="T28" fmla="*/ 0 w 60"/>
                    <a:gd name="T29" fmla="*/ 78 h 114"/>
                    <a:gd name="T30" fmla="*/ 6 w 60"/>
                    <a:gd name="T31" fmla="*/ 60 h 114"/>
                    <a:gd name="T32" fmla="*/ 12 w 60"/>
                    <a:gd name="T33" fmla="*/ 42 h 114"/>
                    <a:gd name="T34" fmla="*/ 18 w 60"/>
                    <a:gd name="T35" fmla="*/ 24 h 114"/>
                    <a:gd name="T36" fmla="*/ 30 w 60"/>
                    <a:gd name="T37" fmla="*/ 6 h 114"/>
                    <a:gd name="T38" fmla="*/ 36 w 60"/>
                    <a:gd name="T39" fmla="*/ 0 h 114"/>
                    <a:gd name="T40" fmla="*/ 42 w 60"/>
                    <a:gd name="T41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0" h="114">
                      <a:moveTo>
                        <a:pt x="42" y="0"/>
                      </a:moveTo>
                      <a:lnTo>
                        <a:pt x="48" y="0"/>
                      </a:lnTo>
                      <a:lnTo>
                        <a:pt x="54" y="12"/>
                      </a:lnTo>
                      <a:lnTo>
                        <a:pt x="60" y="24"/>
                      </a:lnTo>
                      <a:lnTo>
                        <a:pt x="60" y="36"/>
                      </a:lnTo>
                      <a:lnTo>
                        <a:pt x="60" y="48"/>
                      </a:lnTo>
                      <a:lnTo>
                        <a:pt x="54" y="60"/>
                      </a:lnTo>
                      <a:lnTo>
                        <a:pt x="54" y="72"/>
                      </a:lnTo>
                      <a:lnTo>
                        <a:pt x="42" y="96"/>
                      </a:lnTo>
                      <a:lnTo>
                        <a:pt x="36" y="108"/>
                      </a:lnTo>
                      <a:lnTo>
                        <a:pt x="24" y="114"/>
                      </a:lnTo>
                      <a:lnTo>
                        <a:pt x="18" y="114"/>
                      </a:lnTo>
                      <a:lnTo>
                        <a:pt x="12" y="108"/>
                      </a:lnTo>
                      <a:lnTo>
                        <a:pt x="0" y="96"/>
                      </a:lnTo>
                      <a:lnTo>
                        <a:pt x="0" y="78"/>
                      </a:lnTo>
                      <a:lnTo>
                        <a:pt x="6" y="60"/>
                      </a:lnTo>
                      <a:lnTo>
                        <a:pt x="12" y="42"/>
                      </a:lnTo>
                      <a:lnTo>
                        <a:pt x="18" y="24"/>
                      </a:lnTo>
                      <a:lnTo>
                        <a:pt x="30" y="6"/>
                      </a:lnTo>
                      <a:lnTo>
                        <a:pt x="36" y="0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2" name="Freeform 143">
                  <a:extLst>
                    <a:ext uri="{FF2B5EF4-FFF2-40B4-BE49-F238E27FC236}">
                      <a16:creationId xmlns:a16="http://schemas.microsoft.com/office/drawing/2014/main" id="{4FD0C824-2C31-4C88-AB65-C6FFE53B6E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55" y="-4362"/>
                  <a:ext cx="48" cy="126"/>
                </a:xfrm>
                <a:custGeom>
                  <a:avLst/>
                  <a:gdLst>
                    <a:gd name="T0" fmla="*/ 12 w 48"/>
                    <a:gd name="T1" fmla="*/ 0 h 126"/>
                    <a:gd name="T2" fmla="*/ 18 w 48"/>
                    <a:gd name="T3" fmla="*/ 0 h 126"/>
                    <a:gd name="T4" fmla="*/ 24 w 48"/>
                    <a:gd name="T5" fmla="*/ 6 h 126"/>
                    <a:gd name="T6" fmla="*/ 30 w 48"/>
                    <a:gd name="T7" fmla="*/ 18 h 126"/>
                    <a:gd name="T8" fmla="*/ 36 w 48"/>
                    <a:gd name="T9" fmla="*/ 30 h 126"/>
                    <a:gd name="T10" fmla="*/ 42 w 48"/>
                    <a:gd name="T11" fmla="*/ 42 h 126"/>
                    <a:gd name="T12" fmla="*/ 42 w 48"/>
                    <a:gd name="T13" fmla="*/ 60 h 126"/>
                    <a:gd name="T14" fmla="*/ 48 w 48"/>
                    <a:gd name="T15" fmla="*/ 78 h 126"/>
                    <a:gd name="T16" fmla="*/ 48 w 48"/>
                    <a:gd name="T17" fmla="*/ 90 h 126"/>
                    <a:gd name="T18" fmla="*/ 42 w 48"/>
                    <a:gd name="T19" fmla="*/ 108 h 126"/>
                    <a:gd name="T20" fmla="*/ 42 w 48"/>
                    <a:gd name="T21" fmla="*/ 120 h 126"/>
                    <a:gd name="T22" fmla="*/ 36 w 48"/>
                    <a:gd name="T23" fmla="*/ 126 h 126"/>
                    <a:gd name="T24" fmla="*/ 24 w 48"/>
                    <a:gd name="T25" fmla="*/ 126 h 126"/>
                    <a:gd name="T26" fmla="*/ 18 w 48"/>
                    <a:gd name="T27" fmla="*/ 120 h 126"/>
                    <a:gd name="T28" fmla="*/ 12 w 48"/>
                    <a:gd name="T29" fmla="*/ 108 h 126"/>
                    <a:gd name="T30" fmla="*/ 6 w 48"/>
                    <a:gd name="T31" fmla="*/ 96 h 126"/>
                    <a:gd name="T32" fmla="*/ 0 w 48"/>
                    <a:gd name="T33" fmla="*/ 84 h 126"/>
                    <a:gd name="T34" fmla="*/ 0 w 48"/>
                    <a:gd name="T35" fmla="*/ 72 h 126"/>
                    <a:gd name="T36" fmla="*/ 0 w 48"/>
                    <a:gd name="T37" fmla="*/ 42 h 126"/>
                    <a:gd name="T38" fmla="*/ 0 w 48"/>
                    <a:gd name="T39" fmla="*/ 24 h 126"/>
                    <a:gd name="T40" fmla="*/ 6 w 48"/>
                    <a:gd name="T41" fmla="*/ 12 h 126"/>
                    <a:gd name="T42" fmla="*/ 6 w 48"/>
                    <a:gd name="T43" fmla="*/ 0 h 126"/>
                    <a:gd name="T44" fmla="*/ 12 w 48"/>
                    <a:gd name="T45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8" h="126">
                      <a:moveTo>
                        <a:pt x="12" y="0"/>
                      </a:moveTo>
                      <a:lnTo>
                        <a:pt x="18" y="0"/>
                      </a:lnTo>
                      <a:lnTo>
                        <a:pt x="24" y="6"/>
                      </a:lnTo>
                      <a:lnTo>
                        <a:pt x="30" y="18"/>
                      </a:lnTo>
                      <a:lnTo>
                        <a:pt x="36" y="30"/>
                      </a:lnTo>
                      <a:lnTo>
                        <a:pt x="42" y="42"/>
                      </a:lnTo>
                      <a:lnTo>
                        <a:pt x="42" y="60"/>
                      </a:lnTo>
                      <a:lnTo>
                        <a:pt x="48" y="78"/>
                      </a:lnTo>
                      <a:lnTo>
                        <a:pt x="48" y="90"/>
                      </a:lnTo>
                      <a:lnTo>
                        <a:pt x="42" y="108"/>
                      </a:lnTo>
                      <a:lnTo>
                        <a:pt x="42" y="120"/>
                      </a:lnTo>
                      <a:lnTo>
                        <a:pt x="36" y="126"/>
                      </a:lnTo>
                      <a:lnTo>
                        <a:pt x="24" y="126"/>
                      </a:lnTo>
                      <a:lnTo>
                        <a:pt x="18" y="120"/>
                      </a:lnTo>
                      <a:lnTo>
                        <a:pt x="12" y="108"/>
                      </a:lnTo>
                      <a:lnTo>
                        <a:pt x="6" y="96"/>
                      </a:lnTo>
                      <a:lnTo>
                        <a:pt x="0" y="84"/>
                      </a:lnTo>
                      <a:lnTo>
                        <a:pt x="0" y="72"/>
                      </a:lnTo>
                      <a:lnTo>
                        <a:pt x="0" y="42"/>
                      </a:lnTo>
                      <a:lnTo>
                        <a:pt x="0" y="24"/>
                      </a:lnTo>
                      <a:lnTo>
                        <a:pt x="6" y="12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3" name="Freeform 144">
                  <a:extLst>
                    <a:ext uri="{FF2B5EF4-FFF2-40B4-BE49-F238E27FC236}">
                      <a16:creationId xmlns:a16="http://schemas.microsoft.com/office/drawing/2014/main" id="{5F732213-23DC-47AB-A00F-76232A734A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989" y="-5712"/>
                  <a:ext cx="126" cy="126"/>
                </a:xfrm>
                <a:custGeom>
                  <a:avLst/>
                  <a:gdLst>
                    <a:gd name="T0" fmla="*/ 24 w 126"/>
                    <a:gd name="T1" fmla="*/ 0 h 126"/>
                    <a:gd name="T2" fmla="*/ 54 w 126"/>
                    <a:gd name="T3" fmla="*/ 18 h 126"/>
                    <a:gd name="T4" fmla="*/ 96 w 126"/>
                    <a:gd name="T5" fmla="*/ 66 h 126"/>
                    <a:gd name="T6" fmla="*/ 114 w 126"/>
                    <a:gd name="T7" fmla="*/ 84 h 126"/>
                    <a:gd name="T8" fmla="*/ 120 w 126"/>
                    <a:gd name="T9" fmla="*/ 102 h 126"/>
                    <a:gd name="T10" fmla="*/ 126 w 126"/>
                    <a:gd name="T11" fmla="*/ 114 h 126"/>
                    <a:gd name="T12" fmla="*/ 126 w 126"/>
                    <a:gd name="T13" fmla="*/ 120 h 126"/>
                    <a:gd name="T14" fmla="*/ 126 w 126"/>
                    <a:gd name="T15" fmla="*/ 126 h 126"/>
                    <a:gd name="T16" fmla="*/ 120 w 126"/>
                    <a:gd name="T17" fmla="*/ 126 h 126"/>
                    <a:gd name="T18" fmla="*/ 108 w 126"/>
                    <a:gd name="T19" fmla="*/ 126 h 126"/>
                    <a:gd name="T20" fmla="*/ 96 w 126"/>
                    <a:gd name="T21" fmla="*/ 126 h 126"/>
                    <a:gd name="T22" fmla="*/ 84 w 126"/>
                    <a:gd name="T23" fmla="*/ 120 h 126"/>
                    <a:gd name="T24" fmla="*/ 72 w 126"/>
                    <a:gd name="T25" fmla="*/ 114 h 126"/>
                    <a:gd name="T26" fmla="*/ 60 w 126"/>
                    <a:gd name="T27" fmla="*/ 108 h 126"/>
                    <a:gd name="T28" fmla="*/ 36 w 126"/>
                    <a:gd name="T29" fmla="*/ 96 h 126"/>
                    <a:gd name="T30" fmla="*/ 24 w 126"/>
                    <a:gd name="T31" fmla="*/ 90 h 126"/>
                    <a:gd name="T32" fmla="*/ 12 w 126"/>
                    <a:gd name="T33" fmla="*/ 78 h 126"/>
                    <a:gd name="T34" fmla="*/ 6 w 126"/>
                    <a:gd name="T35" fmla="*/ 72 h 126"/>
                    <a:gd name="T36" fmla="*/ 0 w 126"/>
                    <a:gd name="T37" fmla="*/ 60 h 126"/>
                    <a:gd name="T38" fmla="*/ 0 w 126"/>
                    <a:gd name="T39" fmla="*/ 48 h 126"/>
                    <a:gd name="T40" fmla="*/ 0 w 126"/>
                    <a:gd name="T41" fmla="*/ 24 h 126"/>
                    <a:gd name="T42" fmla="*/ 6 w 126"/>
                    <a:gd name="T43" fmla="*/ 6 h 126"/>
                    <a:gd name="T44" fmla="*/ 24 w 126"/>
                    <a:gd name="T45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26" h="126">
                      <a:moveTo>
                        <a:pt x="24" y="0"/>
                      </a:moveTo>
                      <a:lnTo>
                        <a:pt x="54" y="18"/>
                      </a:lnTo>
                      <a:lnTo>
                        <a:pt x="96" y="66"/>
                      </a:lnTo>
                      <a:lnTo>
                        <a:pt x="114" y="84"/>
                      </a:lnTo>
                      <a:lnTo>
                        <a:pt x="120" y="102"/>
                      </a:lnTo>
                      <a:lnTo>
                        <a:pt x="126" y="114"/>
                      </a:lnTo>
                      <a:lnTo>
                        <a:pt x="126" y="120"/>
                      </a:lnTo>
                      <a:lnTo>
                        <a:pt x="126" y="126"/>
                      </a:lnTo>
                      <a:lnTo>
                        <a:pt x="120" y="126"/>
                      </a:lnTo>
                      <a:lnTo>
                        <a:pt x="108" y="126"/>
                      </a:lnTo>
                      <a:lnTo>
                        <a:pt x="96" y="126"/>
                      </a:lnTo>
                      <a:lnTo>
                        <a:pt x="84" y="120"/>
                      </a:lnTo>
                      <a:lnTo>
                        <a:pt x="72" y="114"/>
                      </a:lnTo>
                      <a:lnTo>
                        <a:pt x="60" y="108"/>
                      </a:lnTo>
                      <a:lnTo>
                        <a:pt x="36" y="96"/>
                      </a:lnTo>
                      <a:lnTo>
                        <a:pt x="24" y="90"/>
                      </a:lnTo>
                      <a:lnTo>
                        <a:pt x="12" y="78"/>
                      </a:lnTo>
                      <a:lnTo>
                        <a:pt x="6" y="72"/>
                      </a:lnTo>
                      <a:lnTo>
                        <a:pt x="0" y="60"/>
                      </a:lnTo>
                      <a:lnTo>
                        <a:pt x="0" y="48"/>
                      </a:lnTo>
                      <a:lnTo>
                        <a:pt x="0" y="24"/>
                      </a:lnTo>
                      <a:lnTo>
                        <a:pt x="6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4" name="Freeform 145">
                  <a:extLst>
                    <a:ext uri="{FF2B5EF4-FFF2-40B4-BE49-F238E27FC236}">
                      <a16:creationId xmlns:a16="http://schemas.microsoft.com/office/drawing/2014/main" id="{A1C4FF8F-A40B-48E7-A8FF-8194E39A32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05" y="-5622"/>
                  <a:ext cx="126" cy="48"/>
                </a:xfrm>
                <a:custGeom>
                  <a:avLst/>
                  <a:gdLst>
                    <a:gd name="T0" fmla="*/ 54 w 126"/>
                    <a:gd name="T1" fmla="*/ 0 h 48"/>
                    <a:gd name="T2" fmla="*/ 72 w 126"/>
                    <a:gd name="T3" fmla="*/ 0 h 48"/>
                    <a:gd name="T4" fmla="*/ 90 w 126"/>
                    <a:gd name="T5" fmla="*/ 0 h 48"/>
                    <a:gd name="T6" fmla="*/ 108 w 126"/>
                    <a:gd name="T7" fmla="*/ 6 h 48"/>
                    <a:gd name="T8" fmla="*/ 120 w 126"/>
                    <a:gd name="T9" fmla="*/ 12 h 48"/>
                    <a:gd name="T10" fmla="*/ 126 w 126"/>
                    <a:gd name="T11" fmla="*/ 24 h 48"/>
                    <a:gd name="T12" fmla="*/ 126 w 126"/>
                    <a:gd name="T13" fmla="*/ 30 h 48"/>
                    <a:gd name="T14" fmla="*/ 126 w 126"/>
                    <a:gd name="T15" fmla="*/ 36 h 48"/>
                    <a:gd name="T16" fmla="*/ 114 w 126"/>
                    <a:gd name="T17" fmla="*/ 42 h 48"/>
                    <a:gd name="T18" fmla="*/ 102 w 126"/>
                    <a:gd name="T19" fmla="*/ 48 h 48"/>
                    <a:gd name="T20" fmla="*/ 78 w 126"/>
                    <a:gd name="T21" fmla="*/ 48 h 48"/>
                    <a:gd name="T22" fmla="*/ 54 w 126"/>
                    <a:gd name="T23" fmla="*/ 42 h 48"/>
                    <a:gd name="T24" fmla="*/ 24 w 126"/>
                    <a:gd name="T25" fmla="*/ 42 h 48"/>
                    <a:gd name="T26" fmla="*/ 12 w 126"/>
                    <a:gd name="T27" fmla="*/ 36 h 48"/>
                    <a:gd name="T28" fmla="*/ 0 w 126"/>
                    <a:gd name="T29" fmla="*/ 30 h 48"/>
                    <a:gd name="T30" fmla="*/ 0 w 126"/>
                    <a:gd name="T31" fmla="*/ 18 h 48"/>
                    <a:gd name="T32" fmla="*/ 6 w 126"/>
                    <a:gd name="T33" fmla="*/ 12 h 48"/>
                    <a:gd name="T34" fmla="*/ 12 w 126"/>
                    <a:gd name="T35" fmla="*/ 6 h 48"/>
                    <a:gd name="T36" fmla="*/ 24 w 126"/>
                    <a:gd name="T37" fmla="*/ 6 h 48"/>
                    <a:gd name="T38" fmla="*/ 36 w 126"/>
                    <a:gd name="T39" fmla="*/ 0 h 48"/>
                    <a:gd name="T40" fmla="*/ 54 w 126"/>
                    <a:gd name="T4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26" h="48">
                      <a:moveTo>
                        <a:pt x="54" y="0"/>
                      </a:moveTo>
                      <a:lnTo>
                        <a:pt x="72" y="0"/>
                      </a:lnTo>
                      <a:lnTo>
                        <a:pt x="90" y="0"/>
                      </a:lnTo>
                      <a:lnTo>
                        <a:pt x="108" y="6"/>
                      </a:lnTo>
                      <a:lnTo>
                        <a:pt x="120" y="12"/>
                      </a:lnTo>
                      <a:lnTo>
                        <a:pt x="126" y="24"/>
                      </a:lnTo>
                      <a:lnTo>
                        <a:pt x="126" y="30"/>
                      </a:lnTo>
                      <a:lnTo>
                        <a:pt x="126" y="36"/>
                      </a:lnTo>
                      <a:lnTo>
                        <a:pt x="114" y="42"/>
                      </a:lnTo>
                      <a:lnTo>
                        <a:pt x="102" y="48"/>
                      </a:lnTo>
                      <a:lnTo>
                        <a:pt x="78" y="48"/>
                      </a:lnTo>
                      <a:lnTo>
                        <a:pt x="54" y="42"/>
                      </a:lnTo>
                      <a:lnTo>
                        <a:pt x="24" y="42"/>
                      </a:lnTo>
                      <a:lnTo>
                        <a:pt x="12" y="36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24" y="6"/>
                      </a:lnTo>
                      <a:lnTo>
                        <a:pt x="36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5" name="Freeform 146">
                  <a:extLst>
                    <a:ext uri="{FF2B5EF4-FFF2-40B4-BE49-F238E27FC236}">
                      <a16:creationId xmlns:a16="http://schemas.microsoft.com/office/drawing/2014/main" id="{965279A1-079B-4763-9BB9-37B561331B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37" y="-6456"/>
                  <a:ext cx="84" cy="168"/>
                </a:xfrm>
                <a:custGeom>
                  <a:avLst/>
                  <a:gdLst>
                    <a:gd name="T0" fmla="*/ 18 w 84"/>
                    <a:gd name="T1" fmla="*/ 0 h 168"/>
                    <a:gd name="T2" fmla="*/ 30 w 84"/>
                    <a:gd name="T3" fmla="*/ 6 h 168"/>
                    <a:gd name="T4" fmla="*/ 42 w 84"/>
                    <a:gd name="T5" fmla="*/ 12 h 168"/>
                    <a:gd name="T6" fmla="*/ 60 w 84"/>
                    <a:gd name="T7" fmla="*/ 18 h 168"/>
                    <a:gd name="T8" fmla="*/ 78 w 84"/>
                    <a:gd name="T9" fmla="*/ 24 h 168"/>
                    <a:gd name="T10" fmla="*/ 84 w 84"/>
                    <a:gd name="T11" fmla="*/ 42 h 168"/>
                    <a:gd name="T12" fmla="*/ 84 w 84"/>
                    <a:gd name="T13" fmla="*/ 72 h 168"/>
                    <a:gd name="T14" fmla="*/ 72 w 84"/>
                    <a:gd name="T15" fmla="*/ 114 h 168"/>
                    <a:gd name="T16" fmla="*/ 60 w 84"/>
                    <a:gd name="T17" fmla="*/ 138 h 168"/>
                    <a:gd name="T18" fmla="*/ 54 w 84"/>
                    <a:gd name="T19" fmla="*/ 162 h 168"/>
                    <a:gd name="T20" fmla="*/ 48 w 84"/>
                    <a:gd name="T21" fmla="*/ 168 h 168"/>
                    <a:gd name="T22" fmla="*/ 36 w 84"/>
                    <a:gd name="T23" fmla="*/ 168 h 168"/>
                    <a:gd name="T24" fmla="*/ 30 w 84"/>
                    <a:gd name="T25" fmla="*/ 156 h 168"/>
                    <a:gd name="T26" fmla="*/ 24 w 84"/>
                    <a:gd name="T27" fmla="*/ 144 h 168"/>
                    <a:gd name="T28" fmla="*/ 12 w 84"/>
                    <a:gd name="T29" fmla="*/ 108 h 168"/>
                    <a:gd name="T30" fmla="*/ 0 w 84"/>
                    <a:gd name="T31" fmla="*/ 72 h 168"/>
                    <a:gd name="T32" fmla="*/ 0 w 84"/>
                    <a:gd name="T33" fmla="*/ 24 h 168"/>
                    <a:gd name="T34" fmla="*/ 6 w 84"/>
                    <a:gd name="T35" fmla="*/ 12 h 168"/>
                    <a:gd name="T36" fmla="*/ 12 w 84"/>
                    <a:gd name="T37" fmla="*/ 6 h 168"/>
                    <a:gd name="T38" fmla="*/ 18 w 84"/>
                    <a:gd name="T39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4" h="168">
                      <a:moveTo>
                        <a:pt x="18" y="0"/>
                      </a:moveTo>
                      <a:lnTo>
                        <a:pt x="30" y="6"/>
                      </a:lnTo>
                      <a:lnTo>
                        <a:pt x="42" y="12"/>
                      </a:lnTo>
                      <a:lnTo>
                        <a:pt x="60" y="18"/>
                      </a:lnTo>
                      <a:lnTo>
                        <a:pt x="78" y="24"/>
                      </a:lnTo>
                      <a:lnTo>
                        <a:pt x="84" y="42"/>
                      </a:lnTo>
                      <a:lnTo>
                        <a:pt x="84" y="72"/>
                      </a:lnTo>
                      <a:lnTo>
                        <a:pt x="72" y="114"/>
                      </a:lnTo>
                      <a:lnTo>
                        <a:pt x="60" y="138"/>
                      </a:lnTo>
                      <a:lnTo>
                        <a:pt x="54" y="162"/>
                      </a:lnTo>
                      <a:lnTo>
                        <a:pt x="48" y="168"/>
                      </a:lnTo>
                      <a:lnTo>
                        <a:pt x="36" y="168"/>
                      </a:lnTo>
                      <a:lnTo>
                        <a:pt x="30" y="156"/>
                      </a:lnTo>
                      <a:lnTo>
                        <a:pt x="24" y="144"/>
                      </a:lnTo>
                      <a:lnTo>
                        <a:pt x="12" y="108"/>
                      </a:lnTo>
                      <a:lnTo>
                        <a:pt x="0" y="72"/>
                      </a:lnTo>
                      <a:lnTo>
                        <a:pt x="0" y="24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6" name="Freeform 147">
                  <a:extLst>
                    <a:ext uri="{FF2B5EF4-FFF2-40B4-BE49-F238E27FC236}">
                      <a16:creationId xmlns:a16="http://schemas.microsoft.com/office/drawing/2014/main" id="{754B66E4-8D5B-4B04-8ABE-FEE5A99251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21" y="-8946"/>
                  <a:ext cx="156" cy="108"/>
                </a:xfrm>
                <a:custGeom>
                  <a:avLst/>
                  <a:gdLst>
                    <a:gd name="T0" fmla="*/ 66 w 156"/>
                    <a:gd name="T1" fmla="*/ 0 h 108"/>
                    <a:gd name="T2" fmla="*/ 84 w 156"/>
                    <a:gd name="T3" fmla="*/ 0 h 108"/>
                    <a:gd name="T4" fmla="*/ 102 w 156"/>
                    <a:gd name="T5" fmla="*/ 6 h 108"/>
                    <a:gd name="T6" fmla="*/ 120 w 156"/>
                    <a:gd name="T7" fmla="*/ 18 h 108"/>
                    <a:gd name="T8" fmla="*/ 144 w 156"/>
                    <a:gd name="T9" fmla="*/ 24 h 108"/>
                    <a:gd name="T10" fmla="*/ 150 w 156"/>
                    <a:gd name="T11" fmla="*/ 30 h 108"/>
                    <a:gd name="T12" fmla="*/ 156 w 156"/>
                    <a:gd name="T13" fmla="*/ 42 h 108"/>
                    <a:gd name="T14" fmla="*/ 156 w 156"/>
                    <a:gd name="T15" fmla="*/ 54 h 108"/>
                    <a:gd name="T16" fmla="*/ 156 w 156"/>
                    <a:gd name="T17" fmla="*/ 66 h 108"/>
                    <a:gd name="T18" fmla="*/ 156 w 156"/>
                    <a:gd name="T19" fmla="*/ 84 h 108"/>
                    <a:gd name="T20" fmla="*/ 150 w 156"/>
                    <a:gd name="T21" fmla="*/ 90 h 108"/>
                    <a:gd name="T22" fmla="*/ 144 w 156"/>
                    <a:gd name="T23" fmla="*/ 96 h 108"/>
                    <a:gd name="T24" fmla="*/ 132 w 156"/>
                    <a:gd name="T25" fmla="*/ 102 h 108"/>
                    <a:gd name="T26" fmla="*/ 120 w 156"/>
                    <a:gd name="T27" fmla="*/ 108 h 108"/>
                    <a:gd name="T28" fmla="*/ 102 w 156"/>
                    <a:gd name="T29" fmla="*/ 108 h 108"/>
                    <a:gd name="T30" fmla="*/ 78 w 156"/>
                    <a:gd name="T31" fmla="*/ 102 h 108"/>
                    <a:gd name="T32" fmla="*/ 54 w 156"/>
                    <a:gd name="T33" fmla="*/ 96 h 108"/>
                    <a:gd name="T34" fmla="*/ 30 w 156"/>
                    <a:gd name="T35" fmla="*/ 90 h 108"/>
                    <a:gd name="T36" fmla="*/ 18 w 156"/>
                    <a:gd name="T37" fmla="*/ 78 h 108"/>
                    <a:gd name="T38" fmla="*/ 6 w 156"/>
                    <a:gd name="T39" fmla="*/ 66 h 108"/>
                    <a:gd name="T40" fmla="*/ 6 w 156"/>
                    <a:gd name="T41" fmla="*/ 54 h 108"/>
                    <a:gd name="T42" fmla="*/ 0 w 156"/>
                    <a:gd name="T43" fmla="*/ 42 h 108"/>
                    <a:gd name="T44" fmla="*/ 0 w 156"/>
                    <a:gd name="T45" fmla="*/ 24 h 108"/>
                    <a:gd name="T46" fmla="*/ 6 w 156"/>
                    <a:gd name="T47" fmla="*/ 12 h 108"/>
                    <a:gd name="T48" fmla="*/ 12 w 156"/>
                    <a:gd name="T49" fmla="*/ 6 h 108"/>
                    <a:gd name="T50" fmla="*/ 18 w 156"/>
                    <a:gd name="T51" fmla="*/ 6 h 108"/>
                    <a:gd name="T52" fmla="*/ 36 w 156"/>
                    <a:gd name="T53" fmla="*/ 0 h 108"/>
                    <a:gd name="T54" fmla="*/ 48 w 156"/>
                    <a:gd name="T55" fmla="*/ 0 h 108"/>
                    <a:gd name="T56" fmla="*/ 66 w 156"/>
                    <a:gd name="T57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56" h="108">
                      <a:moveTo>
                        <a:pt x="66" y="0"/>
                      </a:moveTo>
                      <a:lnTo>
                        <a:pt x="84" y="0"/>
                      </a:lnTo>
                      <a:lnTo>
                        <a:pt x="102" y="6"/>
                      </a:lnTo>
                      <a:lnTo>
                        <a:pt x="120" y="18"/>
                      </a:lnTo>
                      <a:lnTo>
                        <a:pt x="144" y="24"/>
                      </a:lnTo>
                      <a:lnTo>
                        <a:pt x="150" y="30"/>
                      </a:lnTo>
                      <a:lnTo>
                        <a:pt x="156" y="42"/>
                      </a:lnTo>
                      <a:lnTo>
                        <a:pt x="156" y="54"/>
                      </a:lnTo>
                      <a:lnTo>
                        <a:pt x="156" y="66"/>
                      </a:lnTo>
                      <a:lnTo>
                        <a:pt x="156" y="84"/>
                      </a:lnTo>
                      <a:lnTo>
                        <a:pt x="150" y="90"/>
                      </a:lnTo>
                      <a:lnTo>
                        <a:pt x="144" y="96"/>
                      </a:lnTo>
                      <a:lnTo>
                        <a:pt x="132" y="102"/>
                      </a:lnTo>
                      <a:lnTo>
                        <a:pt x="120" y="108"/>
                      </a:lnTo>
                      <a:lnTo>
                        <a:pt x="102" y="108"/>
                      </a:lnTo>
                      <a:lnTo>
                        <a:pt x="78" y="102"/>
                      </a:lnTo>
                      <a:lnTo>
                        <a:pt x="54" y="96"/>
                      </a:lnTo>
                      <a:lnTo>
                        <a:pt x="30" y="90"/>
                      </a:lnTo>
                      <a:lnTo>
                        <a:pt x="18" y="78"/>
                      </a:lnTo>
                      <a:lnTo>
                        <a:pt x="6" y="66"/>
                      </a:lnTo>
                      <a:lnTo>
                        <a:pt x="6" y="54"/>
                      </a:lnTo>
                      <a:lnTo>
                        <a:pt x="0" y="42"/>
                      </a:lnTo>
                      <a:lnTo>
                        <a:pt x="0" y="24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18" y="6"/>
                      </a:lnTo>
                      <a:lnTo>
                        <a:pt x="36" y="0"/>
                      </a:lnTo>
                      <a:lnTo>
                        <a:pt x="48" y="0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7" name="Freeform 148">
                  <a:extLst>
                    <a:ext uri="{FF2B5EF4-FFF2-40B4-BE49-F238E27FC236}">
                      <a16:creationId xmlns:a16="http://schemas.microsoft.com/office/drawing/2014/main" id="{DCBCC2BB-BC43-467E-85BF-8BDB7ADED9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95" y="-9618"/>
                  <a:ext cx="330" cy="216"/>
                </a:xfrm>
                <a:custGeom>
                  <a:avLst/>
                  <a:gdLst>
                    <a:gd name="T0" fmla="*/ 270 w 330"/>
                    <a:gd name="T1" fmla="*/ 0 h 216"/>
                    <a:gd name="T2" fmla="*/ 288 w 330"/>
                    <a:gd name="T3" fmla="*/ 0 h 216"/>
                    <a:gd name="T4" fmla="*/ 300 w 330"/>
                    <a:gd name="T5" fmla="*/ 6 h 216"/>
                    <a:gd name="T6" fmla="*/ 312 w 330"/>
                    <a:gd name="T7" fmla="*/ 12 h 216"/>
                    <a:gd name="T8" fmla="*/ 318 w 330"/>
                    <a:gd name="T9" fmla="*/ 24 h 216"/>
                    <a:gd name="T10" fmla="*/ 324 w 330"/>
                    <a:gd name="T11" fmla="*/ 42 h 216"/>
                    <a:gd name="T12" fmla="*/ 330 w 330"/>
                    <a:gd name="T13" fmla="*/ 60 h 216"/>
                    <a:gd name="T14" fmla="*/ 330 w 330"/>
                    <a:gd name="T15" fmla="*/ 72 h 216"/>
                    <a:gd name="T16" fmla="*/ 330 w 330"/>
                    <a:gd name="T17" fmla="*/ 84 h 216"/>
                    <a:gd name="T18" fmla="*/ 318 w 330"/>
                    <a:gd name="T19" fmla="*/ 96 h 216"/>
                    <a:gd name="T20" fmla="*/ 306 w 330"/>
                    <a:gd name="T21" fmla="*/ 102 h 216"/>
                    <a:gd name="T22" fmla="*/ 294 w 330"/>
                    <a:gd name="T23" fmla="*/ 114 h 216"/>
                    <a:gd name="T24" fmla="*/ 276 w 330"/>
                    <a:gd name="T25" fmla="*/ 120 h 216"/>
                    <a:gd name="T26" fmla="*/ 264 w 330"/>
                    <a:gd name="T27" fmla="*/ 132 h 216"/>
                    <a:gd name="T28" fmla="*/ 240 w 330"/>
                    <a:gd name="T29" fmla="*/ 150 h 216"/>
                    <a:gd name="T30" fmla="*/ 216 w 330"/>
                    <a:gd name="T31" fmla="*/ 168 h 216"/>
                    <a:gd name="T32" fmla="*/ 192 w 330"/>
                    <a:gd name="T33" fmla="*/ 180 h 216"/>
                    <a:gd name="T34" fmla="*/ 174 w 330"/>
                    <a:gd name="T35" fmla="*/ 180 h 216"/>
                    <a:gd name="T36" fmla="*/ 150 w 330"/>
                    <a:gd name="T37" fmla="*/ 180 h 216"/>
                    <a:gd name="T38" fmla="*/ 114 w 330"/>
                    <a:gd name="T39" fmla="*/ 180 h 216"/>
                    <a:gd name="T40" fmla="*/ 84 w 330"/>
                    <a:gd name="T41" fmla="*/ 186 h 216"/>
                    <a:gd name="T42" fmla="*/ 66 w 330"/>
                    <a:gd name="T43" fmla="*/ 204 h 216"/>
                    <a:gd name="T44" fmla="*/ 54 w 330"/>
                    <a:gd name="T45" fmla="*/ 210 h 216"/>
                    <a:gd name="T46" fmla="*/ 42 w 330"/>
                    <a:gd name="T47" fmla="*/ 216 h 216"/>
                    <a:gd name="T48" fmla="*/ 30 w 330"/>
                    <a:gd name="T49" fmla="*/ 216 h 216"/>
                    <a:gd name="T50" fmla="*/ 24 w 330"/>
                    <a:gd name="T51" fmla="*/ 210 h 216"/>
                    <a:gd name="T52" fmla="*/ 18 w 330"/>
                    <a:gd name="T53" fmla="*/ 198 h 216"/>
                    <a:gd name="T54" fmla="*/ 18 w 330"/>
                    <a:gd name="T55" fmla="*/ 186 h 216"/>
                    <a:gd name="T56" fmla="*/ 24 w 330"/>
                    <a:gd name="T57" fmla="*/ 174 h 216"/>
                    <a:gd name="T58" fmla="*/ 18 w 330"/>
                    <a:gd name="T59" fmla="*/ 168 h 216"/>
                    <a:gd name="T60" fmla="*/ 18 w 330"/>
                    <a:gd name="T61" fmla="*/ 156 h 216"/>
                    <a:gd name="T62" fmla="*/ 12 w 330"/>
                    <a:gd name="T63" fmla="*/ 150 h 216"/>
                    <a:gd name="T64" fmla="*/ 6 w 330"/>
                    <a:gd name="T65" fmla="*/ 132 h 216"/>
                    <a:gd name="T66" fmla="*/ 0 w 330"/>
                    <a:gd name="T67" fmla="*/ 114 h 216"/>
                    <a:gd name="T68" fmla="*/ 0 w 330"/>
                    <a:gd name="T69" fmla="*/ 96 h 216"/>
                    <a:gd name="T70" fmla="*/ 12 w 330"/>
                    <a:gd name="T71" fmla="*/ 84 h 216"/>
                    <a:gd name="T72" fmla="*/ 24 w 330"/>
                    <a:gd name="T73" fmla="*/ 66 h 216"/>
                    <a:gd name="T74" fmla="*/ 42 w 330"/>
                    <a:gd name="T75" fmla="*/ 48 h 216"/>
                    <a:gd name="T76" fmla="*/ 66 w 330"/>
                    <a:gd name="T77" fmla="*/ 30 h 216"/>
                    <a:gd name="T78" fmla="*/ 90 w 330"/>
                    <a:gd name="T79" fmla="*/ 18 h 216"/>
                    <a:gd name="T80" fmla="*/ 138 w 330"/>
                    <a:gd name="T81" fmla="*/ 18 h 216"/>
                    <a:gd name="T82" fmla="*/ 162 w 330"/>
                    <a:gd name="T83" fmla="*/ 18 h 216"/>
                    <a:gd name="T84" fmla="*/ 174 w 330"/>
                    <a:gd name="T85" fmla="*/ 18 h 216"/>
                    <a:gd name="T86" fmla="*/ 186 w 330"/>
                    <a:gd name="T87" fmla="*/ 24 h 216"/>
                    <a:gd name="T88" fmla="*/ 192 w 330"/>
                    <a:gd name="T89" fmla="*/ 24 h 216"/>
                    <a:gd name="T90" fmla="*/ 192 w 330"/>
                    <a:gd name="T91" fmla="*/ 24 h 216"/>
                    <a:gd name="T92" fmla="*/ 198 w 330"/>
                    <a:gd name="T93" fmla="*/ 24 h 216"/>
                    <a:gd name="T94" fmla="*/ 204 w 330"/>
                    <a:gd name="T95" fmla="*/ 18 h 216"/>
                    <a:gd name="T96" fmla="*/ 216 w 330"/>
                    <a:gd name="T97" fmla="*/ 6 h 216"/>
                    <a:gd name="T98" fmla="*/ 228 w 330"/>
                    <a:gd name="T99" fmla="*/ 6 h 216"/>
                    <a:gd name="T100" fmla="*/ 246 w 330"/>
                    <a:gd name="T101" fmla="*/ 0 h 216"/>
                    <a:gd name="T102" fmla="*/ 270 w 330"/>
                    <a:gd name="T103" fmla="*/ 0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30" h="216">
                      <a:moveTo>
                        <a:pt x="270" y="0"/>
                      </a:moveTo>
                      <a:lnTo>
                        <a:pt x="288" y="0"/>
                      </a:lnTo>
                      <a:lnTo>
                        <a:pt x="300" y="6"/>
                      </a:lnTo>
                      <a:lnTo>
                        <a:pt x="312" y="12"/>
                      </a:lnTo>
                      <a:lnTo>
                        <a:pt x="318" y="24"/>
                      </a:lnTo>
                      <a:lnTo>
                        <a:pt x="324" y="42"/>
                      </a:lnTo>
                      <a:lnTo>
                        <a:pt x="330" y="60"/>
                      </a:lnTo>
                      <a:lnTo>
                        <a:pt x="330" y="72"/>
                      </a:lnTo>
                      <a:lnTo>
                        <a:pt x="330" y="84"/>
                      </a:lnTo>
                      <a:lnTo>
                        <a:pt x="318" y="96"/>
                      </a:lnTo>
                      <a:lnTo>
                        <a:pt x="306" y="102"/>
                      </a:lnTo>
                      <a:lnTo>
                        <a:pt x="294" y="114"/>
                      </a:lnTo>
                      <a:lnTo>
                        <a:pt x="276" y="120"/>
                      </a:lnTo>
                      <a:lnTo>
                        <a:pt x="264" y="132"/>
                      </a:lnTo>
                      <a:lnTo>
                        <a:pt x="240" y="150"/>
                      </a:lnTo>
                      <a:lnTo>
                        <a:pt x="216" y="168"/>
                      </a:lnTo>
                      <a:lnTo>
                        <a:pt x="192" y="180"/>
                      </a:lnTo>
                      <a:lnTo>
                        <a:pt x="174" y="180"/>
                      </a:lnTo>
                      <a:lnTo>
                        <a:pt x="150" y="180"/>
                      </a:lnTo>
                      <a:lnTo>
                        <a:pt x="114" y="180"/>
                      </a:lnTo>
                      <a:lnTo>
                        <a:pt x="84" y="186"/>
                      </a:lnTo>
                      <a:lnTo>
                        <a:pt x="66" y="204"/>
                      </a:lnTo>
                      <a:lnTo>
                        <a:pt x="54" y="210"/>
                      </a:lnTo>
                      <a:lnTo>
                        <a:pt x="42" y="216"/>
                      </a:lnTo>
                      <a:lnTo>
                        <a:pt x="30" y="216"/>
                      </a:lnTo>
                      <a:lnTo>
                        <a:pt x="24" y="210"/>
                      </a:lnTo>
                      <a:lnTo>
                        <a:pt x="18" y="198"/>
                      </a:lnTo>
                      <a:lnTo>
                        <a:pt x="18" y="186"/>
                      </a:lnTo>
                      <a:lnTo>
                        <a:pt x="24" y="174"/>
                      </a:lnTo>
                      <a:lnTo>
                        <a:pt x="18" y="168"/>
                      </a:lnTo>
                      <a:lnTo>
                        <a:pt x="18" y="156"/>
                      </a:lnTo>
                      <a:lnTo>
                        <a:pt x="12" y="150"/>
                      </a:lnTo>
                      <a:lnTo>
                        <a:pt x="6" y="132"/>
                      </a:lnTo>
                      <a:lnTo>
                        <a:pt x="0" y="114"/>
                      </a:lnTo>
                      <a:lnTo>
                        <a:pt x="0" y="96"/>
                      </a:lnTo>
                      <a:lnTo>
                        <a:pt x="12" y="84"/>
                      </a:lnTo>
                      <a:lnTo>
                        <a:pt x="24" y="66"/>
                      </a:lnTo>
                      <a:lnTo>
                        <a:pt x="42" y="48"/>
                      </a:lnTo>
                      <a:lnTo>
                        <a:pt x="66" y="30"/>
                      </a:lnTo>
                      <a:lnTo>
                        <a:pt x="90" y="18"/>
                      </a:lnTo>
                      <a:lnTo>
                        <a:pt x="138" y="18"/>
                      </a:lnTo>
                      <a:lnTo>
                        <a:pt x="162" y="18"/>
                      </a:lnTo>
                      <a:lnTo>
                        <a:pt x="174" y="18"/>
                      </a:lnTo>
                      <a:lnTo>
                        <a:pt x="186" y="24"/>
                      </a:lnTo>
                      <a:lnTo>
                        <a:pt x="192" y="24"/>
                      </a:lnTo>
                      <a:lnTo>
                        <a:pt x="192" y="24"/>
                      </a:lnTo>
                      <a:lnTo>
                        <a:pt x="198" y="24"/>
                      </a:lnTo>
                      <a:lnTo>
                        <a:pt x="204" y="18"/>
                      </a:lnTo>
                      <a:lnTo>
                        <a:pt x="216" y="6"/>
                      </a:lnTo>
                      <a:lnTo>
                        <a:pt x="228" y="6"/>
                      </a:lnTo>
                      <a:lnTo>
                        <a:pt x="246" y="0"/>
                      </a:lnTo>
                      <a:lnTo>
                        <a:pt x="27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8" name="Freeform 149">
                  <a:extLst>
                    <a:ext uri="{FF2B5EF4-FFF2-40B4-BE49-F238E27FC236}">
                      <a16:creationId xmlns:a16="http://schemas.microsoft.com/office/drawing/2014/main" id="{7D77F12D-4F34-48FC-8E1F-4A509990B3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67" y="-8868"/>
                  <a:ext cx="318" cy="192"/>
                </a:xfrm>
                <a:custGeom>
                  <a:avLst/>
                  <a:gdLst>
                    <a:gd name="T0" fmla="*/ 156 w 318"/>
                    <a:gd name="T1" fmla="*/ 0 h 192"/>
                    <a:gd name="T2" fmla="*/ 174 w 318"/>
                    <a:gd name="T3" fmla="*/ 12 h 192"/>
                    <a:gd name="T4" fmla="*/ 198 w 318"/>
                    <a:gd name="T5" fmla="*/ 18 h 192"/>
                    <a:gd name="T6" fmla="*/ 228 w 318"/>
                    <a:gd name="T7" fmla="*/ 24 h 192"/>
                    <a:gd name="T8" fmla="*/ 240 w 318"/>
                    <a:gd name="T9" fmla="*/ 30 h 192"/>
                    <a:gd name="T10" fmla="*/ 258 w 318"/>
                    <a:gd name="T11" fmla="*/ 36 h 192"/>
                    <a:gd name="T12" fmla="*/ 264 w 318"/>
                    <a:gd name="T13" fmla="*/ 42 h 192"/>
                    <a:gd name="T14" fmla="*/ 270 w 318"/>
                    <a:gd name="T15" fmla="*/ 54 h 192"/>
                    <a:gd name="T16" fmla="*/ 282 w 318"/>
                    <a:gd name="T17" fmla="*/ 66 h 192"/>
                    <a:gd name="T18" fmla="*/ 288 w 318"/>
                    <a:gd name="T19" fmla="*/ 72 h 192"/>
                    <a:gd name="T20" fmla="*/ 294 w 318"/>
                    <a:gd name="T21" fmla="*/ 78 h 192"/>
                    <a:gd name="T22" fmla="*/ 300 w 318"/>
                    <a:gd name="T23" fmla="*/ 84 h 192"/>
                    <a:gd name="T24" fmla="*/ 312 w 318"/>
                    <a:gd name="T25" fmla="*/ 84 h 192"/>
                    <a:gd name="T26" fmla="*/ 318 w 318"/>
                    <a:gd name="T27" fmla="*/ 90 h 192"/>
                    <a:gd name="T28" fmla="*/ 312 w 318"/>
                    <a:gd name="T29" fmla="*/ 96 h 192"/>
                    <a:gd name="T30" fmla="*/ 306 w 318"/>
                    <a:gd name="T31" fmla="*/ 108 h 192"/>
                    <a:gd name="T32" fmla="*/ 300 w 318"/>
                    <a:gd name="T33" fmla="*/ 114 h 192"/>
                    <a:gd name="T34" fmla="*/ 282 w 318"/>
                    <a:gd name="T35" fmla="*/ 126 h 192"/>
                    <a:gd name="T36" fmla="*/ 252 w 318"/>
                    <a:gd name="T37" fmla="*/ 144 h 192"/>
                    <a:gd name="T38" fmla="*/ 210 w 318"/>
                    <a:gd name="T39" fmla="*/ 156 h 192"/>
                    <a:gd name="T40" fmla="*/ 156 w 318"/>
                    <a:gd name="T41" fmla="*/ 174 h 192"/>
                    <a:gd name="T42" fmla="*/ 114 w 318"/>
                    <a:gd name="T43" fmla="*/ 180 h 192"/>
                    <a:gd name="T44" fmla="*/ 84 w 318"/>
                    <a:gd name="T45" fmla="*/ 180 h 192"/>
                    <a:gd name="T46" fmla="*/ 60 w 318"/>
                    <a:gd name="T47" fmla="*/ 174 h 192"/>
                    <a:gd name="T48" fmla="*/ 30 w 318"/>
                    <a:gd name="T49" fmla="*/ 180 h 192"/>
                    <a:gd name="T50" fmla="*/ 18 w 318"/>
                    <a:gd name="T51" fmla="*/ 186 h 192"/>
                    <a:gd name="T52" fmla="*/ 6 w 318"/>
                    <a:gd name="T53" fmla="*/ 192 h 192"/>
                    <a:gd name="T54" fmla="*/ 0 w 318"/>
                    <a:gd name="T55" fmla="*/ 186 h 192"/>
                    <a:gd name="T56" fmla="*/ 0 w 318"/>
                    <a:gd name="T57" fmla="*/ 180 h 192"/>
                    <a:gd name="T58" fmla="*/ 0 w 318"/>
                    <a:gd name="T59" fmla="*/ 174 h 192"/>
                    <a:gd name="T60" fmla="*/ 0 w 318"/>
                    <a:gd name="T61" fmla="*/ 162 h 192"/>
                    <a:gd name="T62" fmla="*/ 12 w 318"/>
                    <a:gd name="T63" fmla="*/ 144 h 192"/>
                    <a:gd name="T64" fmla="*/ 18 w 318"/>
                    <a:gd name="T65" fmla="*/ 126 h 192"/>
                    <a:gd name="T66" fmla="*/ 24 w 318"/>
                    <a:gd name="T67" fmla="*/ 114 h 192"/>
                    <a:gd name="T68" fmla="*/ 30 w 318"/>
                    <a:gd name="T69" fmla="*/ 108 h 192"/>
                    <a:gd name="T70" fmla="*/ 30 w 318"/>
                    <a:gd name="T71" fmla="*/ 102 h 192"/>
                    <a:gd name="T72" fmla="*/ 30 w 318"/>
                    <a:gd name="T73" fmla="*/ 96 h 192"/>
                    <a:gd name="T74" fmla="*/ 30 w 318"/>
                    <a:gd name="T75" fmla="*/ 84 h 192"/>
                    <a:gd name="T76" fmla="*/ 30 w 318"/>
                    <a:gd name="T77" fmla="*/ 78 h 192"/>
                    <a:gd name="T78" fmla="*/ 30 w 318"/>
                    <a:gd name="T79" fmla="*/ 66 h 192"/>
                    <a:gd name="T80" fmla="*/ 48 w 318"/>
                    <a:gd name="T81" fmla="*/ 30 h 192"/>
                    <a:gd name="T82" fmla="*/ 60 w 318"/>
                    <a:gd name="T83" fmla="*/ 12 h 192"/>
                    <a:gd name="T84" fmla="*/ 84 w 318"/>
                    <a:gd name="T85" fmla="*/ 12 h 192"/>
                    <a:gd name="T86" fmla="*/ 102 w 318"/>
                    <a:gd name="T87" fmla="*/ 12 h 192"/>
                    <a:gd name="T88" fmla="*/ 126 w 318"/>
                    <a:gd name="T89" fmla="*/ 6 h 192"/>
                    <a:gd name="T90" fmla="*/ 156 w 318"/>
                    <a:gd name="T91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318" h="192">
                      <a:moveTo>
                        <a:pt x="156" y="0"/>
                      </a:moveTo>
                      <a:lnTo>
                        <a:pt x="174" y="12"/>
                      </a:lnTo>
                      <a:lnTo>
                        <a:pt x="198" y="18"/>
                      </a:lnTo>
                      <a:lnTo>
                        <a:pt x="228" y="24"/>
                      </a:lnTo>
                      <a:lnTo>
                        <a:pt x="240" y="30"/>
                      </a:lnTo>
                      <a:lnTo>
                        <a:pt x="258" y="36"/>
                      </a:lnTo>
                      <a:lnTo>
                        <a:pt x="264" y="42"/>
                      </a:lnTo>
                      <a:lnTo>
                        <a:pt x="270" y="54"/>
                      </a:lnTo>
                      <a:lnTo>
                        <a:pt x="282" y="66"/>
                      </a:lnTo>
                      <a:lnTo>
                        <a:pt x="288" y="72"/>
                      </a:lnTo>
                      <a:lnTo>
                        <a:pt x="294" y="78"/>
                      </a:lnTo>
                      <a:lnTo>
                        <a:pt x="300" y="84"/>
                      </a:lnTo>
                      <a:lnTo>
                        <a:pt x="312" y="84"/>
                      </a:lnTo>
                      <a:lnTo>
                        <a:pt x="318" y="90"/>
                      </a:lnTo>
                      <a:lnTo>
                        <a:pt x="312" y="96"/>
                      </a:lnTo>
                      <a:lnTo>
                        <a:pt x="306" y="108"/>
                      </a:lnTo>
                      <a:lnTo>
                        <a:pt x="300" y="114"/>
                      </a:lnTo>
                      <a:lnTo>
                        <a:pt x="282" y="126"/>
                      </a:lnTo>
                      <a:lnTo>
                        <a:pt x="252" y="144"/>
                      </a:lnTo>
                      <a:lnTo>
                        <a:pt x="210" y="156"/>
                      </a:lnTo>
                      <a:lnTo>
                        <a:pt x="156" y="174"/>
                      </a:lnTo>
                      <a:lnTo>
                        <a:pt x="114" y="180"/>
                      </a:lnTo>
                      <a:lnTo>
                        <a:pt x="84" y="180"/>
                      </a:lnTo>
                      <a:lnTo>
                        <a:pt x="60" y="174"/>
                      </a:lnTo>
                      <a:lnTo>
                        <a:pt x="30" y="180"/>
                      </a:lnTo>
                      <a:lnTo>
                        <a:pt x="18" y="186"/>
                      </a:lnTo>
                      <a:lnTo>
                        <a:pt x="6" y="192"/>
                      </a:lnTo>
                      <a:lnTo>
                        <a:pt x="0" y="186"/>
                      </a:lnTo>
                      <a:lnTo>
                        <a:pt x="0" y="180"/>
                      </a:lnTo>
                      <a:lnTo>
                        <a:pt x="0" y="174"/>
                      </a:lnTo>
                      <a:lnTo>
                        <a:pt x="0" y="162"/>
                      </a:lnTo>
                      <a:lnTo>
                        <a:pt x="12" y="144"/>
                      </a:lnTo>
                      <a:lnTo>
                        <a:pt x="18" y="126"/>
                      </a:lnTo>
                      <a:lnTo>
                        <a:pt x="24" y="114"/>
                      </a:lnTo>
                      <a:lnTo>
                        <a:pt x="30" y="108"/>
                      </a:lnTo>
                      <a:lnTo>
                        <a:pt x="30" y="102"/>
                      </a:lnTo>
                      <a:lnTo>
                        <a:pt x="30" y="96"/>
                      </a:lnTo>
                      <a:lnTo>
                        <a:pt x="30" y="84"/>
                      </a:lnTo>
                      <a:lnTo>
                        <a:pt x="30" y="78"/>
                      </a:lnTo>
                      <a:lnTo>
                        <a:pt x="30" y="66"/>
                      </a:lnTo>
                      <a:lnTo>
                        <a:pt x="48" y="30"/>
                      </a:lnTo>
                      <a:lnTo>
                        <a:pt x="60" y="12"/>
                      </a:lnTo>
                      <a:lnTo>
                        <a:pt x="84" y="12"/>
                      </a:lnTo>
                      <a:lnTo>
                        <a:pt x="102" y="12"/>
                      </a:lnTo>
                      <a:lnTo>
                        <a:pt x="126" y="6"/>
                      </a:lnTo>
                      <a:lnTo>
                        <a:pt x="15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89" name="Freeform 150">
                  <a:extLst>
                    <a:ext uri="{FF2B5EF4-FFF2-40B4-BE49-F238E27FC236}">
                      <a16:creationId xmlns:a16="http://schemas.microsoft.com/office/drawing/2014/main" id="{02853D91-9313-454F-A67A-C02BA3C7BE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59" y="-8904"/>
                  <a:ext cx="102" cy="120"/>
                </a:xfrm>
                <a:custGeom>
                  <a:avLst/>
                  <a:gdLst>
                    <a:gd name="T0" fmla="*/ 66 w 102"/>
                    <a:gd name="T1" fmla="*/ 0 h 120"/>
                    <a:gd name="T2" fmla="*/ 72 w 102"/>
                    <a:gd name="T3" fmla="*/ 0 h 120"/>
                    <a:gd name="T4" fmla="*/ 84 w 102"/>
                    <a:gd name="T5" fmla="*/ 6 h 120"/>
                    <a:gd name="T6" fmla="*/ 90 w 102"/>
                    <a:gd name="T7" fmla="*/ 18 h 120"/>
                    <a:gd name="T8" fmla="*/ 96 w 102"/>
                    <a:gd name="T9" fmla="*/ 24 h 120"/>
                    <a:gd name="T10" fmla="*/ 102 w 102"/>
                    <a:gd name="T11" fmla="*/ 36 h 120"/>
                    <a:gd name="T12" fmla="*/ 102 w 102"/>
                    <a:gd name="T13" fmla="*/ 54 h 120"/>
                    <a:gd name="T14" fmla="*/ 96 w 102"/>
                    <a:gd name="T15" fmla="*/ 72 h 120"/>
                    <a:gd name="T16" fmla="*/ 84 w 102"/>
                    <a:gd name="T17" fmla="*/ 90 h 120"/>
                    <a:gd name="T18" fmla="*/ 72 w 102"/>
                    <a:gd name="T19" fmla="*/ 108 h 120"/>
                    <a:gd name="T20" fmla="*/ 66 w 102"/>
                    <a:gd name="T21" fmla="*/ 114 h 120"/>
                    <a:gd name="T22" fmla="*/ 54 w 102"/>
                    <a:gd name="T23" fmla="*/ 120 h 120"/>
                    <a:gd name="T24" fmla="*/ 48 w 102"/>
                    <a:gd name="T25" fmla="*/ 120 h 120"/>
                    <a:gd name="T26" fmla="*/ 36 w 102"/>
                    <a:gd name="T27" fmla="*/ 114 h 120"/>
                    <a:gd name="T28" fmla="*/ 18 w 102"/>
                    <a:gd name="T29" fmla="*/ 102 h 120"/>
                    <a:gd name="T30" fmla="*/ 6 w 102"/>
                    <a:gd name="T31" fmla="*/ 96 h 120"/>
                    <a:gd name="T32" fmla="*/ 0 w 102"/>
                    <a:gd name="T33" fmla="*/ 84 h 120"/>
                    <a:gd name="T34" fmla="*/ 0 w 102"/>
                    <a:gd name="T35" fmla="*/ 78 h 120"/>
                    <a:gd name="T36" fmla="*/ 0 w 102"/>
                    <a:gd name="T37" fmla="*/ 72 h 120"/>
                    <a:gd name="T38" fmla="*/ 6 w 102"/>
                    <a:gd name="T39" fmla="*/ 60 h 120"/>
                    <a:gd name="T40" fmla="*/ 18 w 102"/>
                    <a:gd name="T41" fmla="*/ 42 h 120"/>
                    <a:gd name="T42" fmla="*/ 36 w 102"/>
                    <a:gd name="T43" fmla="*/ 24 h 120"/>
                    <a:gd name="T44" fmla="*/ 48 w 102"/>
                    <a:gd name="T45" fmla="*/ 6 h 120"/>
                    <a:gd name="T46" fmla="*/ 54 w 102"/>
                    <a:gd name="T47" fmla="*/ 0 h 120"/>
                    <a:gd name="T48" fmla="*/ 66 w 102"/>
                    <a:gd name="T49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2" h="120">
                      <a:moveTo>
                        <a:pt x="66" y="0"/>
                      </a:moveTo>
                      <a:lnTo>
                        <a:pt x="72" y="0"/>
                      </a:lnTo>
                      <a:lnTo>
                        <a:pt x="84" y="6"/>
                      </a:lnTo>
                      <a:lnTo>
                        <a:pt x="90" y="18"/>
                      </a:lnTo>
                      <a:lnTo>
                        <a:pt x="96" y="24"/>
                      </a:lnTo>
                      <a:lnTo>
                        <a:pt x="102" y="36"/>
                      </a:lnTo>
                      <a:lnTo>
                        <a:pt x="102" y="54"/>
                      </a:lnTo>
                      <a:lnTo>
                        <a:pt x="96" y="72"/>
                      </a:lnTo>
                      <a:lnTo>
                        <a:pt x="84" y="90"/>
                      </a:lnTo>
                      <a:lnTo>
                        <a:pt x="72" y="108"/>
                      </a:lnTo>
                      <a:lnTo>
                        <a:pt x="66" y="114"/>
                      </a:lnTo>
                      <a:lnTo>
                        <a:pt x="54" y="120"/>
                      </a:lnTo>
                      <a:lnTo>
                        <a:pt x="48" y="120"/>
                      </a:lnTo>
                      <a:lnTo>
                        <a:pt x="36" y="114"/>
                      </a:lnTo>
                      <a:lnTo>
                        <a:pt x="18" y="102"/>
                      </a:lnTo>
                      <a:lnTo>
                        <a:pt x="6" y="96"/>
                      </a:lnTo>
                      <a:lnTo>
                        <a:pt x="0" y="84"/>
                      </a:lnTo>
                      <a:lnTo>
                        <a:pt x="0" y="78"/>
                      </a:lnTo>
                      <a:lnTo>
                        <a:pt x="0" y="72"/>
                      </a:lnTo>
                      <a:lnTo>
                        <a:pt x="6" y="60"/>
                      </a:lnTo>
                      <a:lnTo>
                        <a:pt x="18" y="42"/>
                      </a:lnTo>
                      <a:lnTo>
                        <a:pt x="36" y="24"/>
                      </a:lnTo>
                      <a:lnTo>
                        <a:pt x="48" y="6"/>
                      </a:lnTo>
                      <a:lnTo>
                        <a:pt x="54" y="0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0" name="Freeform 151">
                  <a:extLst>
                    <a:ext uri="{FF2B5EF4-FFF2-40B4-BE49-F238E27FC236}">
                      <a16:creationId xmlns:a16="http://schemas.microsoft.com/office/drawing/2014/main" id="{31CF5D19-6EA0-4733-A7A3-AA63A9C675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97" y="-9396"/>
                  <a:ext cx="726" cy="528"/>
                </a:xfrm>
                <a:custGeom>
                  <a:avLst/>
                  <a:gdLst>
                    <a:gd name="T0" fmla="*/ 612 w 726"/>
                    <a:gd name="T1" fmla="*/ 6 h 528"/>
                    <a:gd name="T2" fmla="*/ 612 w 726"/>
                    <a:gd name="T3" fmla="*/ 42 h 528"/>
                    <a:gd name="T4" fmla="*/ 636 w 726"/>
                    <a:gd name="T5" fmla="*/ 48 h 528"/>
                    <a:gd name="T6" fmla="*/ 672 w 726"/>
                    <a:gd name="T7" fmla="*/ 42 h 528"/>
                    <a:gd name="T8" fmla="*/ 714 w 726"/>
                    <a:gd name="T9" fmla="*/ 54 h 528"/>
                    <a:gd name="T10" fmla="*/ 720 w 726"/>
                    <a:gd name="T11" fmla="*/ 84 h 528"/>
                    <a:gd name="T12" fmla="*/ 702 w 726"/>
                    <a:gd name="T13" fmla="*/ 114 h 528"/>
                    <a:gd name="T14" fmla="*/ 720 w 726"/>
                    <a:gd name="T15" fmla="*/ 138 h 528"/>
                    <a:gd name="T16" fmla="*/ 720 w 726"/>
                    <a:gd name="T17" fmla="*/ 180 h 528"/>
                    <a:gd name="T18" fmla="*/ 666 w 726"/>
                    <a:gd name="T19" fmla="*/ 216 h 528"/>
                    <a:gd name="T20" fmla="*/ 588 w 726"/>
                    <a:gd name="T21" fmla="*/ 198 h 528"/>
                    <a:gd name="T22" fmla="*/ 534 w 726"/>
                    <a:gd name="T23" fmla="*/ 162 h 528"/>
                    <a:gd name="T24" fmla="*/ 504 w 726"/>
                    <a:gd name="T25" fmla="*/ 138 h 528"/>
                    <a:gd name="T26" fmla="*/ 498 w 726"/>
                    <a:gd name="T27" fmla="*/ 108 h 528"/>
                    <a:gd name="T28" fmla="*/ 474 w 726"/>
                    <a:gd name="T29" fmla="*/ 126 h 528"/>
                    <a:gd name="T30" fmla="*/ 450 w 726"/>
                    <a:gd name="T31" fmla="*/ 162 h 528"/>
                    <a:gd name="T32" fmla="*/ 462 w 726"/>
                    <a:gd name="T33" fmla="*/ 204 h 528"/>
                    <a:gd name="T34" fmla="*/ 498 w 726"/>
                    <a:gd name="T35" fmla="*/ 234 h 528"/>
                    <a:gd name="T36" fmla="*/ 540 w 726"/>
                    <a:gd name="T37" fmla="*/ 246 h 528"/>
                    <a:gd name="T38" fmla="*/ 576 w 726"/>
                    <a:gd name="T39" fmla="*/ 270 h 528"/>
                    <a:gd name="T40" fmla="*/ 570 w 726"/>
                    <a:gd name="T41" fmla="*/ 306 h 528"/>
                    <a:gd name="T42" fmla="*/ 504 w 726"/>
                    <a:gd name="T43" fmla="*/ 306 h 528"/>
                    <a:gd name="T44" fmla="*/ 474 w 726"/>
                    <a:gd name="T45" fmla="*/ 324 h 528"/>
                    <a:gd name="T46" fmla="*/ 450 w 726"/>
                    <a:gd name="T47" fmla="*/ 360 h 528"/>
                    <a:gd name="T48" fmla="*/ 408 w 726"/>
                    <a:gd name="T49" fmla="*/ 384 h 528"/>
                    <a:gd name="T50" fmla="*/ 378 w 726"/>
                    <a:gd name="T51" fmla="*/ 390 h 528"/>
                    <a:gd name="T52" fmla="*/ 342 w 726"/>
                    <a:gd name="T53" fmla="*/ 372 h 528"/>
                    <a:gd name="T54" fmla="*/ 318 w 726"/>
                    <a:gd name="T55" fmla="*/ 366 h 528"/>
                    <a:gd name="T56" fmla="*/ 324 w 726"/>
                    <a:gd name="T57" fmla="*/ 408 h 528"/>
                    <a:gd name="T58" fmla="*/ 360 w 726"/>
                    <a:gd name="T59" fmla="*/ 450 h 528"/>
                    <a:gd name="T60" fmla="*/ 360 w 726"/>
                    <a:gd name="T61" fmla="*/ 486 h 528"/>
                    <a:gd name="T62" fmla="*/ 336 w 726"/>
                    <a:gd name="T63" fmla="*/ 516 h 528"/>
                    <a:gd name="T64" fmla="*/ 312 w 726"/>
                    <a:gd name="T65" fmla="*/ 528 h 528"/>
                    <a:gd name="T66" fmla="*/ 282 w 726"/>
                    <a:gd name="T67" fmla="*/ 492 h 528"/>
                    <a:gd name="T68" fmla="*/ 246 w 726"/>
                    <a:gd name="T69" fmla="*/ 462 h 528"/>
                    <a:gd name="T70" fmla="*/ 216 w 726"/>
                    <a:gd name="T71" fmla="*/ 468 h 528"/>
                    <a:gd name="T72" fmla="*/ 186 w 726"/>
                    <a:gd name="T73" fmla="*/ 486 h 528"/>
                    <a:gd name="T74" fmla="*/ 150 w 726"/>
                    <a:gd name="T75" fmla="*/ 468 h 528"/>
                    <a:gd name="T76" fmla="*/ 96 w 726"/>
                    <a:gd name="T77" fmla="*/ 426 h 528"/>
                    <a:gd name="T78" fmla="*/ 54 w 726"/>
                    <a:gd name="T79" fmla="*/ 390 h 528"/>
                    <a:gd name="T80" fmla="*/ 30 w 726"/>
                    <a:gd name="T81" fmla="*/ 390 h 528"/>
                    <a:gd name="T82" fmla="*/ 6 w 726"/>
                    <a:gd name="T83" fmla="*/ 372 h 528"/>
                    <a:gd name="T84" fmla="*/ 0 w 726"/>
                    <a:gd name="T85" fmla="*/ 324 h 528"/>
                    <a:gd name="T86" fmla="*/ 12 w 726"/>
                    <a:gd name="T87" fmla="*/ 294 h 528"/>
                    <a:gd name="T88" fmla="*/ 18 w 726"/>
                    <a:gd name="T89" fmla="*/ 246 h 528"/>
                    <a:gd name="T90" fmla="*/ 12 w 726"/>
                    <a:gd name="T91" fmla="*/ 192 h 528"/>
                    <a:gd name="T92" fmla="*/ 42 w 726"/>
                    <a:gd name="T93" fmla="*/ 168 h 528"/>
                    <a:gd name="T94" fmla="*/ 84 w 726"/>
                    <a:gd name="T95" fmla="*/ 156 h 528"/>
                    <a:gd name="T96" fmla="*/ 144 w 726"/>
                    <a:gd name="T97" fmla="*/ 144 h 528"/>
                    <a:gd name="T98" fmla="*/ 186 w 726"/>
                    <a:gd name="T99" fmla="*/ 162 h 528"/>
                    <a:gd name="T100" fmla="*/ 222 w 726"/>
                    <a:gd name="T101" fmla="*/ 150 h 528"/>
                    <a:gd name="T102" fmla="*/ 270 w 726"/>
                    <a:gd name="T103" fmla="*/ 156 h 528"/>
                    <a:gd name="T104" fmla="*/ 324 w 726"/>
                    <a:gd name="T105" fmla="*/ 204 h 528"/>
                    <a:gd name="T106" fmla="*/ 360 w 726"/>
                    <a:gd name="T107" fmla="*/ 198 h 528"/>
                    <a:gd name="T108" fmla="*/ 372 w 726"/>
                    <a:gd name="T109" fmla="*/ 168 h 528"/>
                    <a:gd name="T110" fmla="*/ 348 w 726"/>
                    <a:gd name="T111" fmla="*/ 132 h 528"/>
                    <a:gd name="T112" fmla="*/ 306 w 726"/>
                    <a:gd name="T113" fmla="*/ 102 h 528"/>
                    <a:gd name="T114" fmla="*/ 264 w 726"/>
                    <a:gd name="T115" fmla="*/ 78 h 528"/>
                    <a:gd name="T116" fmla="*/ 294 w 726"/>
                    <a:gd name="T117" fmla="*/ 42 h 528"/>
                    <a:gd name="T118" fmla="*/ 408 w 726"/>
                    <a:gd name="T119" fmla="*/ 54 h 528"/>
                    <a:gd name="T120" fmla="*/ 552 w 726"/>
                    <a:gd name="T121" fmla="*/ 12 h 528"/>
                    <a:gd name="T122" fmla="*/ 594 w 726"/>
                    <a:gd name="T123" fmla="*/ 0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26" h="528">
                      <a:moveTo>
                        <a:pt x="594" y="0"/>
                      </a:moveTo>
                      <a:lnTo>
                        <a:pt x="600" y="0"/>
                      </a:lnTo>
                      <a:lnTo>
                        <a:pt x="612" y="6"/>
                      </a:lnTo>
                      <a:lnTo>
                        <a:pt x="612" y="18"/>
                      </a:lnTo>
                      <a:lnTo>
                        <a:pt x="612" y="30"/>
                      </a:lnTo>
                      <a:lnTo>
                        <a:pt x="612" y="42"/>
                      </a:lnTo>
                      <a:lnTo>
                        <a:pt x="618" y="48"/>
                      </a:lnTo>
                      <a:lnTo>
                        <a:pt x="624" y="48"/>
                      </a:lnTo>
                      <a:lnTo>
                        <a:pt x="636" y="48"/>
                      </a:lnTo>
                      <a:lnTo>
                        <a:pt x="648" y="48"/>
                      </a:lnTo>
                      <a:lnTo>
                        <a:pt x="660" y="48"/>
                      </a:lnTo>
                      <a:lnTo>
                        <a:pt x="672" y="42"/>
                      </a:lnTo>
                      <a:lnTo>
                        <a:pt x="690" y="42"/>
                      </a:lnTo>
                      <a:lnTo>
                        <a:pt x="702" y="48"/>
                      </a:lnTo>
                      <a:lnTo>
                        <a:pt x="714" y="54"/>
                      </a:lnTo>
                      <a:lnTo>
                        <a:pt x="720" y="60"/>
                      </a:lnTo>
                      <a:lnTo>
                        <a:pt x="720" y="72"/>
                      </a:lnTo>
                      <a:lnTo>
                        <a:pt x="720" y="84"/>
                      </a:lnTo>
                      <a:lnTo>
                        <a:pt x="714" y="96"/>
                      </a:lnTo>
                      <a:lnTo>
                        <a:pt x="702" y="102"/>
                      </a:lnTo>
                      <a:lnTo>
                        <a:pt x="702" y="114"/>
                      </a:lnTo>
                      <a:lnTo>
                        <a:pt x="702" y="120"/>
                      </a:lnTo>
                      <a:lnTo>
                        <a:pt x="708" y="132"/>
                      </a:lnTo>
                      <a:lnTo>
                        <a:pt x="720" y="138"/>
                      </a:lnTo>
                      <a:lnTo>
                        <a:pt x="726" y="150"/>
                      </a:lnTo>
                      <a:lnTo>
                        <a:pt x="726" y="168"/>
                      </a:lnTo>
                      <a:lnTo>
                        <a:pt x="720" y="180"/>
                      </a:lnTo>
                      <a:lnTo>
                        <a:pt x="708" y="192"/>
                      </a:lnTo>
                      <a:lnTo>
                        <a:pt x="690" y="204"/>
                      </a:lnTo>
                      <a:lnTo>
                        <a:pt x="666" y="216"/>
                      </a:lnTo>
                      <a:lnTo>
                        <a:pt x="630" y="216"/>
                      </a:lnTo>
                      <a:lnTo>
                        <a:pt x="606" y="210"/>
                      </a:lnTo>
                      <a:lnTo>
                        <a:pt x="588" y="198"/>
                      </a:lnTo>
                      <a:lnTo>
                        <a:pt x="564" y="180"/>
                      </a:lnTo>
                      <a:lnTo>
                        <a:pt x="546" y="168"/>
                      </a:lnTo>
                      <a:lnTo>
                        <a:pt x="534" y="162"/>
                      </a:lnTo>
                      <a:lnTo>
                        <a:pt x="522" y="156"/>
                      </a:lnTo>
                      <a:lnTo>
                        <a:pt x="510" y="150"/>
                      </a:lnTo>
                      <a:lnTo>
                        <a:pt x="504" y="138"/>
                      </a:lnTo>
                      <a:lnTo>
                        <a:pt x="504" y="126"/>
                      </a:lnTo>
                      <a:lnTo>
                        <a:pt x="498" y="114"/>
                      </a:lnTo>
                      <a:lnTo>
                        <a:pt x="498" y="108"/>
                      </a:lnTo>
                      <a:lnTo>
                        <a:pt x="492" y="108"/>
                      </a:lnTo>
                      <a:lnTo>
                        <a:pt x="480" y="114"/>
                      </a:lnTo>
                      <a:lnTo>
                        <a:pt x="474" y="126"/>
                      </a:lnTo>
                      <a:lnTo>
                        <a:pt x="462" y="138"/>
                      </a:lnTo>
                      <a:lnTo>
                        <a:pt x="450" y="150"/>
                      </a:lnTo>
                      <a:lnTo>
                        <a:pt x="450" y="162"/>
                      </a:lnTo>
                      <a:lnTo>
                        <a:pt x="450" y="180"/>
                      </a:lnTo>
                      <a:lnTo>
                        <a:pt x="456" y="192"/>
                      </a:lnTo>
                      <a:lnTo>
                        <a:pt x="462" y="204"/>
                      </a:lnTo>
                      <a:lnTo>
                        <a:pt x="474" y="216"/>
                      </a:lnTo>
                      <a:lnTo>
                        <a:pt x="486" y="222"/>
                      </a:lnTo>
                      <a:lnTo>
                        <a:pt x="498" y="234"/>
                      </a:lnTo>
                      <a:lnTo>
                        <a:pt x="510" y="240"/>
                      </a:lnTo>
                      <a:lnTo>
                        <a:pt x="522" y="246"/>
                      </a:lnTo>
                      <a:lnTo>
                        <a:pt x="540" y="246"/>
                      </a:lnTo>
                      <a:lnTo>
                        <a:pt x="558" y="252"/>
                      </a:lnTo>
                      <a:lnTo>
                        <a:pt x="570" y="258"/>
                      </a:lnTo>
                      <a:lnTo>
                        <a:pt x="576" y="270"/>
                      </a:lnTo>
                      <a:lnTo>
                        <a:pt x="582" y="276"/>
                      </a:lnTo>
                      <a:lnTo>
                        <a:pt x="576" y="288"/>
                      </a:lnTo>
                      <a:lnTo>
                        <a:pt x="570" y="306"/>
                      </a:lnTo>
                      <a:lnTo>
                        <a:pt x="552" y="312"/>
                      </a:lnTo>
                      <a:lnTo>
                        <a:pt x="534" y="312"/>
                      </a:lnTo>
                      <a:lnTo>
                        <a:pt x="504" y="306"/>
                      </a:lnTo>
                      <a:lnTo>
                        <a:pt x="492" y="306"/>
                      </a:lnTo>
                      <a:lnTo>
                        <a:pt x="480" y="312"/>
                      </a:lnTo>
                      <a:lnTo>
                        <a:pt x="474" y="324"/>
                      </a:lnTo>
                      <a:lnTo>
                        <a:pt x="468" y="336"/>
                      </a:lnTo>
                      <a:lnTo>
                        <a:pt x="462" y="348"/>
                      </a:lnTo>
                      <a:lnTo>
                        <a:pt x="450" y="360"/>
                      </a:lnTo>
                      <a:lnTo>
                        <a:pt x="444" y="372"/>
                      </a:lnTo>
                      <a:lnTo>
                        <a:pt x="426" y="378"/>
                      </a:lnTo>
                      <a:lnTo>
                        <a:pt x="408" y="384"/>
                      </a:lnTo>
                      <a:lnTo>
                        <a:pt x="396" y="390"/>
                      </a:lnTo>
                      <a:lnTo>
                        <a:pt x="384" y="390"/>
                      </a:lnTo>
                      <a:lnTo>
                        <a:pt x="378" y="390"/>
                      </a:lnTo>
                      <a:lnTo>
                        <a:pt x="366" y="384"/>
                      </a:lnTo>
                      <a:lnTo>
                        <a:pt x="354" y="378"/>
                      </a:lnTo>
                      <a:lnTo>
                        <a:pt x="342" y="372"/>
                      </a:lnTo>
                      <a:lnTo>
                        <a:pt x="330" y="360"/>
                      </a:lnTo>
                      <a:lnTo>
                        <a:pt x="324" y="360"/>
                      </a:lnTo>
                      <a:lnTo>
                        <a:pt x="318" y="366"/>
                      </a:lnTo>
                      <a:lnTo>
                        <a:pt x="318" y="372"/>
                      </a:lnTo>
                      <a:lnTo>
                        <a:pt x="318" y="390"/>
                      </a:lnTo>
                      <a:lnTo>
                        <a:pt x="324" y="408"/>
                      </a:lnTo>
                      <a:lnTo>
                        <a:pt x="330" y="420"/>
                      </a:lnTo>
                      <a:lnTo>
                        <a:pt x="348" y="438"/>
                      </a:lnTo>
                      <a:lnTo>
                        <a:pt x="360" y="450"/>
                      </a:lnTo>
                      <a:lnTo>
                        <a:pt x="366" y="462"/>
                      </a:lnTo>
                      <a:lnTo>
                        <a:pt x="366" y="474"/>
                      </a:lnTo>
                      <a:lnTo>
                        <a:pt x="360" y="486"/>
                      </a:lnTo>
                      <a:lnTo>
                        <a:pt x="348" y="498"/>
                      </a:lnTo>
                      <a:lnTo>
                        <a:pt x="342" y="510"/>
                      </a:lnTo>
                      <a:lnTo>
                        <a:pt x="336" y="516"/>
                      </a:lnTo>
                      <a:lnTo>
                        <a:pt x="330" y="522"/>
                      </a:lnTo>
                      <a:lnTo>
                        <a:pt x="324" y="528"/>
                      </a:lnTo>
                      <a:lnTo>
                        <a:pt x="312" y="528"/>
                      </a:lnTo>
                      <a:lnTo>
                        <a:pt x="306" y="522"/>
                      </a:lnTo>
                      <a:lnTo>
                        <a:pt x="294" y="510"/>
                      </a:lnTo>
                      <a:lnTo>
                        <a:pt x="282" y="492"/>
                      </a:lnTo>
                      <a:lnTo>
                        <a:pt x="270" y="474"/>
                      </a:lnTo>
                      <a:lnTo>
                        <a:pt x="258" y="462"/>
                      </a:lnTo>
                      <a:lnTo>
                        <a:pt x="246" y="462"/>
                      </a:lnTo>
                      <a:lnTo>
                        <a:pt x="234" y="456"/>
                      </a:lnTo>
                      <a:lnTo>
                        <a:pt x="228" y="462"/>
                      </a:lnTo>
                      <a:lnTo>
                        <a:pt x="216" y="468"/>
                      </a:lnTo>
                      <a:lnTo>
                        <a:pt x="210" y="474"/>
                      </a:lnTo>
                      <a:lnTo>
                        <a:pt x="204" y="480"/>
                      </a:lnTo>
                      <a:lnTo>
                        <a:pt x="186" y="486"/>
                      </a:lnTo>
                      <a:lnTo>
                        <a:pt x="174" y="486"/>
                      </a:lnTo>
                      <a:lnTo>
                        <a:pt x="162" y="480"/>
                      </a:lnTo>
                      <a:lnTo>
                        <a:pt x="150" y="468"/>
                      </a:lnTo>
                      <a:lnTo>
                        <a:pt x="138" y="456"/>
                      </a:lnTo>
                      <a:lnTo>
                        <a:pt x="114" y="438"/>
                      </a:lnTo>
                      <a:lnTo>
                        <a:pt x="96" y="426"/>
                      </a:lnTo>
                      <a:lnTo>
                        <a:pt x="78" y="414"/>
                      </a:lnTo>
                      <a:lnTo>
                        <a:pt x="60" y="396"/>
                      </a:lnTo>
                      <a:lnTo>
                        <a:pt x="54" y="390"/>
                      </a:lnTo>
                      <a:lnTo>
                        <a:pt x="48" y="390"/>
                      </a:lnTo>
                      <a:lnTo>
                        <a:pt x="36" y="390"/>
                      </a:lnTo>
                      <a:lnTo>
                        <a:pt x="30" y="390"/>
                      </a:lnTo>
                      <a:lnTo>
                        <a:pt x="18" y="384"/>
                      </a:lnTo>
                      <a:lnTo>
                        <a:pt x="12" y="384"/>
                      </a:lnTo>
                      <a:lnTo>
                        <a:pt x="6" y="372"/>
                      </a:lnTo>
                      <a:lnTo>
                        <a:pt x="0" y="360"/>
                      </a:lnTo>
                      <a:lnTo>
                        <a:pt x="0" y="342"/>
                      </a:lnTo>
                      <a:lnTo>
                        <a:pt x="0" y="324"/>
                      </a:lnTo>
                      <a:lnTo>
                        <a:pt x="0" y="318"/>
                      </a:lnTo>
                      <a:lnTo>
                        <a:pt x="6" y="306"/>
                      </a:lnTo>
                      <a:lnTo>
                        <a:pt x="12" y="294"/>
                      </a:lnTo>
                      <a:lnTo>
                        <a:pt x="18" y="282"/>
                      </a:lnTo>
                      <a:lnTo>
                        <a:pt x="18" y="264"/>
                      </a:lnTo>
                      <a:lnTo>
                        <a:pt x="18" y="246"/>
                      </a:lnTo>
                      <a:lnTo>
                        <a:pt x="12" y="228"/>
                      </a:lnTo>
                      <a:lnTo>
                        <a:pt x="6" y="210"/>
                      </a:lnTo>
                      <a:lnTo>
                        <a:pt x="12" y="192"/>
                      </a:lnTo>
                      <a:lnTo>
                        <a:pt x="18" y="186"/>
                      </a:lnTo>
                      <a:lnTo>
                        <a:pt x="30" y="174"/>
                      </a:lnTo>
                      <a:lnTo>
                        <a:pt x="42" y="168"/>
                      </a:lnTo>
                      <a:lnTo>
                        <a:pt x="60" y="162"/>
                      </a:lnTo>
                      <a:lnTo>
                        <a:pt x="72" y="162"/>
                      </a:lnTo>
                      <a:lnTo>
                        <a:pt x="84" y="156"/>
                      </a:lnTo>
                      <a:lnTo>
                        <a:pt x="102" y="150"/>
                      </a:lnTo>
                      <a:lnTo>
                        <a:pt x="120" y="144"/>
                      </a:lnTo>
                      <a:lnTo>
                        <a:pt x="144" y="144"/>
                      </a:lnTo>
                      <a:lnTo>
                        <a:pt x="162" y="150"/>
                      </a:lnTo>
                      <a:lnTo>
                        <a:pt x="174" y="156"/>
                      </a:lnTo>
                      <a:lnTo>
                        <a:pt x="186" y="162"/>
                      </a:lnTo>
                      <a:lnTo>
                        <a:pt x="198" y="156"/>
                      </a:lnTo>
                      <a:lnTo>
                        <a:pt x="210" y="156"/>
                      </a:lnTo>
                      <a:lnTo>
                        <a:pt x="222" y="150"/>
                      </a:lnTo>
                      <a:lnTo>
                        <a:pt x="240" y="144"/>
                      </a:lnTo>
                      <a:lnTo>
                        <a:pt x="252" y="150"/>
                      </a:lnTo>
                      <a:lnTo>
                        <a:pt x="270" y="156"/>
                      </a:lnTo>
                      <a:lnTo>
                        <a:pt x="288" y="174"/>
                      </a:lnTo>
                      <a:lnTo>
                        <a:pt x="306" y="192"/>
                      </a:lnTo>
                      <a:lnTo>
                        <a:pt x="324" y="204"/>
                      </a:lnTo>
                      <a:lnTo>
                        <a:pt x="336" y="204"/>
                      </a:lnTo>
                      <a:lnTo>
                        <a:pt x="348" y="204"/>
                      </a:lnTo>
                      <a:lnTo>
                        <a:pt x="360" y="198"/>
                      </a:lnTo>
                      <a:lnTo>
                        <a:pt x="366" y="186"/>
                      </a:lnTo>
                      <a:lnTo>
                        <a:pt x="372" y="180"/>
                      </a:lnTo>
                      <a:lnTo>
                        <a:pt x="372" y="168"/>
                      </a:lnTo>
                      <a:lnTo>
                        <a:pt x="366" y="162"/>
                      </a:lnTo>
                      <a:lnTo>
                        <a:pt x="360" y="150"/>
                      </a:lnTo>
                      <a:lnTo>
                        <a:pt x="348" y="132"/>
                      </a:lnTo>
                      <a:lnTo>
                        <a:pt x="336" y="120"/>
                      </a:lnTo>
                      <a:lnTo>
                        <a:pt x="318" y="108"/>
                      </a:lnTo>
                      <a:lnTo>
                        <a:pt x="306" y="102"/>
                      </a:lnTo>
                      <a:lnTo>
                        <a:pt x="282" y="96"/>
                      </a:lnTo>
                      <a:lnTo>
                        <a:pt x="270" y="84"/>
                      </a:lnTo>
                      <a:lnTo>
                        <a:pt x="264" y="78"/>
                      </a:lnTo>
                      <a:lnTo>
                        <a:pt x="264" y="66"/>
                      </a:lnTo>
                      <a:lnTo>
                        <a:pt x="276" y="54"/>
                      </a:lnTo>
                      <a:lnTo>
                        <a:pt x="294" y="42"/>
                      </a:lnTo>
                      <a:lnTo>
                        <a:pt x="330" y="36"/>
                      </a:lnTo>
                      <a:lnTo>
                        <a:pt x="366" y="42"/>
                      </a:lnTo>
                      <a:lnTo>
                        <a:pt x="408" y="54"/>
                      </a:lnTo>
                      <a:lnTo>
                        <a:pt x="456" y="54"/>
                      </a:lnTo>
                      <a:lnTo>
                        <a:pt x="504" y="36"/>
                      </a:lnTo>
                      <a:lnTo>
                        <a:pt x="552" y="12"/>
                      </a:lnTo>
                      <a:lnTo>
                        <a:pt x="564" y="6"/>
                      </a:lnTo>
                      <a:lnTo>
                        <a:pt x="582" y="0"/>
                      </a:lnTo>
                      <a:lnTo>
                        <a:pt x="59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1" name="Freeform 152">
                  <a:extLst>
                    <a:ext uri="{FF2B5EF4-FFF2-40B4-BE49-F238E27FC236}">
                      <a16:creationId xmlns:a16="http://schemas.microsoft.com/office/drawing/2014/main" id="{8AF2C29E-576B-4811-A3EB-B6215B0A45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69" y="-8736"/>
                  <a:ext cx="114" cy="78"/>
                </a:xfrm>
                <a:custGeom>
                  <a:avLst/>
                  <a:gdLst>
                    <a:gd name="T0" fmla="*/ 24 w 114"/>
                    <a:gd name="T1" fmla="*/ 0 h 78"/>
                    <a:gd name="T2" fmla="*/ 36 w 114"/>
                    <a:gd name="T3" fmla="*/ 0 h 78"/>
                    <a:gd name="T4" fmla="*/ 54 w 114"/>
                    <a:gd name="T5" fmla="*/ 6 h 78"/>
                    <a:gd name="T6" fmla="*/ 66 w 114"/>
                    <a:gd name="T7" fmla="*/ 6 h 78"/>
                    <a:gd name="T8" fmla="*/ 78 w 114"/>
                    <a:gd name="T9" fmla="*/ 12 h 78"/>
                    <a:gd name="T10" fmla="*/ 90 w 114"/>
                    <a:gd name="T11" fmla="*/ 18 h 78"/>
                    <a:gd name="T12" fmla="*/ 102 w 114"/>
                    <a:gd name="T13" fmla="*/ 24 h 78"/>
                    <a:gd name="T14" fmla="*/ 108 w 114"/>
                    <a:gd name="T15" fmla="*/ 36 h 78"/>
                    <a:gd name="T16" fmla="*/ 114 w 114"/>
                    <a:gd name="T17" fmla="*/ 48 h 78"/>
                    <a:gd name="T18" fmla="*/ 114 w 114"/>
                    <a:gd name="T19" fmla="*/ 54 h 78"/>
                    <a:gd name="T20" fmla="*/ 102 w 114"/>
                    <a:gd name="T21" fmla="*/ 66 h 78"/>
                    <a:gd name="T22" fmla="*/ 96 w 114"/>
                    <a:gd name="T23" fmla="*/ 72 h 78"/>
                    <a:gd name="T24" fmla="*/ 78 w 114"/>
                    <a:gd name="T25" fmla="*/ 78 h 78"/>
                    <a:gd name="T26" fmla="*/ 66 w 114"/>
                    <a:gd name="T27" fmla="*/ 72 h 78"/>
                    <a:gd name="T28" fmla="*/ 54 w 114"/>
                    <a:gd name="T29" fmla="*/ 66 h 78"/>
                    <a:gd name="T30" fmla="*/ 30 w 114"/>
                    <a:gd name="T31" fmla="*/ 48 h 78"/>
                    <a:gd name="T32" fmla="*/ 18 w 114"/>
                    <a:gd name="T33" fmla="*/ 36 h 78"/>
                    <a:gd name="T34" fmla="*/ 6 w 114"/>
                    <a:gd name="T35" fmla="*/ 24 h 78"/>
                    <a:gd name="T36" fmla="*/ 0 w 114"/>
                    <a:gd name="T37" fmla="*/ 18 h 78"/>
                    <a:gd name="T38" fmla="*/ 6 w 114"/>
                    <a:gd name="T39" fmla="*/ 6 h 78"/>
                    <a:gd name="T40" fmla="*/ 6 w 114"/>
                    <a:gd name="T41" fmla="*/ 6 h 78"/>
                    <a:gd name="T42" fmla="*/ 18 w 114"/>
                    <a:gd name="T43" fmla="*/ 0 h 78"/>
                    <a:gd name="T44" fmla="*/ 24 w 114"/>
                    <a:gd name="T45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4" h="78">
                      <a:moveTo>
                        <a:pt x="24" y="0"/>
                      </a:moveTo>
                      <a:lnTo>
                        <a:pt x="36" y="0"/>
                      </a:lnTo>
                      <a:lnTo>
                        <a:pt x="54" y="6"/>
                      </a:lnTo>
                      <a:lnTo>
                        <a:pt x="66" y="6"/>
                      </a:lnTo>
                      <a:lnTo>
                        <a:pt x="78" y="12"/>
                      </a:lnTo>
                      <a:lnTo>
                        <a:pt x="90" y="18"/>
                      </a:lnTo>
                      <a:lnTo>
                        <a:pt x="102" y="24"/>
                      </a:lnTo>
                      <a:lnTo>
                        <a:pt x="108" y="36"/>
                      </a:lnTo>
                      <a:lnTo>
                        <a:pt x="114" y="48"/>
                      </a:lnTo>
                      <a:lnTo>
                        <a:pt x="114" y="54"/>
                      </a:lnTo>
                      <a:lnTo>
                        <a:pt x="102" y="66"/>
                      </a:lnTo>
                      <a:lnTo>
                        <a:pt x="96" y="72"/>
                      </a:lnTo>
                      <a:lnTo>
                        <a:pt x="78" y="78"/>
                      </a:lnTo>
                      <a:lnTo>
                        <a:pt x="66" y="72"/>
                      </a:lnTo>
                      <a:lnTo>
                        <a:pt x="54" y="66"/>
                      </a:lnTo>
                      <a:lnTo>
                        <a:pt x="30" y="48"/>
                      </a:lnTo>
                      <a:lnTo>
                        <a:pt x="18" y="36"/>
                      </a:lnTo>
                      <a:lnTo>
                        <a:pt x="6" y="24"/>
                      </a:lnTo>
                      <a:lnTo>
                        <a:pt x="0" y="18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18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2" name="Freeform 153">
                  <a:extLst>
                    <a:ext uri="{FF2B5EF4-FFF2-40B4-BE49-F238E27FC236}">
                      <a16:creationId xmlns:a16="http://schemas.microsoft.com/office/drawing/2014/main" id="{A8F4397C-3064-40D8-8915-45B588100E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31" y="-8202"/>
                  <a:ext cx="210" cy="108"/>
                </a:xfrm>
                <a:custGeom>
                  <a:avLst/>
                  <a:gdLst>
                    <a:gd name="T0" fmla="*/ 108 w 210"/>
                    <a:gd name="T1" fmla="*/ 0 h 108"/>
                    <a:gd name="T2" fmla="*/ 156 w 210"/>
                    <a:gd name="T3" fmla="*/ 6 h 108"/>
                    <a:gd name="T4" fmla="*/ 192 w 210"/>
                    <a:gd name="T5" fmla="*/ 18 h 108"/>
                    <a:gd name="T6" fmla="*/ 204 w 210"/>
                    <a:gd name="T7" fmla="*/ 18 h 108"/>
                    <a:gd name="T8" fmla="*/ 210 w 210"/>
                    <a:gd name="T9" fmla="*/ 24 h 108"/>
                    <a:gd name="T10" fmla="*/ 204 w 210"/>
                    <a:gd name="T11" fmla="*/ 30 h 108"/>
                    <a:gd name="T12" fmla="*/ 198 w 210"/>
                    <a:gd name="T13" fmla="*/ 30 h 108"/>
                    <a:gd name="T14" fmla="*/ 192 w 210"/>
                    <a:gd name="T15" fmla="*/ 36 h 108"/>
                    <a:gd name="T16" fmla="*/ 186 w 210"/>
                    <a:gd name="T17" fmla="*/ 36 h 108"/>
                    <a:gd name="T18" fmla="*/ 180 w 210"/>
                    <a:gd name="T19" fmla="*/ 42 h 108"/>
                    <a:gd name="T20" fmla="*/ 180 w 210"/>
                    <a:gd name="T21" fmla="*/ 48 h 108"/>
                    <a:gd name="T22" fmla="*/ 180 w 210"/>
                    <a:gd name="T23" fmla="*/ 48 h 108"/>
                    <a:gd name="T24" fmla="*/ 192 w 210"/>
                    <a:gd name="T25" fmla="*/ 60 h 108"/>
                    <a:gd name="T26" fmla="*/ 192 w 210"/>
                    <a:gd name="T27" fmla="*/ 66 h 108"/>
                    <a:gd name="T28" fmla="*/ 192 w 210"/>
                    <a:gd name="T29" fmla="*/ 78 h 108"/>
                    <a:gd name="T30" fmla="*/ 180 w 210"/>
                    <a:gd name="T31" fmla="*/ 84 h 108"/>
                    <a:gd name="T32" fmla="*/ 168 w 210"/>
                    <a:gd name="T33" fmla="*/ 78 h 108"/>
                    <a:gd name="T34" fmla="*/ 156 w 210"/>
                    <a:gd name="T35" fmla="*/ 78 h 108"/>
                    <a:gd name="T36" fmla="*/ 144 w 210"/>
                    <a:gd name="T37" fmla="*/ 78 h 108"/>
                    <a:gd name="T38" fmla="*/ 138 w 210"/>
                    <a:gd name="T39" fmla="*/ 78 h 108"/>
                    <a:gd name="T40" fmla="*/ 138 w 210"/>
                    <a:gd name="T41" fmla="*/ 84 h 108"/>
                    <a:gd name="T42" fmla="*/ 138 w 210"/>
                    <a:gd name="T43" fmla="*/ 90 h 108"/>
                    <a:gd name="T44" fmla="*/ 144 w 210"/>
                    <a:gd name="T45" fmla="*/ 96 h 108"/>
                    <a:gd name="T46" fmla="*/ 144 w 210"/>
                    <a:gd name="T47" fmla="*/ 108 h 108"/>
                    <a:gd name="T48" fmla="*/ 120 w 210"/>
                    <a:gd name="T49" fmla="*/ 108 h 108"/>
                    <a:gd name="T50" fmla="*/ 90 w 210"/>
                    <a:gd name="T51" fmla="*/ 108 h 108"/>
                    <a:gd name="T52" fmla="*/ 54 w 210"/>
                    <a:gd name="T53" fmla="*/ 96 h 108"/>
                    <a:gd name="T54" fmla="*/ 24 w 210"/>
                    <a:gd name="T55" fmla="*/ 84 h 108"/>
                    <a:gd name="T56" fmla="*/ 6 w 210"/>
                    <a:gd name="T57" fmla="*/ 78 h 108"/>
                    <a:gd name="T58" fmla="*/ 0 w 210"/>
                    <a:gd name="T59" fmla="*/ 72 h 108"/>
                    <a:gd name="T60" fmla="*/ 0 w 210"/>
                    <a:gd name="T61" fmla="*/ 60 h 108"/>
                    <a:gd name="T62" fmla="*/ 6 w 210"/>
                    <a:gd name="T63" fmla="*/ 48 h 108"/>
                    <a:gd name="T64" fmla="*/ 12 w 210"/>
                    <a:gd name="T65" fmla="*/ 36 h 108"/>
                    <a:gd name="T66" fmla="*/ 18 w 210"/>
                    <a:gd name="T67" fmla="*/ 30 h 108"/>
                    <a:gd name="T68" fmla="*/ 30 w 210"/>
                    <a:gd name="T69" fmla="*/ 18 h 108"/>
                    <a:gd name="T70" fmla="*/ 60 w 210"/>
                    <a:gd name="T71" fmla="*/ 0 h 108"/>
                    <a:gd name="T72" fmla="*/ 108 w 210"/>
                    <a:gd name="T73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10" h="108">
                      <a:moveTo>
                        <a:pt x="108" y="0"/>
                      </a:moveTo>
                      <a:lnTo>
                        <a:pt x="156" y="6"/>
                      </a:lnTo>
                      <a:lnTo>
                        <a:pt x="192" y="18"/>
                      </a:lnTo>
                      <a:lnTo>
                        <a:pt x="204" y="18"/>
                      </a:lnTo>
                      <a:lnTo>
                        <a:pt x="210" y="24"/>
                      </a:lnTo>
                      <a:lnTo>
                        <a:pt x="204" y="30"/>
                      </a:lnTo>
                      <a:lnTo>
                        <a:pt x="198" y="30"/>
                      </a:lnTo>
                      <a:lnTo>
                        <a:pt x="192" y="36"/>
                      </a:lnTo>
                      <a:lnTo>
                        <a:pt x="186" y="36"/>
                      </a:lnTo>
                      <a:lnTo>
                        <a:pt x="180" y="42"/>
                      </a:lnTo>
                      <a:lnTo>
                        <a:pt x="180" y="48"/>
                      </a:lnTo>
                      <a:lnTo>
                        <a:pt x="180" y="48"/>
                      </a:lnTo>
                      <a:lnTo>
                        <a:pt x="192" y="60"/>
                      </a:lnTo>
                      <a:lnTo>
                        <a:pt x="192" y="66"/>
                      </a:lnTo>
                      <a:lnTo>
                        <a:pt x="192" y="78"/>
                      </a:lnTo>
                      <a:lnTo>
                        <a:pt x="180" y="84"/>
                      </a:lnTo>
                      <a:lnTo>
                        <a:pt x="168" y="78"/>
                      </a:lnTo>
                      <a:lnTo>
                        <a:pt x="156" y="78"/>
                      </a:lnTo>
                      <a:lnTo>
                        <a:pt x="144" y="78"/>
                      </a:lnTo>
                      <a:lnTo>
                        <a:pt x="138" y="78"/>
                      </a:lnTo>
                      <a:lnTo>
                        <a:pt x="138" y="84"/>
                      </a:lnTo>
                      <a:lnTo>
                        <a:pt x="138" y="90"/>
                      </a:lnTo>
                      <a:lnTo>
                        <a:pt x="144" y="96"/>
                      </a:lnTo>
                      <a:lnTo>
                        <a:pt x="144" y="108"/>
                      </a:lnTo>
                      <a:lnTo>
                        <a:pt x="120" y="108"/>
                      </a:lnTo>
                      <a:lnTo>
                        <a:pt x="90" y="108"/>
                      </a:lnTo>
                      <a:lnTo>
                        <a:pt x="54" y="96"/>
                      </a:lnTo>
                      <a:lnTo>
                        <a:pt x="24" y="84"/>
                      </a:lnTo>
                      <a:lnTo>
                        <a:pt x="6" y="78"/>
                      </a:lnTo>
                      <a:lnTo>
                        <a:pt x="0" y="72"/>
                      </a:lnTo>
                      <a:lnTo>
                        <a:pt x="0" y="60"/>
                      </a:lnTo>
                      <a:lnTo>
                        <a:pt x="6" y="48"/>
                      </a:lnTo>
                      <a:lnTo>
                        <a:pt x="12" y="36"/>
                      </a:lnTo>
                      <a:lnTo>
                        <a:pt x="18" y="30"/>
                      </a:lnTo>
                      <a:lnTo>
                        <a:pt x="30" y="18"/>
                      </a:lnTo>
                      <a:lnTo>
                        <a:pt x="60" y="0"/>
                      </a:lnTo>
                      <a:lnTo>
                        <a:pt x="10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3" name="Freeform 154">
                  <a:extLst>
                    <a:ext uri="{FF2B5EF4-FFF2-40B4-BE49-F238E27FC236}">
                      <a16:creationId xmlns:a16="http://schemas.microsoft.com/office/drawing/2014/main" id="{6154CC6B-C1AC-46BE-8BCF-AC45599098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33" y="-8178"/>
                  <a:ext cx="132" cy="84"/>
                </a:xfrm>
                <a:custGeom>
                  <a:avLst/>
                  <a:gdLst>
                    <a:gd name="T0" fmla="*/ 84 w 132"/>
                    <a:gd name="T1" fmla="*/ 0 h 84"/>
                    <a:gd name="T2" fmla="*/ 108 w 132"/>
                    <a:gd name="T3" fmla="*/ 6 h 84"/>
                    <a:gd name="T4" fmla="*/ 120 w 132"/>
                    <a:gd name="T5" fmla="*/ 12 h 84"/>
                    <a:gd name="T6" fmla="*/ 126 w 132"/>
                    <a:gd name="T7" fmla="*/ 18 h 84"/>
                    <a:gd name="T8" fmla="*/ 132 w 132"/>
                    <a:gd name="T9" fmla="*/ 30 h 84"/>
                    <a:gd name="T10" fmla="*/ 126 w 132"/>
                    <a:gd name="T11" fmla="*/ 42 h 84"/>
                    <a:gd name="T12" fmla="*/ 114 w 132"/>
                    <a:gd name="T13" fmla="*/ 54 h 84"/>
                    <a:gd name="T14" fmla="*/ 96 w 132"/>
                    <a:gd name="T15" fmla="*/ 66 h 84"/>
                    <a:gd name="T16" fmla="*/ 66 w 132"/>
                    <a:gd name="T17" fmla="*/ 78 h 84"/>
                    <a:gd name="T18" fmla="*/ 42 w 132"/>
                    <a:gd name="T19" fmla="*/ 84 h 84"/>
                    <a:gd name="T20" fmla="*/ 24 w 132"/>
                    <a:gd name="T21" fmla="*/ 84 h 84"/>
                    <a:gd name="T22" fmla="*/ 12 w 132"/>
                    <a:gd name="T23" fmla="*/ 84 h 84"/>
                    <a:gd name="T24" fmla="*/ 6 w 132"/>
                    <a:gd name="T25" fmla="*/ 78 h 84"/>
                    <a:gd name="T26" fmla="*/ 0 w 132"/>
                    <a:gd name="T27" fmla="*/ 72 h 84"/>
                    <a:gd name="T28" fmla="*/ 0 w 132"/>
                    <a:gd name="T29" fmla="*/ 60 h 84"/>
                    <a:gd name="T30" fmla="*/ 0 w 132"/>
                    <a:gd name="T31" fmla="*/ 48 h 84"/>
                    <a:gd name="T32" fmla="*/ 6 w 132"/>
                    <a:gd name="T33" fmla="*/ 36 h 84"/>
                    <a:gd name="T34" fmla="*/ 12 w 132"/>
                    <a:gd name="T35" fmla="*/ 30 h 84"/>
                    <a:gd name="T36" fmla="*/ 18 w 132"/>
                    <a:gd name="T37" fmla="*/ 18 h 84"/>
                    <a:gd name="T38" fmla="*/ 30 w 132"/>
                    <a:gd name="T39" fmla="*/ 12 h 84"/>
                    <a:gd name="T40" fmla="*/ 36 w 132"/>
                    <a:gd name="T41" fmla="*/ 6 h 84"/>
                    <a:gd name="T42" fmla="*/ 60 w 132"/>
                    <a:gd name="T43" fmla="*/ 0 h 84"/>
                    <a:gd name="T44" fmla="*/ 84 w 132"/>
                    <a:gd name="T4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32" h="84">
                      <a:moveTo>
                        <a:pt x="84" y="0"/>
                      </a:moveTo>
                      <a:lnTo>
                        <a:pt x="108" y="6"/>
                      </a:lnTo>
                      <a:lnTo>
                        <a:pt x="120" y="12"/>
                      </a:lnTo>
                      <a:lnTo>
                        <a:pt x="126" y="18"/>
                      </a:lnTo>
                      <a:lnTo>
                        <a:pt x="132" y="30"/>
                      </a:lnTo>
                      <a:lnTo>
                        <a:pt x="126" y="42"/>
                      </a:lnTo>
                      <a:lnTo>
                        <a:pt x="114" y="54"/>
                      </a:lnTo>
                      <a:lnTo>
                        <a:pt x="96" y="66"/>
                      </a:lnTo>
                      <a:lnTo>
                        <a:pt x="66" y="78"/>
                      </a:lnTo>
                      <a:lnTo>
                        <a:pt x="42" y="84"/>
                      </a:lnTo>
                      <a:lnTo>
                        <a:pt x="24" y="84"/>
                      </a:lnTo>
                      <a:lnTo>
                        <a:pt x="12" y="84"/>
                      </a:lnTo>
                      <a:lnTo>
                        <a:pt x="6" y="78"/>
                      </a:lnTo>
                      <a:lnTo>
                        <a:pt x="0" y="72"/>
                      </a:lnTo>
                      <a:lnTo>
                        <a:pt x="0" y="60"/>
                      </a:lnTo>
                      <a:lnTo>
                        <a:pt x="0" y="48"/>
                      </a:lnTo>
                      <a:lnTo>
                        <a:pt x="6" y="36"/>
                      </a:lnTo>
                      <a:lnTo>
                        <a:pt x="12" y="30"/>
                      </a:lnTo>
                      <a:lnTo>
                        <a:pt x="18" y="18"/>
                      </a:lnTo>
                      <a:lnTo>
                        <a:pt x="30" y="12"/>
                      </a:lnTo>
                      <a:lnTo>
                        <a:pt x="36" y="6"/>
                      </a:lnTo>
                      <a:lnTo>
                        <a:pt x="60" y="0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4" name="Freeform 155">
                  <a:extLst>
                    <a:ext uri="{FF2B5EF4-FFF2-40B4-BE49-F238E27FC236}">
                      <a16:creationId xmlns:a16="http://schemas.microsoft.com/office/drawing/2014/main" id="{2C5A2DC7-B54C-4C9C-97A3-952E5AD42E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45" y="-8394"/>
                  <a:ext cx="102" cy="138"/>
                </a:xfrm>
                <a:custGeom>
                  <a:avLst/>
                  <a:gdLst>
                    <a:gd name="T0" fmla="*/ 60 w 102"/>
                    <a:gd name="T1" fmla="*/ 0 h 138"/>
                    <a:gd name="T2" fmla="*/ 72 w 102"/>
                    <a:gd name="T3" fmla="*/ 0 h 138"/>
                    <a:gd name="T4" fmla="*/ 90 w 102"/>
                    <a:gd name="T5" fmla="*/ 6 h 138"/>
                    <a:gd name="T6" fmla="*/ 96 w 102"/>
                    <a:gd name="T7" fmla="*/ 12 h 138"/>
                    <a:gd name="T8" fmla="*/ 102 w 102"/>
                    <a:gd name="T9" fmla="*/ 18 h 138"/>
                    <a:gd name="T10" fmla="*/ 102 w 102"/>
                    <a:gd name="T11" fmla="*/ 36 h 138"/>
                    <a:gd name="T12" fmla="*/ 102 w 102"/>
                    <a:gd name="T13" fmla="*/ 54 h 138"/>
                    <a:gd name="T14" fmla="*/ 96 w 102"/>
                    <a:gd name="T15" fmla="*/ 78 h 138"/>
                    <a:gd name="T16" fmla="*/ 84 w 102"/>
                    <a:gd name="T17" fmla="*/ 90 h 138"/>
                    <a:gd name="T18" fmla="*/ 72 w 102"/>
                    <a:gd name="T19" fmla="*/ 108 h 138"/>
                    <a:gd name="T20" fmla="*/ 54 w 102"/>
                    <a:gd name="T21" fmla="*/ 120 h 138"/>
                    <a:gd name="T22" fmla="*/ 24 w 102"/>
                    <a:gd name="T23" fmla="*/ 132 h 138"/>
                    <a:gd name="T24" fmla="*/ 12 w 102"/>
                    <a:gd name="T25" fmla="*/ 138 h 138"/>
                    <a:gd name="T26" fmla="*/ 6 w 102"/>
                    <a:gd name="T27" fmla="*/ 138 h 138"/>
                    <a:gd name="T28" fmla="*/ 0 w 102"/>
                    <a:gd name="T29" fmla="*/ 132 h 138"/>
                    <a:gd name="T30" fmla="*/ 0 w 102"/>
                    <a:gd name="T31" fmla="*/ 126 h 138"/>
                    <a:gd name="T32" fmla="*/ 0 w 102"/>
                    <a:gd name="T33" fmla="*/ 114 h 138"/>
                    <a:gd name="T34" fmla="*/ 6 w 102"/>
                    <a:gd name="T35" fmla="*/ 102 h 138"/>
                    <a:gd name="T36" fmla="*/ 6 w 102"/>
                    <a:gd name="T37" fmla="*/ 84 h 138"/>
                    <a:gd name="T38" fmla="*/ 12 w 102"/>
                    <a:gd name="T39" fmla="*/ 72 h 138"/>
                    <a:gd name="T40" fmla="*/ 12 w 102"/>
                    <a:gd name="T41" fmla="*/ 54 h 138"/>
                    <a:gd name="T42" fmla="*/ 18 w 102"/>
                    <a:gd name="T43" fmla="*/ 36 h 138"/>
                    <a:gd name="T44" fmla="*/ 24 w 102"/>
                    <a:gd name="T45" fmla="*/ 18 h 138"/>
                    <a:gd name="T46" fmla="*/ 36 w 102"/>
                    <a:gd name="T47" fmla="*/ 12 h 138"/>
                    <a:gd name="T48" fmla="*/ 42 w 102"/>
                    <a:gd name="T49" fmla="*/ 6 h 138"/>
                    <a:gd name="T50" fmla="*/ 60 w 102"/>
                    <a:gd name="T51" fmla="*/ 0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2" h="138">
                      <a:moveTo>
                        <a:pt x="60" y="0"/>
                      </a:moveTo>
                      <a:lnTo>
                        <a:pt x="72" y="0"/>
                      </a:lnTo>
                      <a:lnTo>
                        <a:pt x="90" y="6"/>
                      </a:lnTo>
                      <a:lnTo>
                        <a:pt x="96" y="12"/>
                      </a:lnTo>
                      <a:lnTo>
                        <a:pt x="102" y="18"/>
                      </a:lnTo>
                      <a:lnTo>
                        <a:pt x="102" y="36"/>
                      </a:lnTo>
                      <a:lnTo>
                        <a:pt x="102" y="54"/>
                      </a:lnTo>
                      <a:lnTo>
                        <a:pt x="96" y="78"/>
                      </a:lnTo>
                      <a:lnTo>
                        <a:pt x="84" y="90"/>
                      </a:lnTo>
                      <a:lnTo>
                        <a:pt x="72" y="108"/>
                      </a:lnTo>
                      <a:lnTo>
                        <a:pt x="54" y="120"/>
                      </a:lnTo>
                      <a:lnTo>
                        <a:pt x="24" y="132"/>
                      </a:lnTo>
                      <a:lnTo>
                        <a:pt x="12" y="138"/>
                      </a:lnTo>
                      <a:lnTo>
                        <a:pt x="6" y="138"/>
                      </a:lnTo>
                      <a:lnTo>
                        <a:pt x="0" y="132"/>
                      </a:lnTo>
                      <a:lnTo>
                        <a:pt x="0" y="126"/>
                      </a:lnTo>
                      <a:lnTo>
                        <a:pt x="0" y="114"/>
                      </a:lnTo>
                      <a:lnTo>
                        <a:pt x="6" y="102"/>
                      </a:lnTo>
                      <a:lnTo>
                        <a:pt x="6" y="84"/>
                      </a:lnTo>
                      <a:lnTo>
                        <a:pt x="12" y="72"/>
                      </a:lnTo>
                      <a:lnTo>
                        <a:pt x="12" y="54"/>
                      </a:lnTo>
                      <a:lnTo>
                        <a:pt x="18" y="36"/>
                      </a:lnTo>
                      <a:lnTo>
                        <a:pt x="24" y="18"/>
                      </a:lnTo>
                      <a:lnTo>
                        <a:pt x="36" y="12"/>
                      </a:lnTo>
                      <a:lnTo>
                        <a:pt x="42" y="6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5" name="Freeform 156">
                  <a:extLst>
                    <a:ext uri="{FF2B5EF4-FFF2-40B4-BE49-F238E27FC236}">
                      <a16:creationId xmlns:a16="http://schemas.microsoft.com/office/drawing/2014/main" id="{52190B8A-3C43-4FCC-853D-826DDDD532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9" y="-8958"/>
                  <a:ext cx="378" cy="354"/>
                </a:xfrm>
                <a:custGeom>
                  <a:avLst/>
                  <a:gdLst>
                    <a:gd name="T0" fmla="*/ 60 w 378"/>
                    <a:gd name="T1" fmla="*/ 6 h 354"/>
                    <a:gd name="T2" fmla="*/ 78 w 378"/>
                    <a:gd name="T3" fmla="*/ 18 h 354"/>
                    <a:gd name="T4" fmla="*/ 102 w 378"/>
                    <a:gd name="T5" fmla="*/ 42 h 354"/>
                    <a:gd name="T6" fmla="*/ 120 w 378"/>
                    <a:gd name="T7" fmla="*/ 60 h 354"/>
                    <a:gd name="T8" fmla="*/ 132 w 378"/>
                    <a:gd name="T9" fmla="*/ 60 h 354"/>
                    <a:gd name="T10" fmla="*/ 132 w 378"/>
                    <a:gd name="T11" fmla="*/ 48 h 354"/>
                    <a:gd name="T12" fmla="*/ 156 w 378"/>
                    <a:gd name="T13" fmla="*/ 18 h 354"/>
                    <a:gd name="T14" fmla="*/ 210 w 378"/>
                    <a:gd name="T15" fmla="*/ 24 h 354"/>
                    <a:gd name="T16" fmla="*/ 240 w 378"/>
                    <a:gd name="T17" fmla="*/ 42 h 354"/>
                    <a:gd name="T18" fmla="*/ 252 w 378"/>
                    <a:gd name="T19" fmla="*/ 54 h 354"/>
                    <a:gd name="T20" fmla="*/ 264 w 378"/>
                    <a:gd name="T21" fmla="*/ 66 h 354"/>
                    <a:gd name="T22" fmla="*/ 294 w 378"/>
                    <a:gd name="T23" fmla="*/ 66 h 354"/>
                    <a:gd name="T24" fmla="*/ 330 w 378"/>
                    <a:gd name="T25" fmla="*/ 72 h 354"/>
                    <a:gd name="T26" fmla="*/ 360 w 378"/>
                    <a:gd name="T27" fmla="*/ 90 h 354"/>
                    <a:gd name="T28" fmla="*/ 372 w 378"/>
                    <a:gd name="T29" fmla="*/ 120 h 354"/>
                    <a:gd name="T30" fmla="*/ 372 w 378"/>
                    <a:gd name="T31" fmla="*/ 168 h 354"/>
                    <a:gd name="T32" fmla="*/ 354 w 378"/>
                    <a:gd name="T33" fmla="*/ 198 h 354"/>
                    <a:gd name="T34" fmla="*/ 330 w 378"/>
                    <a:gd name="T35" fmla="*/ 216 h 354"/>
                    <a:gd name="T36" fmla="*/ 306 w 378"/>
                    <a:gd name="T37" fmla="*/ 216 h 354"/>
                    <a:gd name="T38" fmla="*/ 282 w 378"/>
                    <a:gd name="T39" fmla="*/ 222 h 354"/>
                    <a:gd name="T40" fmla="*/ 258 w 378"/>
                    <a:gd name="T41" fmla="*/ 234 h 354"/>
                    <a:gd name="T42" fmla="*/ 246 w 378"/>
                    <a:gd name="T43" fmla="*/ 240 h 354"/>
                    <a:gd name="T44" fmla="*/ 222 w 378"/>
                    <a:gd name="T45" fmla="*/ 234 h 354"/>
                    <a:gd name="T46" fmla="*/ 192 w 378"/>
                    <a:gd name="T47" fmla="*/ 246 h 354"/>
                    <a:gd name="T48" fmla="*/ 168 w 378"/>
                    <a:gd name="T49" fmla="*/ 276 h 354"/>
                    <a:gd name="T50" fmla="*/ 156 w 378"/>
                    <a:gd name="T51" fmla="*/ 318 h 354"/>
                    <a:gd name="T52" fmla="*/ 144 w 378"/>
                    <a:gd name="T53" fmla="*/ 348 h 354"/>
                    <a:gd name="T54" fmla="*/ 132 w 378"/>
                    <a:gd name="T55" fmla="*/ 354 h 354"/>
                    <a:gd name="T56" fmla="*/ 114 w 378"/>
                    <a:gd name="T57" fmla="*/ 336 h 354"/>
                    <a:gd name="T58" fmla="*/ 102 w 378"/>
                    <a:gd name="T59" fmla="*/ 300 h 354"/>
                    <a:gd name="T60" fmla="*/ 102 w 378"/>
                    <a:gd name="T61" fmla="*/ 258 h 354"/>
                    <a:gd name="T62" fmla="*/ 102 w 378"/>
                    <a:gd name="T63" fmla="*/ 228 h 354"/>
                    <a:gd name="T64" fmla="*/ 90 w 378"/>
                    <a:gd name="T65" fmla="*/ 204 h 354"/>
                    <a:gd name="T66" fmla="*/ 72 w 378"/>
                    <a:gd name="T67" fmla="*/ 180 h 354"/>
                    <a:gd name="T68" fmla="*/ 66 w 378"/>
                    <a:gd name="T69" fmla="*/ 162 h 354"/>
                    <a:gd name="T70" fmla="*/ 78 w 378"/>
                    <a:gd name="T71" fmla="*/ 150 h 354"/>
                    <a:gd name="T72" fmla="*/ 90 w 378"/>
                    <a:gd name="T73" fmla="*/ 132 h 354"/>
                    <a:gd name="T74" fmla="*/ 90 w 378"/>
                    <a:gd name="T75" fmla="*/ 114 h 354"/>
                    <a:gd name="T76" fmla="*/ 72 w 378"/>
                    <a:gd name="T77" fmla="*/ 84 h 354"/>
                    <a:gd name="T78" fmla="*/ 36 w 378"/>
                    <a:gd name="T79" fmla="*/ 72 h 354"/>
                    <a:gd name="T80" fmla="*/ 12 w 378"/>
                    <a:gd name="T81" fmla="*/ 66 h 354"/>
                    <a:gd name="T82" fmla="*/ 0 w 378"/>
                    <a:gd name="T83" fmla="*/ 54 h 354"/>
                    <a:gd name="T84" fmla="*/ 6 w 378"/>
                    <a:gd name="T85" fmla="*/ 30 h 354"/>
                    <a:gd name="T86" fmla="*/ 30 w 378"/>
                    <a:gd name="T87" fmla="*/ 6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78" h="354">
                      <a:moveTo>
                        <a:pt x="48" y="0"/>
                      </a:moveTo>
                      <a:lnTo>
                        <a:pt x="60" y="6"/>
                      </a:lnTo>
                      <a:lnTo>
                        <a:pt x="66" y="12"/>
                      </a:lnTo>
                      <a:lnTo>
                        <a:pt x="78" y="18"/>
                      </a:lnTo>
                      <a:lnTo>
                        <a:pt x="90" y="30"/>
                      </a:lnTo>
                      <a:lnTo>
                        <a:pt x="102" y="42"/>
                      </a:lnTo>
                      <a:lnTo>
                        <a:pt x="114" y="54"/>
                      </a:lnTo>
                      <a:lnTo>
                        <a:pt x="120" y="60"/>
                      </a:lnTo>
                      <a:lnTo>
                        <a:pt x="126" y="60"/>
                      </a:lnTo>
                      <a:lnTo>
                        <a:pt x="132" y="60"/>
                      </a:lnTo>
                      <a:lnTo>
                        <a:pt x="132" y="54"/>
                      </a:lnTo>
                      <a:lnTo>
                        <a:pt x="132" y="48"/>
                      </a:lnTo>
                      <a:lnTo>
                        <a:pt x="138" y="36"/>
                      </a:lnTo>
                      <a:lnTo>
                        <a:pt x="156" y="18"/>
                      </a:lnTo>
                      <a:lnTo>
                        <a:pt x="186" y="18"/>
                      </a:lnTo>
                      <a:lnTo>
                        <a:pt x="210" y="24"/>
                      </a:lnTo>
                      <a:lnTo>
                        <a:pt x="234" y="36"/>
                      </a:lnTo>
                      <a:lnTo>
                        <a:pt x="240" y="42"/>
                      </a:lnTo>
                      <a:lnTo>
                        <a:pt x="246" y="48"/>
                      </a:lnTo>
                      <a:lnTo>
                        <a:pt x="252" y="54"/>
                      </a:lnTo>
                      <a:lnTo>
                        <a:pt x="258" y="60"/>
                      </a:lnTo>
                      <a:lnTo>
                        <a:pt x="264" y="66"/>
                      </a:lnTo>
                      <a:lnTo>
                        <a:pt x="276" y="66"/>
                      </a:lnTo>
                      <a:lnTo>
                        <a:pt x="294" y="66"/>
                      </a:lnTo>
                      <a:lnTo>
                        <a:pt x="312" y="72"/>
                      </a:lnTo>
                      <a:lnTo>
                        <a:pt x="330" y="72"/>
                      </a:lnTo>
                      <a:lnTo>
                        <a:pt x="348" y="78"/>
                      </a:lnTo>
                      <a:lnTo>
                        <a:pt x="360" y="90"/>
                      </a:lnTo>
                      <a:lnTo>
                        <a:pt x="366" y="102"/>
                      </a:lnTo>
                      <a:lnTo>
                        <a:pt x="372" y="120"/>
                      </a:lnTo>
                      <a:lnTo>
                        <a:pt x="378" y="144"/>
                      </a:lnTo>
                      <a:lnTo>
                        <a:pt x="372" y="168"/>
                      </a:lnTo>
                      <a:lnTo>
                        <a:pt x="366" y="186"/>
                      </a:lnTo>
                      <a:lnTo>
                        <a:pt x="354" y="198"/>
                      </a:lnTo>
                      <a:lnTo>
                        <a:pt x="342" y="210"/>
                      </a:lnTo>
                      <a:lnTo>
                        <a:pt x="330" y="216"/>
                      </a:lnTo>
                      <a:lnTo>
                        <a:pt x="318" y="216"/>
                      </a:lnTo>
                      <a:lnTo>
                        <a:pt x="306" y="216"/>
                      </a:lnTo>
                      <a:lnTo>
                        <a:pt x="294" y="216"/>
                      </a:lnTo>
                      <a:lnTo>
                        <a:pt x="282" y="222"/>
                      </a:lnTo>
                      <a:lnTo>
                        <a:pt x="270" y="228"/>
                      </a:lnTo>
                      <a:lnTo>
                        <a:pt x="258" y="234"/>
                      </a:lnTo>
                      <a:lnTo>
                        <a:pt x="252" y="240"/>
                      </a:lnTo>
                      <a:lnTo>
                        <a:pt x="246" y="240"/>
                      </a:lnTo>
                      <a:lnTo>
                        <a:pt x="234" y="240"/>
                      </a:lnTo>
                      <a:lnTo>
                        <a:pt x="222" y="234"/>
                      </a:lnTo>
                      <a:lnTo>
                        <a:pt x="210" y="240"/>
                      </a:lnTo>
                      <a:lnTo>
                        <a:pt x="192" y="246"/>
                      </a:lnTo>
                      <a:lnTo>
                        <a:pt x="180" y="258"/>
                      </a:lnTo>
                      <a:lnTo>
                        <a:pt x="168" y="276"/>
                      </a:lnTo>
                      <a:lnTo>
                        <a:pt x="162" y="294"/>
                      </a:lnTo>
                      <a:lnTo>
                        <a:pt x="156" y="318"/>
                      </a:lnTo>
                      <a:lnTo>
                        <a:pt x="150" y="336"/>
                      </a:lnTo>
                      <a:lnTo>
                        <a:pt x="144" y="348"/>
                      </a:lnTo>
                      <a:lnTo>
                        <a:pt x="138" y="354"/>
                      </a:lnTo>
                      <a:lnTo>
                        <a:pt x="132" y="354"/>
                      </a:lnTo>
                      <a:lnTo>
                        <a:pt x="120" y="348"/>
                      </a:lnTo>
                      <a:lnTo>
                        <a:pt x="114" y="336"/>
                      </a:lnTo>
                      <a:lnTo>
                        <a:pt x="108" y="318"/>
                      </a:lnTo>
                      <a:lnTo>
                        <a:pt x="102" y="300"/>
                      </a:lnTo>
                      <a:lnTo>
                        <a:pt x="102" y="276"/>
                      </a:lnTo>
                      <a:lnTo>
                        <a:pt x="102" y="258"/>
                      </a:lnTo>
                      <a:lnTo>
                        <a:pt x="102" y="240"/>
                      </a:lnTo>
                      <a:lnTo>
                        <a:pt x="102" y="228"/>
                      </a:lnTo>
                      <a:lnTo>
                        <a:pt x="96" y="216"/>
                      </a:lnTo>
                      <a:lnTo>
                        <a:pt x="90" y="204"/>
                      </a:lnTo>
                      <a:lnTo>
                        <a:pt x="78" y="192"/>
                      </a:lnTo>
                      <a:lnTo>
                        <a:pt x="72" y="180"/>
                      </a:lnTo>
                      <a:lnTo>
                        <a:pt x="66" y="174"/>
                      </a:lnTo>
                      <a:lnTo>
                        <a:pt x="66" y="162"/>
                      </a:lnTo>
                      <a:lnTo>
                        <a:pt x="72" y="156"/>
                      </a:lnTo>
                      <a:lnTo>
                        <a:pt x="78" y="150"/>
                      </a:lnTo>
                      <a:lnTo>
                        <a:pt x="84" y="144"/>
                      </a:lnTo>
                      <a:lnTo>
                        <a:pt x="90" y="132"/>
                      </a:lnTo>
                      <a:lnTo>
                        <a:pt x="90" y="120"/>
                      </a:lnTo>
                      <a:lnTo>
                        <a:pt x="90" y="114"/>
                      </a:lnTo>
                      <a:lnTo>
                        <a:pt x="84" y="96"/>
                      </a:lnTo>
                      <a:lnTo>
                        <a:pt x="72" y="84"/>
                      </a:lnTo>
                      <a:lnTo>
                        <a:pt x="54" y="78"/>
                      </a:lnTo>
                      <a:lnTo>
                        <a:pt x="36" y="72"/>
                      </a:lnTo>
                      <a:lnTo>
                        <a:pt x="24" y="72"/>
                      </a:lnTo>
                      <a:lnTo>
                        <a:pt x="12" y="66"/>
                      </a:lnTo>
                      <a:lnTo>
                        <a:pt x="6" y="60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6" y="30"/>
                      </a:lnTo>
                      <a:lnTo>
                        <a:pt x="18" y="18"/>
                      </a:lnTo>
                      <a:lnTo>
                        <a:pt x="30" y="6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6" name="Freeform 157">
                  <a:extLst>
                    <a:ext uri="{FF2B5EF4-FFF2-40B4-BE49-F238E27FC236}">
                      <a16:creationId xmlns:a16="http://schemas.microsoft.com/office/drawing/2014/main" id="{B2C1A1A7-14C2-46A2-8CAF-2FEE00D041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11" y="-9018"/>
                  <a:ext cx="534" cy="318"/>
                </a:xfrm>
                <a:custGeom>
                  <a:avLst/>
                  <a:gdLst>
                    <a:gd name="T0" fmla="*/ 432 w 534"/>
                    <a:gd name="T1" fmla="*/ 0 h 318"/>
                    <a:gd name="T2" fmla="*/ 468 w 534"/>
                    <a:gd name="T3" fmla="*/ 12 h 318"/>
                    <a:gd name="T4" fmla="*/ 480 w 534"/>
                    <a:gd name="T5" fmla="*/ 36 h 318"/>
                    <a:gd name="T6" fmla="*/ 486 w 534"/>
                    <a:gd name="T7" fmla="*/ 72 h 318"/>
                    <a:gd name="T8" fmla="*/ 504 w 534"/>
                    <a:gd name="T9" fmla="*/ 114 h 318"/>
                    <a:gd name="T10" fmla="*/ 522 w 534"/>
                    <a:gd name="T11" fmla="*/ 144 h 318"/>
                    <a:gd name="T12" fmla="*/ 510 w 534"/>
                    <a:gd name="T13" fmla="*/ 168 h 318"/>
                    <a:gd name="T14" fmla="*/ 498 w 534"/>
                    <a:gd name="T15" fmla="*/ 180 h 318"/>
                    <a:gd name="T16" fmla="*/ 486 w 534"/>
                    <a:gd name="T17" fmla="*/ 186 h 318"/>
                    <a:gd name="T18" fmla="*/ 486 w 534"/>
                    <a:gd name="T19" fmla="*/ 198 h 318"/>
                    <a:gd name="T20" fmla="*/ 504 w 534"/>
                    <a:gd name="T21" fmla="*/ 222 h 318"/>
                    <a:gd name="T22" fmla="*/ 534 w 534"/>
                    <a:gd name="T23" fmla="*/ 258 h 318"/>
                    <a:gd name="T24" fmla="*/ 504 w 534"/>
                    <a:gd name="T25" fmla="*/ 282 h 318"/>
                    <a:gd name="T26" fmla="*/ 444 w 534"/>
                    <a:gd name="T27" fmla="*/ 288 h 318"/>
                    <a:gd name="T28" fmla="*/ 396 w 534"/>
                    <a:gd name="T29" fmla="*/ 288 h 318"/>
                    <a:gd name="T30" fmla="*/ 336 w 534"/>
                    <a:gd name="T31" fmla="*/ 300 h 318"/>
                    <a:gd name="T32" fmla="*/ 282 w 534"/>
                    <a:gd name="T33" fmla="*/ 270 h 318"/>
                    <a:gd name="T34" fmla="*/ 216 w 534"/>
                    <a:gd name="T35" fmla="*/ 252 h 318"/>
                    <a:gd name="T36" fmla="*/ 192 w 534"/>
                    <a:gd name="T37" fmla="*/ 246 h 318"/>
                    <a:gd name="T38" fmla="*/ 180 w 534"/>
                    <a:gd name="T39" fmla="*/ 264 h 318"/>
                    <a:gd name="T40" fmla="*/ 168 w 534"/>
                    <a:gd name="T41" fmla="*/ 288 h 318"/>
                    <a:gd name="T42" fmla="*/ 168 w 534"/>
                    <a:gd name="T43" fmla="*/ 306 h 318"/>
                    <a:gd name="T44" fmla="*/ 150 w 534"/>
                    <a:gd name="T45" fmla="*/ 312 h 318"/>
                    <a:gd name="T46" fmla="*/ 120 w 534"/>
                    <a:gd name="T47" fmla="*/ 306 h 318"/>
                    <a:gd name="T48" fmla="*/ 90 w 534"/>
                    <a:gd name="T49" fmla="*/ 300 h 318"/>
                    <a:gd name="T50" fmla="*/ 66 w 534"/>
                    <a:gd name="T51" fmla="*/ 288 h 318"/>
                    <a:gd name="T52" fmla="*/ 42 w 534"/>
                    <a:gd name="T53" fmla="*/ 300 h 318"/>
                    <a:gd name="T54" fmla="*/ 24 w 534"/>
                    <a:gd name="T55" fmla="*/ 318 h 318"/>
                    <a:gd name="T56" fmla="*/ 6 w 534"/>
                    <a:gd name="T57" fmla="*/ 312 h 318"/>
                    <a:gd name="T58" fmla="*/ 0 w 534"/>
                    <a:gd name="T59" fmla="*/ 288 h 318"/>
                    <a:gd name="T60" fmla="*/ 18 w 534"/>
                    <a:gd name="T61" fmla="*/ 252 h 318"/>
                    <a:gd name="T62" fmla="*/ 42 w 534"/>
                    <a:gd name="T63" fmla="*/ 234 h 318"/>
                    <a:gd name="T64" fmla="*/ 84 w 534"/>
                    <a:gd name="T65" fmla="*/ 240 h 318"/>
                    <a:gd name="T66" fmla="*/ 108 w 534"/>
                    <a:gd name="T67" fmla="*/ 240 h 318"/>
                    <a:gd name="T68" fmla="*/ 114 w 534"/>
                    <a:gd name="T69" fmla="*/ 222 h 318"/>
                    <a:gd name="T70" fmla="*/ 96 w 534"/>
                    <a:gd name="T71" fmla="*/ 198 h 318"/>
                    <a:gd name="T72" fmla="*/ 90 w 534"/>
                    <a:gd name="T73" fmla="*/ 186 h 318"/>
                    <a:gd name="T74" fmla="*/ 96 w 534"/>
                    <a:gd name="T75" fmla="*/ 174 h 318"/>
                    <a:gd name="T76" fmla="*/ 114 w 534"/>
                    <a:gd name="T77" fmla="*/ 156 h 318"/>
                    <a:gd name="T78" fmla="*/ 150 w 534"/>
                    <a:gd name="T79" fmla="*/ 138 h 318"/>
                    <a:gd name="T80" fmla="*/ 174 w 534"/>
                    <a:gd name="T81" fmla="*/ 132 h 318"/>
                    <a:gd name="T82" fmla="*/ 192 w 534"/>
                    <a:gd name="T83" fmla="*/ 138 h 318"/>
                    <a:gd name="T84" fmla="*/ 210 w 534"/>
                    <a:gd name="T85" fmla="*/ 138 h 318"/>
                    <a:gd name="T86" fmla="*/ 210 w 534"/>
                    <a:gd name="T87" fmla="*/ 126 h 318"/>
                    <a:gd name="T88" fmla="*/ 216 w 534"/>
                    <a:gd name="T89" fmla="*/ 108 h 318"/>
                    <a:gd name="T90" fmla="*/ 240 w 534"/>
                    <a:gd name="T91" fmla="*/ 90 h 318"/>
                    <a:gd name="T92" fmla="*/ 270 w 534"/>
                    <a:gd name="T93" fmla="*/ 78 h 318"/>
                    <a:gd name="T94" fmla="*/ 306 w 534"/>
                    <a:gd name="T95" fmla="*/ 90 h 318"/>
                    <a:gd name="T96" fmla="*/ 330 w 534"/>
                    <a:gd name="T97" fmla="*/ 114 h 318"/>
                    <a:gd name="T98" fmla="*/ 354 w 534"/>
                    <a:gd name="T99" fmla="*/ 126 h 318"/>
                    <a:gd name="T100" fmla="*/ 378 w 534"/>
                    <a:gd name="T101" fmla="*/ 120 h 318"/>
                    <a:gd name="T102" fmla="*/ 384 w 534"/>
                    <a:gd name="T103" fmla="*/ 96 h 318"/>
                    <a:gd name="T104" fmla="*/ 378 w 534"/>
                    <a:gd name="T105" fmla="*/ 72 h 318"/>
                    <a:gd name="T106" fmla="*/ 348 w 534"/>
                    <a:gd name="T107" fmla="*/ 54 h 318"/>
                    <a:gd name="T108" fmla="*/ 336 w 534"/>
                    <a:gd name="T109" fmla="*/ 42 h 318"/>
                    <a:gd name="T110" fmla="*/ 348 w 534"/>
                    <a:gd name="T111" fmla="*/ 24 h 318"/>
                    <a:gd name="T112" fmla="*/ 372 w 534"/>
                    <a:gd name="T113" fmla="*/ 12 h 318"/>
                    <a:gd name="T114" fmla="*/ 402 w 534"/>
                    <a:gd name="T115" fmla="*/ 0 h 3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34" h="318">
                      <a:moveTo>
                        <a:pt x="414" y="0"/>
                      </a:moveTo>
                      <a:lnTo>
                        <a:pt x="432" y="0"/>
                      </a:lnTo>
                      <a:lnTo>
                        <a:pt x="450" y="6"/>
                      </a:lnTo>
                      <a:lnTo>
                        <a:pt x="468" y="12"/>
                      </a:lnTo>
                      <a:lnTo>
                        <a:pt x="480" y="24"/>
                      </a:lnTo>
                      <a:lnTo>
                        <a:pt x="480" y="36"/>
                      </a:lnTo>
                      <a:lnTo>
                        <a:pt x="480" y="54"/>
                      </a:lnTo>
                      <a:lnTo>
                        <a:pt x="486" y="72"/>
                      </a:lnTo>
                      <a:lnTo>
                        <a:pt x="492" y="96"/>
                      </a:lnTo>
                      <a:lnTo>
                        <a:pt x="504" y="114"/>
                      </a:lnTo>
                      <a:lnTo>
                        <a:pt x="516" y="132"/>
                      </a:lnTo>
                      <a:lnTo>
                        <a:pt x="522" y="144"/>
                      </a:lnTo>
                      <a:lnTo>
                        <a:pt x="516" y="156"/>
                      </a:lnTo>
                      <a:lnTo>
                        <a:pt x="510" y="168"/>
                      </a:lnTo>
                      <a:lnTo>
                        <a:pt x="504" y="174"/>
                      </a:lnTo>
                      <a:lnTo>
                        <a:pt x="498" y="180"/>
                      </a:lnTo>
                      <a:lnTo>
                        <a:pt x="492" y="180"/>
                      </a:lnTo>
                      <a:lnTo>
                        <a:pt x="486" y="186"/>
                      </a:lnTo>
                      <a:lnTo>
                        <a:pt x="486" y="192"/>
                      </a:lnTo>
                      <a:lnTo>
                        <a:pt x="486" y="198"/>
                      </a:lnTo>
                      <a:lnTo>
                        <a:pt x="492" y="210"/>
                      </a:lnTo>
                      <a:lnTo>
                        <a:pt x="504" y="222"/>
                      </a:lnTo>
                      <a:lnTo>
                        <a:pt x="522" y="240"/>
                      </a:lnTo>
                      <a:lnTo>
                        <a:pt x="534" y="258"/>
                      </a:lnTo>
                      <a:lnTo>
                        <a:pt x="522" y="276"/>
                      </a:lnTo>
                      <a:lnTo>
                        <a:pt x="504" y="282"/>
                      </a:lnTo>
                      <a:lnTo>
                        <a:pt x="474" y="288"/>
                      </a:lnTo>
                      <a:lnTo>
                        <a:pt x="444" y="288"/>
                      </a:lnTo>
                      <a:lnTo>
                        <a:pt x="420" y="288"/>
                      </a:lnTo>
                      <a:lnTo>
                        <a:pt x="396" y="288"/>
                      </a:lnTo>
                      <a:lnTo>
                        <a:pt x="366" y="300"/>
                      </a:lnTo>
                      <a:lnTo>
                        <a:pt x="336" y="300"/>
                      </a:lnTo>
                      <a:lnTo>
                        <a:pt x="312" y="288"/>
                      </a:lnTo>
                      <a:lnTo>
                        <a:pt x="282" y="270"/>
                      </a:lnTo>
                      <a:lnTo>
                        <a:pt x="246" y="270"/>
                      </a:lnTo>
                      <a:lnTo>
                        <a:pt x="216" y="252"/>
                      </a:lnTo>
                      <a:lnTo>
                        <a:pt x="204" y="246"/>
                      </a:lnTo>
                      <a:lnTo>
                        <a:pt x="192" y="246"/>
                      </a:lnTo>
                      <a:lnTo>
                        <a:pt x="186" y="258"/>
                      </a:lnTo>
                      <a:lnTo>
                        <a:pt x="180" y="264"/>
                      </a:lnTo>
                      <a:lnTo>
                        <a:pt x="174" y="276"/>
                      </a:lnTo>
                      <a:lnTo>
                        <a:pt x="168" y="288"/>
                      </a:lnTo>
                      <a:lnTo>
                        <a:pt x="168" y="300"/>
                      </a:lnTo>
                      <a:lnTo>
                        <a:pt x="168" y="306"/>
                      </a:lnTo>
                      <a:lnTo>
                        <a:pt x="156" y="312"/>
                      </a:lnTo>
                      <a:lnTo>
                        <a:pt x="150" y="312"/>
                      </a:lnTo>
                      <a:lnTo>
                        <a:pt x="132" y="312"/>
                      </a:lnTo>
                      <a:lnTo>
                        <a:pt x="120" y="306"/>
                      </a:lnTo>
                      <a:lnTo>
                        <a:pt x="102" y="306"/>
                      </a:lnTo>
                      <a:lnTo>
                        <a:pt x="90" y="300"/>
                      </a:lnTo>
                      <a:lnTo>
                        <a:pt x="78" y="294"/>
                      </a:lnTo>
                      <a:lnTo>
                        <a:pt x="66" y="288"/>
                      </a:lnTo>
                      <a:lnTo>
                        <a:pt x="54" y="294"/>
                      </a:lnTo>
                      <a:lnTo>
                        <a:pt x="42" y="300"/>
                      </a:lnTo>
                      <a:lnTo>
                        <a:pt x="36" y="312"/>
                      </a:lnTo>
                      <a:lnTo>
                        <a:pt x="24" y="318"/>
                      </a:lnTo>
                      <a:lnTo>
                        <a:pt x="18" y="318"/>
                      </a:lnTo>
                      <a:lnTo>
                        <a:pt x="6" y="312"/>
                      </a:lnTo>
                      <a:lnTo>
                        <a:pt x="6" y="300"/>
                      </a:lnTo>
                      <a:lnTo>
                        <a:pt x="0" y="288"/>
                      </a:lnTo>
                      <a:lnTo>
                        <a:pt x="6" y="270"/>
                      </a:lnTo>
                      <a:lnTo>
                        <a:pt x="18" y="252"/>
                      </a:lnTo>
                      <a:lnTo>
                        <a:pt x="30" y="240"/>
                      </a:lnTo>
                      <a:lnTo>
                        <a:pt x="42" y="234"/>
                      </a:lnTo>
                      <a:lnTo>
                        <a:pt x="60" y="234"/>
                      </a:lnTo>
                      <a:lnTo>
                        <a:pt x="84" y="240"/>
                      </a:lnTo>
                      <a:lnTo>
                        <a:pt x="96" y="240"/>
                      </a:lnTo>
                      <a:lnTo>
                        <a:pt x="108" y="240"/>
                      </a:lnTo>
                      <a:lnTo>
                        <a:pt x="114" y="234"/>
                      </a:lnTo>
                      <a:lnTo>
                        <a:pt x="114" y="222"/>
                      </a:lnTo>
                      <a:lnTo>
                        <a:pt x="108" y="210"/>
                      </a:lnTo>
                      <a:lnTo>
                        <a:pt x="96" y="198"/>
                      </a:lnTo>
                      <a:lnTo>
                        <a:pt x="90" y="192"/>
                      </a:lnTo>
                      <a:lnTo>
                        <a:pt x="90" y="186"/>
                      </a:lnTo>
                      <a:lnTo>
                        <a:pt x="90" y="180"/>
                      </a:lnTo>
                      <a:lnTo>
                        <a:pt x="96" y="174"/>
                      </a:lnTo>
                      <a:lnTo>
                        <a:pt x="102" y="162"/>
                      </a:lnTo>
                      <a:lnTo>
                        <a:pt x="114" y="156"/>
                      </a:lnTo>
                      <a:lnTo>
                        <a:pt x="132" y="144"/>
                      </a:lnTo>
                      <a:lnTo>
                        <a:pt x="150" y="138"/>
                      </a:lnTo>
                      <a:lnTo>
                        <a:pt x="162" y="132"/>
                      </a:lnTo>
                      <a:lnTo>
                        <a:pt x="174" y="132"/>
                      </a:lnTo>
                      <a:lnTo>
                        <a:pt x="180" y="138"/>
                      </a:lnTo>
                      <a:lnTo>
                        <a:pt x="192" y="138"/>
                      </a:lnTo>
                      <a:lnTo>
                        <a:pt x="198" y="138"/>
                      </a:lnTo>
                      <a:lnTo>
                        <a:pt x="210" y="138"/>
                      </a:lnTo>
                      <a:lnTo>
                        <a:pt x="210" y="132"/>
                      </a:lnTo>
                      <a:lnTo>
                        <a:pt x="210" y="126"/>
                      </a:lnTo>
                      <a:lnTo>
                        <a:pt x="210" y="114"/>
                      </a:lnTo>
                      <a:lnTo>
                        <a:pt x="216" y="108"/>
                      </a:lnTo>
                      <a:lnTo>
                        <a:pt x="222" y="96"/>
                      </a:lnTo>
                      <a:lnTo>
                        <a:pt x="240" y="90"/>
                      </a:lnTo>
                      <a:lnTo>
                        <a:pt x="252" y="84"/>
                      </a:lnTo>
                      <a:lnTo>
                        <a:pt x="270" y="78"/>
                      </a:lnTo>
                      <a:lnTo>
                        <a:pt x="288" y="78"/>
                      </a:lnTo>
                      <a:lnTo>
                        <a:pt x="306" y="90"/>
                      </a:lnTo>
                      <a:lnTo>
                        <a:pt x="318" y="102"/>
                      </a:lnTo>
                      <a:lnTo>
                        <a:pt x="330" y="114"/>
                      </a:lnTo>
                      <a:lnTo>
                        <a:pt x="342" y="120"/>
                      </a:lnTo>
                      <a:lnTo>
                        <a:pt x="354" y="126"/>
                      </a:lnTo>
                      <a:lnTo>
                        <a:pt x="366" y="126"/>
                      </a:lnTo>
                      <a:lnTo>
                        <a:pt x="378" y="120"/>
                      </a:lnTo>
                      <a:lnTo>
                        <a:pt x="384" y="108"/>
                      </a:lnTo>
                      <a:lnTo>
                        <a:pt x="384" y="96"/>
                      </a:lnTo>
                      <a:lnTo>
                        <a:pt x="384" y="84"/>
                      </a:lnTo>
                      <a:lnTo>
                        <a:pt x="378" y="72"/>
                      </a:lnTo>
                      <a:lnTo>
                        <a:pt x="366" y="60"/>
                      </a:lnTo>
                      <a:lnTo>
                        <a:pt x="348" y="54"/>
                      </a:lnTo>
                      <a:lnTo>
                        <a:pt x="336" y="48"/>
                      </a:lnTo>
                      <a:lnTo>
                        <a:pt x="336" y="42"/>
                      </a:lnTo>
                      <a:lnTo>
                        <a:pt x="342" y="30"/>
                      </a:lnTo>
                      <a:lnTo>
                        <a:pt x="348" y="24"/>
                      </a:lnTo>
                      <a:lnTo>
                        <a:pt x="360" y="18"/>
                      </a:lnTo>
                      <a:lnTo>
                        <a:pt x="372" y="12"/>
                      </a:lnTo>
                      <a:lnTo>
                        <a:pt x="390" y="6"/>
                      </a:lnTo>
                      <a:lnTo>
                        <a:pt x="402" y="0"/>
                      </a:lnTo>
                      <a:lnTo>
                        <a:pt x="41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7" name="Freeform 158">
                  <a:extLst>
                    <a:ext uri="{FF2B5EF4-FFF2-40B4-BE49-F238E27FC236}">
                      <a16:creationId xmlns:a16="http://schemas.microsoft.com/office/drawing/2014/main" id="{D9F39FAD-F6D5-4BD9-AFC5-DC075F63FC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5" y="-9060"/>
                  <a:ext cx="402" cy="228"/>
                </a:xfrm>
                <a:custGeom>
                  <a:avLst/>
                  <a:gdLst>
                    <a:gd name="T0" fmla="*/ 216 w 402"/>
                    <a:gd name="T1" fmla="*/ 0 h 228"/>
                    <a:gd name="T2" fmla="*/ 252 w 402"/>
                    <a:gd name="T3" fmla="*/ 6 h 228"/>
                    <a:gd name="T4" fmla="*/ 330 w 402"/>
                    <a:gd name="T5" fmla="*/ 24 h 228"/>
                    <a:gd name="T6" fmla="*/ 390 w 402"/>
                    <a:gd name="T7" fmla="*/ 30 h 228"/>
                    <a:gd name="T8" fmla="*/ 402 w 402"/>
                    <a:gd name="T9" fmla="*/ 36 h 228"/>
                    <a:gd name="T10" fmla="*/ 390 w 402"/>
                    <a:gd name="T11" fmla="*/ 54 h 228"/>
                    <a:gd name="T12" fmla="*/ 366 w 402"/>
                    <a:gd name="T13" fmla="*/ 72 h 228"/>
                    <a:gd name="T14" fmla="*/ 342 w 402"/>
                    <a:gd name="T15" fmla="*/ 90 h 228"/>
                    <a:gd name="T16" fmla="*/ 294 w 402"/>
                    <a:gd name="T17" fmla="*/ 120 h 228"/>
                    <a:gd name="T18" fmla="*/ 258 w 402"/>
                    <a:gd name="T19" fmla="*/ 150 h 228"/>
                    <a:gd name="T20" fmla="*/ 180 w 402"/>
                    <a:gd name="T21" fmla="*/ 192 h 228"/>
                    <a:gd name="T22" fmla="*/ 144 w 402"/>
                    <a:gd name="T23" fmla="*/ 222 h 228"/>
                    <a:gd name="T24" fmla="*/ 120 w 402"/>
                    <a:gd name="T25" fmla="*/ 222 h 228"/>
                    <a:gd name="T26" fmla="*/ 108 w 402"/>
                    <a:gd name="T27" fmla="*/ 210 h 228"/>
                    <a:gd name="T28" fmla="*/ 90 w 402"/>
                    <a:gd name="T29" fmla="*/ 204 h 228"/>
                    <a:gd name="T30" fmla="*/ 66 w 402"/>
                    <a:gd name="T31" fmla="*/ 216 h 228"/>
                    <a:gd name="T32" fmla="*/ 30 w 402"/>
                    <a:gd name="T33" fmla="*/ 222 h 228"/>
                    <a:gd name="T34" fmla="*/ 6 w 402"/>
                    <a:gd name="T35" fmla="*/ 222 h 228"/>
                    <a:gd name="T36" fmla="*/ 0 w 402"/>
                    <a:gd name="T37" fmla="*/ 210 h 228"/>
                    <a:gd name="T38" fmla="*/ 6 w 402"/>
                    <a:gd name="T39" fmla="*/ 192 h 228"/>
                    <a:gd name="T40" fmla="*/ 36 w 402"/>
                    <a:gd name="T41" fmla="*/ 180 h 228"/>
                    <a:gd name="T42" fmla="*/ 48 w 402"/>
                    <a:gd name="T43" fmla="*/ 168 h 228"/>
                    <a:gd name="T44" fmla="*/ 30 w 402"/>
                    <a:gd name="T45" fmla="*/ 156 h 228"/>
                    <a:gd name="T46" fmla="*/ 18 w 402"/>
                    <a:gd name="T47" fmla="*/ 144 h 228"/>
                    <a:gd name="T48" fmla="*/ 24 w 402"/>
                    <a:gd name="T49" fmla="*/ 126 h 228"/>
                    <a:gd name="T50" fmla="*/ 42 w 402"/>
                    <a:gd name="T51" fmla="*/ 102 h 228"/>
                    <a:gd name="T52" fmla="*/ 96 w 402"/>
                    <a:gd name="T53" fmla="*/ 84 h 228"/>
                    <a:gd name="T54" fmla="*/ 174 w 402"/>
                    <a:gd name="T55" fmla="*/ 84 h 228"/>
                    <a:gd name="T56" fmla="*/ 192 w 402"/>
                    <a:gd name="T57" fmla="*/ 78 h 228"/>
                    <a:gd name="T58" fmla="*/ 192 w 402"/>
                    <a:gd name="T59" fmla="*/ 66 h 228"/>
                    <a:gd name="T60" fmla="*/ 180 w 402"/>
                    <a:gd name="T61" fmla="*/ 48 h 228"/>
                    <a:gd name="T62" fmla="*/ 168 w 402"/>
                    <a:gd name="T63" fmla="*/ 30 h 228"/>
                    <a:gd name="T64" fmla="*/ 168 w 402"/>
                    <a:gd name="T65" fmla="*/ 6 h 228"/>
                    <a:gd name="T66" fmla="*/ 186 w 402"/>
                    <a:gd name="T67" fmla="*/ 0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02" h="228">
                      <a:moveTo>
                        <a:pt x="198" y="0"/>
                      </a:moveTo>
                      <a:lnTo>
                        <a:pt x="216" y="0"/>
                      </a:lnTo>
                      <a:lnTo>
                        <a:pt x="234" y="6"/>
                      </a:lnTo>
                      <a:lnTo>
                        <a:pt x="252" y="6"/>
                      </a:lnTo>
                      <a:lnTo>
                        <a:pt x="288" y="18"/>
                      </a:lnTo>
                      <a:lnTo>
                        <a:pt x="330" y="24"/>
                      </a:lnTo>
                      <a:lnTo>
                        <a:pt x="378" y="24"/>
                      </a:lnTo>
                      <a:lnTo>
                        <a:pt x="390" y="30"/>
                      </a:lnTo>
                      <a:lnTo>
                        <a:pt x="396" y="30"/>
                      </a:lnTo>
                      <a:lnTo>
                        <a:pt x="402" y="36"/>
                      </a:lnTo>
                      <a:lnTo>
                        <a:pt x="396" y="48"/>
                      </a:lnTo>
                      <a:lnTo>
                        <a:pt x="390" y="54"/>
                      </a:lnTo>
                      <a:lnTo>
                        <a:pt x="378" y="66"/>
                      </a:lnTo>
                      <a:lnTo>
                        <a:pt x="366" y="72"/>
                      </a:lnTo>
                      <a:lnTo>
                        <a:pt x="354" y="84"/>
                      </a:lnTo>
                      <a:lnTo>
                        <a:pt x="342" y="90"/>
                      </a:lnTo>
                      <a:lnTo>
                        <a:pt x="318" y="108"/>
                      </a:lnTo>
                      <a:lnTo>
                        <a:pt x="294" y="120"/>
                      </a:lnTo>
                      <a:lnTo>
                        <a:pt x="276" y="138"/>
                      </a:lnTo>
                      <a:lnTo>
                        <a:pt x="258" y="150"/>
                      </a:lnTo>
                      <a:lnTo>
                        <a:pt x="222" y="168"/>
                      </a:lnTo>
                      <a:lnTo>
                        <a:pt x="180" y="192"/>
                      </a:lnTo>
                      <a:lnTo>
                        <a:pt x="150" y="210"/>
                      </a:lnTo>
                      <a:lnTo>
                        <a:pt x="144" y="222"/>
                      </a:lnTo>
                      <a:lnTo>
                        <a:pt x="132" y="228"/>
                      </a:lnTo>
                      <a:lnTo>
                        <a:pt x="120" y="222"/>
                      </a:lnTo>
                      <a:lnTo>
                        <a:pt x="114" y="222"/>
                      </a:lnTo>
                      <a:lnTo>
                        <a:pt x="108" y="210"/>
                      </a:lnTo>
                      <a:lnTo>
                        <a:pt x="102" y="204"/>
                      </a:lnTo>
                      <a:lnTo>
                        <a:pt x="90" y="204"/>
                      </a:lnTo>
                      <a:lnTo>
                        <a:pt x="78" y="210"/>
                      </a:lnTo>
                      <a:lnTo>
                        <a:pt x="66" y="216"/>
                      </a:lnTo>
                      <a:lnTo>
                        <a:pt x="48" y="216"/>
                      </a:lnTo>
                      <a:lnTo>
                        <a:pt x="30" y="222"/>
                      </a:lnTo>
                      <a:lnTo>
                        <a:pt x="18" y="222"/>
                      </a:lnTo>
                      <a:lnTo>
                        <a:pt x="6" y="222"/>
                      </a:lnTo>
                      <a:lnTo>
                        <a:pt x="0" y="216"/>
                      </a:lnTo>
                      <a:lnTo>
                        <a:pt x="0" y="210"/>
                      </a:lnTo>
                      <a:lnTo>
                        <a:pt x="0" y="198"/>
                      </a:lnTo>
                      <a:lnTo>
                        <a:pt x="6" y="192"/>
                      </a:lnTo>
                      <a:lnTo>
                        <a:pt x="18" y="186"/>
                      </a:lnTo>
                      <a:lnTo>
                        <a:pt x="36" y="180"/>
                      </a:lnTo>
                      <a:lnTo>
                        <a:pt x="42" y="174"/>
                      </a:lnTo>
                      <a:lnTo>
                        <a:pt x="48" y="168"/>
                      </a:lnTo>
                      <a:lnTo>
                        <a:pt x="42" y="162"/>
                      </a:lnTo>
                      <a:lnTo>
                        <a:pt x="30" y="156"/>
                      </a:lnTo>
                      <a:lnTo>
                        <a:pt x="24" y="150"/>
                      </a:lnTo>
                      <a:lnTo>
                        <a:pt x="18" y="144"/>
                      </a:lnTo>
                      <a:lnTo>
                        <a:pt x="24" y="132"/>
                      </a:lnTo>
                      <a:lnTo>
                        <a:pt x="24" y="126"/>
                      </a:lnTo>
                      <a:lnTo>
                        <a:pt x="30" y="114"/>
                      </a:lnTo>
                      <a:lnTo>
                        <a:pt x="42" y="102"/>
                      </a:lnTo>
                      <a:lnTo>
                        <a:pt x="60" y="90"/>
                      </a:lnTo>
                      <a:lnTo>
                        <a:pt x="96" y="84"/>
                      </a:lnTo>
                      <a:lnTo>
                        <a:pt x="156" y="84"/>
                      </a:lnTo>
                      <a:lnTo>
                        <a:pt x="174" y="84"/>
                      </a:lnTo>
                      <a:lnTo>
                        <a:pt x="186" y="84"/>
                      </a:lnTo>
                      <a:lnTo>
                        <a:pt x="192" y="78"/>
                      </a:lnTo>
                      <a:lnTo>
                        <a:pt x="192" y="72"/>
                      </a:lnTo>
                      <a:lnTo>
                        <a:pt x="192" y="66"/>
                      </a:lnTo>
                      <a:lnTo>
                        <a:pt x="186" y="54"/>
                      </a:lnTo>
                      <a:lnTo>
                        <a:pt x="180" y="48"/>
                      </a:lnTo>
                      <a:lnTo>
                        <a:pt x="174" y="36"/>
                      </a:lnTo>
                      <a:lnTo>
                        <a:pt x="168" y="30"/>
                      </a:lnTo>
                      <a:lnTo>
                        <a:pt x="168" y="18"/>
                      </a:lnTo>
                      <a:lnTo>
                        <a:pt x="168" y="6"/>
                      </a:lnTo>
                      <a:lnTo>
                        <a:pt x="174" y="0"/>
                      </a:lnTo>
                      <a:lnTo>
                        <a:pt x="186" y="0"/>
                      </a:lnTo>
                      <a:lnTo>
                        <a:pt x="19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8" name="Freeform 159">
                  <a:extLst>
                    <a:ext uri="{FF2B5EF4-FFF2-40B4-BE49-F238E27FC236}">
                      <a16:creationId xmlns:a16="http://schemas.microsoft.com/office/drawing/2014/main" id="{A5426D8E-3670-4CDE-BECE-0BEDEF20EC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01" y="-8790"/>
                  <a:ext cx="90" cy="60"/>
                </a:xfrm>
                <a:custGeom>
                  <a:avLst/>
                  <a:gdLst>
                    <a:gd name="T0" fmla="*/ 54 w 90"/>
                    <a:gd name="T1" fmla="*/ 0 h 60"/>
                    <a:gd name="T2" fmla="*/ 66 w 90"/>
                    <a:gd name="T3" fmla="*/ 0 h 60"/>
                    <a:gd name="T4" fmla="*/ 78 w 90"/>
                    <a:gd name="T5" fmla="*/ 6 h 60"/>
                    <a:gd name="T6" fmla="*/ 84 w 90"/>
                    <a:gd name="T7" fmla="*/ 18 h 60"/>
                    <a:gd name="T8" fmla="*/ 90 w 90"/>
                    <a:gd name="T9" fmla="*/ 24 h 60"/>
                    <a:gd name="T10" fmla="*/ 90 w 90"/>
                    <a:gd name="T11" fmla="*/ 36 h 60"/>
                    <a:gd name="T12" fmla="*/ 90 w 90"/>
                    <a:gd name="T13" fmla="*/ 42 h 60"/>
                    <a:gd name="T14" fmla="*/ 84 w 90"/>
                    <a:gd name="T15" fmla="*/ 54 h 60"/>
                    <a:gd name="T16" fmla="*/ 72 w 90"/>
                    <a:gd name="T17" fmla="*/ 60 h 60"/>
                    <a:gd name="T18" fmla="*/ 54 w 90"/>
                    <a:gd name="T19" fmla="*/ 60 h 60"/>
                    <a:gd name="T20" fmla="*/ 30 w 90"/>
                    <a:gd name="T21" fmla="*/ 60 h 60"/>
                    <a:gd name="T22" fmla="*/ 18 w 90"/>
                    <a:gd name="T23" fmla="*/ 54 h 60"/>
                    <a:gd name="T24" fmla="*/ 6 w 90"/>
                    <a:gd name="T25" fmla="*/ 42 h 60"/>
                    <a:gd name="T26" fmla="*/ 0 w 90"/>
                    <a:gd name="T27" fmla="*/ 36 h 60"/>
                    <a:gd name="T28" fmla="*/ 0 w 90"/>
                    <a:gd name="T29" fmla="*/ 24 h 60"/>
                    <a:gd name="T30" fmla="*/ 0 w 90"/>
                    <a:gd name="T31" fmla="*/ 18 h 60"/>
                    <a:gd name="T32" fmla="*/ 12 w 90"/>
                    <a:gd name="T33" fmla="*/ 6 h 60"/>
                    <a:gd name="T34" fmla="*/ 30 w 90"/>
                    <a:gd name="T35" fmla="*/ 0 h 60"/>
                    <a:gd name="T36" fmla="*/ 54 w 90"/>
                    <a:gd name="T37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0" h="60">
                      <a:moveTo>
                        <a:pt x="54" y="0"/>
                      </a:moveTo>
                      <a:lnTo>
                        <a:pt x="66" y="0"/>
                      </a:lnTo>
                      <a:lnTo>
                        <a:pt x="78" y="6"/>
                      </a:lnTo>
                      <a:lnTo>
                        <a:pt x="84" y="18"/>
                      </a:lnTo>
                      <a:lnTo>
                        <a:pt x="90" y="24"/>
                      </a:lnTo>
                      <a:lnTo>
                        <a:pt x="90" y="36"/>
                      </a:lnTo>
                      <a:lnTo>
                        <a:pt x="90" y="42"/>
                      </a:lnTo>
                      <a:lnTo>
                        <a:pt x="84" y="54"/>
                      </a:lnTo>
                      <a:lnTo>
                        <a:pt x="72" y="60"/>
                      </a:lnTo>
                      <a:lnTo>
                        <a:pt x="54" y="60"/>
                      </a:lnTo>
                      <a:lnTo>
                        <a:pt x="30" y="60"/>
                      </a:lnTo>
                      <a:lnTo>
                        <a:pt x="18" y="54"/>
                      </a:lnTo>
                      <a:lnTo>
                        <a:pt x="6" y="42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12" y="6"/>
                      </a:lnTo>
                      <a:lnTo>
                        <a:pt x="30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099" name="Freeform 160">
                  <a:extLst>
                    <a:ext uri="{FF2B5EF4-FFF2-40B4-BE49-F238E27FC236}">
                      <a16:creationId xmlns:a16="http://schemas.microsoft.com/office/drawing/2014/main" id="{E3FCAF4B-755D-4C93-9040-24606DD429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31" y="-7512"/>
                  <a:ext cx="96" cy="120"/>
                </a:xfrm>
                <a:custGeom>
                  <a:avLst/>
                  <a:gdLst>
                    <a:gd name="T0" fmla="*/ 42 w 96"/>
                    <a:gd name="T1" fmla="*/ 0 h 120"/>
                    <a:gd name="T2" fmla="*/ 54 w 96"/>
                    <a:gd name="T3" fmla="*/ 0 h 120"/>
                    <a:gd name="T4" fmla="*/ 60 w 96"/>
                    <a:gd name="T5" fmla="*/ 6 h 120"/>
                    <a:gd name="T6" fmla="*/ 72 w 96"/>
                    <a:gd name="T7" fmla="*/ 18 h 120"/>
                    <a:gd name="T8" fmla="*/ 84 w 96"/>
                    <a:gd name="T9" fmla="*/ 30 h 120"/>
                    <a:gd name="T10" fmla="*/ 90 w 96"/>
                    <a:gd name="T11" fmla="*/ 48 h 120"/>
                    <a:gd name="T12" fmla="*/ 96 w 96"/>
                    <a:gd name="T13" fmla="*/ 72 h 120"/>
                    <a:gd name="T14" fmla="*/ 90 w 96"/>
                    <a:gd name="T15" fmla="*/ 90 h 120"/>
                    <a:gd name="T16" fmla="*/ 84 w 96"/>
                    <a:gd name="T17" fmla="*/ 108 h 120"/>
                    <a:gd name="T18" fmla="*/ 78 w 96"/>
                    <a:gd name="T19" fmla="*/ 120 h 120"/>
                    <a:gd name="T20" fmla="*/ 72 w 96"/>
                    <a:gd name="T21" fmla="*/ 120 h 120"/>
                    <a:gd name="T22" fmla="*/ 66 w 96"/>
                    <a:gd name="T23" fmla="*/ 120 h 120"/>
                    <a:gd name="T24" fmla="*/ 60 w 96"/>
                    <a:gd name="T25" fmla="*/ 114 h 120"/>
                    <a:gd name="T26" fmla="*/ 48 w 96"/>
                    <a:gd name="T27" fmla="*/ 108 h 120"/>
                    <a:gd name="T28" fmla="*/ 36 w 96"/>
                    <a:gd name="T29" fmla="*/ 102 h 120"/>
                    <a:gd name="T30" fmla="*/ 24 w 96"/>
                    <a:gd name="T31" fmla="*/ 102 h 120"/>
                    <a:gd name="T32" fmla="*/ 12 w 96"/>
                    <a:gd name="T33" fmla="*/ 102 h 120"/>
                    <a:gd name="T34" fmla="*/ 0 w 96"/>
                    <a:gd name="T35" fmla="*/ 96 h 120"/>
                    <a:gd name="T36" fmla="*/ 0 w 96"/>
                    <a:gd name="T37" fmla="*/ 90 h 120"/>
                    <a:gd name="T38" fmla="*/ 0 w 96"/>
                    <a:gd name="T39" fmla="*/ 84 h 120"/>
                    <a:gd name="T40" fmla="*/ 6 w 96"/>
                    <a:gd name="T41" fmla="*/ 78 h 120"/>
                    <a:gd name="T42" fmla="*/ 18 w 96"/>
                    <a:gd name="T43" fmla="*/ 72 h 120"/>
                    <a:gd name="T44" fmla="*/ 24 w 96"/>
                    <a:gd name="T45" fmla="*/ 66 h 120"/>
                    <a:gd name="T46" fmla="*/ 30 w 96"/>
                    <a:gd name="T47" fmla="*/ 54 h 120"/>
                    <a:gd name="T48" fmla="*/ 30 w 96"/>
                    <a:gd name="T49" fmla="*/ 42 h 120"/>
                    <a:gd name="T50" fmla="*/ 30 w 96"/>
                    <a:gd name="T51" fmla="*/ 30 h 120"/>
                    <a:gd name="T52" fmla="*/ 30 w 96"/>
                    <a:gd name="T53" fmla="*/ 18 h 120"/>
                    <a:gd name="T54" fmla="*/ 36 w 96"/>
                    <a:gd name="T55" fmla="*/ 6 h 120"/>
                    <a:gd name="T56" fmla="*/ 42 w 96"/>
                    <a:gd name="T57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96" h="120">
                      <a:moveTo>
                        <a:pt x="42" y="0"/>
                      </a:moveTo>
                      <a:lnTo>
                        <a:pt x="54" y="0"/>
                      </a:lnTo>
                      <a:lnTo>
                        <a:pt x="60" y="6"/>
                      </a:lnTo>
                      <a:lnTo>
                        <a:pt x="72" y="18"/>
                      </a:lnTo>
                      <a:lnTo>
                        <a:pt x="84" y="30"/>
                      </a:lnTo>
                      <a:lnTo>
                        <a:pt x="90" y="48"/>
                      </a:lnTo>
                      <a:lnTo>
                        <a:pt x="96" y="72"/>
                      </a:lnTo>
                      <a:lnTo>
                        <a:pt x="90" y="90"/>
                      </a:lnTo>
                      <a:lnTo>
                        <a:pt x="84" y="108"/>
                      </a:lnTo>
                      <a:lnTo>
                        <a:pt x="78" y="120"/>
                      </a:lnTo>
                      <a:lnTo>
                        <a:pt x="72" y="120"/>
                      </a:lnTo>
                      <a:lnTo>
                        <a:pt x="66" y="120"/>
                      </a:lnTo>
                      <a:lnTo>
                        <a:pt x="60" y="114"/>
                      </a:lnTo>
                      <a:lnTo>
                        <a:pt x="48" y="108"/>
                      </a:lnTo>
                      <a:lnTo>
                        <a:pt x="36" y="102"/>
                      </a:lnTo>
                      <a:lnTo>
                        <a:pt x="24" y="102"/>
                      </a:lnTo>
                      <a:lnTo>
                        <a:pt x="12" y="102"/>
                      </a:lnTo>
                      <a:lnTo>
                        <a:pt x="0" y="96"/>
                      </a:lnTo>
                      <a:lnTo>
                        <a:pt x="0" y="90"/>
                      </a:lnTo>
                      <a:lnTo>
                        <a:pt x="0" y="84"/>
                      </a:lnTo>
                      <a:lnTo>
                        <a:pt x="6" y="78"/>
                      </a:lnTo>
                      <a:lnTo>
                        <a:pt x="18" y="72"/>
                      </a:lnTo>
                      <a:lnTo>
                        <a:pt x="24" y="66"/>
                      </a:lnTo>
                      <a:lnTo>
                        <a:pt x="30" y="54"/>
                      </a:lnTo>
                      <a:lnTo>
                        <a:pt x="30" y="42"/>
                      </a:lnTo>
                      <a:lnTo>
                        <a:pt x="30" y="30"/>
                      </a:lnTo>
                      <a:lnTo>
                        <a:pt x="30" y="18"/>
                      </a:lnTo>
                      <a:lnTo>
                        <a:pt x="36" y="6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0" name="Freeform 161">
                  <a:extLst>
                    <a:ext uri="{FF2B5EF4-FFF2-40B4-BE49-F238E27FC236}">
                      <a16:creationId xmlns:a16="http://schemas.microsoft.com/office/drawing/2014/main" id="{5A47CB86-C57E-49A9-A8CD-94A8109D8D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5" y="-7176"/>
                  <a:ext cx="78" cy="78"/>
                </a:xfrm>
                <a:custGeom>
                  <a:avLst/>
                  <a:gdLst>
                    <a:gd name="T0" fmla="*/ 36 w 78"/>
                    <a:gd name="T1" fmla="*/ 0 h 78"/>
                    <a:gd name="T2" fmla="*/ 54 w 78"/>
                    <a:gd name="T3" fmla="*/ 6 h 78"/>
                    <a:gd name="T4" fmla="*/ 66 w 78"/>
                    <a:gd name="T5" fmla="*/ 12 h 78"/>
                    <a:gd name="T6" fmla="*/ 78 w 78"/>
                    <a:gd name="T7" fmla="*/ 24 h 78"/>
                    <a:gd name="T8" fmla="*/ 78 w 78"/>
                    <a:gd name="T9" fmla="*/ 36 h 78"/>
                    <a:gd name="T10" fmla="*/ 78 w 78"/>
                    <a:gd name="T11" fmla="*/ 48 h 78"/>
                    <a:gd name="T12" fmla="*/ 72 w 78"/>
                    <a:gd name="T13" fmla="*/ 54 h 78"/>
                    <a:gd name="T14" fmla="*/ 66 w 78"/>
                    <a:gd name="T15" fmla="*/ 66 h 78"/>
                    <a:gd name="T16" fmla="*/ 54 w 78"/>
                    <a:gd name="T17" fmla="*/ 72 h 78"/>
                    <a:gd name="T18" fmla="*/ 42 w 78"/>
                    <a:gd name="T19" fmla="*/ 78 h 78"/>
                    <a:gd name="T20" fmla="*/ 30 w 78"/>
                    <a:gd name="T21" fmla="*/ 78 h 78"/>
                    <a:gd name="T22" fmla="*/ 18 w 78"/>
                    <a:gd name="T23" fmla="*/ 72 h 78"/>
                    <a:gd name="T24" fmla="*/ 6 w 78"/>
                    <a:gd name="T25" fmla="*/ 66 h 78"/>
                    <a:gd name="T26" fmla="*/ 0 w 78"/>
                    <a:gd name="T27" fmla="*/ 54 h 78"/>
                    <a:gd name="T28" fmla="*/ 0 w 78"/>
                    <a:gd name="T29" fmla="*/ 36 h 78"/>
                    <a:gd name="T30" fmla="*/ 6 w 78"/>
                    <a:gd name="T31" fmla="*/ 24 h 78"/>
                    <a:gd name="T32" fmla="*/ 12 w 78"/>
                    <a:gd name="T33" fmla="*/ 12 h 78"/>
                    <a:gd name="T34" fmla="*/ 18 w 78"/>
                    <a:gd name="T35" fmla="*/ 6 h 78"/>
                    <a:gd name="T36" fmla="*/ 36 w 78"/>
                    <a:gd name="T37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8" h="78">
                      <a:moveTo>
                        <a:pt x="36" y="0"/>
                      </a:moveTo>
                      <a:lnTo>
                        <a:pt x="54" y="6"/>
                      </a:lnTo>
                      <a:lnTo>
                        <a:pt x="66" y="12"/>
                      </a:lnTo>
                      <a:lnTo>
                        <a:pt x="78" y="24"/>
                      </a:lnTo>
                      <a:lnTo>
                        <a:pt x="78" y="36"/>
                      </a:lnTo>
                      <a:lnTo>
                        <a:pt x="78" y="48"/>
                      </a:lnTo>
                      <a:lnTo>
                        <a:pt x="72" y="54"/>
                      </a:lnTo>
                      <a:lnTo>
                        <a:pt x="66" y="66"/>
                      </a:lnTo>
                      <a:lnTo>
                        <a:pt x="54" y="72"/>
                      </a:lnTo>
                      <a:lnTo>
                        <a:pt x="42" y="78"/>
                      </a:lnTo>
                      <a:lnTo>
                        <a:pt x="30" y="78"/>
                      </a:lnTo>
                      <a:lnTo>
                        <a:pt x="18" y="72"/>
                      </a:lnTo>
                      <a:lnTo>
                        <a:pt x="6" y="66"/>
                      </a:lnTo>
                      <a:lnTo>
                        <a:pt x="0" y="54"/>
                      </a:lnTo>
                      <a:lnTo>
                        <a:pt x="0" y="36"/>
                      </a:lnTo>
                      <a:lnTo>
                        <a:pt x="6" y="24"/>
                      </a:lnTo>
                      <a:lnTo>
                        <a:pt x="12" y="12"/>
                      </a:lnTo>
                      <a:lnTo>
                        <a:pt x="18" y="6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1" name="Freeform 162">
                  <a:extLst>
                    <a:ext uri="{FF2B5EF4-FFF2-40B4-BE49-F238E27FC236}">
                      <a16:creationId xmlns:a16="http://schemas.microsoft.com/office/drawing/2014/main" id="{8B6FEF17-9964-42D8-BB88-F1B8BD9000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67" y="-7110"/>
                  <a:ext cx="150" cy="120"/>
                </a:xfrm>
                <a:custGeom>
                  <a:avLst/>
                  <a:gdLst>
                    <a:gd name="T0" fmla="*/ 78 w 150"/>
                    <a:gd name="T1" fmla="*/ 0 h 120"/>
                    <a:gd name="T2" fmla="*/ 84 w 150"/>
                    <a:gd name="T3" fmla="*/ 0 h 120"/>
                    <a:gd name="T4" fmla="*/ 96 w 150"/>
                    <a:gd name="T5" fmla="*/ 0 h 120"/>
                    <a:gd name="T6" fmla="*/ 102 w 150"/>
                    <a:gd name="T7" fmla="*/ 6 h 120"/>
                    <a:gd name="T8" fmla="*/ 102 w 150"/>
                    <a:gd name="T9" fmla="*/ 18 h 120"/>
                    <a:gd name="T10" fmla="*/ 102 w 150"/>
                    <a:gd name="T11" fmla="*/ 30 h 120"/>
                    <a:gd name="T12" fmla="*/ 102 w 150"/>
                    <a:gd name="T13" fmla="*/ 36 h 120"/>
                    <a:gd name="T14" fmla="*/ 108 w 150"/>
                    <a:gd name="T15" fmla="*/ 42 h 120"/>
                    <a:gd name="T16" fmla="*/ 114 w 150"/>
                    <a:gd name="T17" fmla="*/ 48 h 120"/>
                    <a:gd name="T18" fmla="*/ 120 w 150"/>
                    <a:gd name="T19" fmla="*/ 48 h 120"/>
                    <a:gd name="T20" fmla="*/ 132 w 150"/>
                    <a:gd name="T21" fmla="*/ 54 h 120"/>
                    <a:gd name="T22" fmla="*/ 144 w 150"/>
                    <a:gd name="T23" fmla="*/ 60 h 120"/>
                    <a:gd name="T24" fmla="*/ 150 w 150"/>
                    <a:gd name="T25" fmla="*/ 78 h 120"/>
                    <a:gd name="T26" fmla="*/ 150 w 150"/>
                    <a:gd name="T27" fmla="*/ 102 h 120"/>
                    <a:gd name="T28" fmla="*/ 132 w 150"/>
                    <a:gd name="T29" fmla="*/ 114 h 120"/>
                    <a:gd name="T30" fmla="*/ 96 w 150"/>
                    <a:gd name="T31" fmla="*/ 120 h 120"/>
                    <a:gd name="T32" fmla="*/ 48 w 150"/>
                    <a:gd name="T33" fmla="*/ 120 h 120"/>
                    <a:gd name="T34" fmla="*/ 30 w 150"/>
                    <a:gd name="T35" fmla="*/ 114 h 120"/>
                    <a:gd name="T36" fmla="*/ 18 w 150"/>
                    <a:gd name="T37" fmla="*/ 108 h 120"/>
                    <a:gd name="T38" fmla="*/ 12 w 150"/>
                    <a:gd name="T39" fmla="*/ 102 h 120"/>
                    <a:gd name="T40" fmla="*/ 6 w 150"/>
                    <a:gd name="T41" fmla="*/ 90 h 120"/>
                    <a:gd name="T42" fmla="*/ 0 w 150"/>
                    <a:gd name="T43" fmla="*/ 72 h 120"/>
                    <a:gd name="T44" fmla="*/ 0 w 150"/>
                    <a:gd name="T45" fmla="*/ 60 h 120"/>
                    <a:gd name="T46" fmla="*/ 6 w 150"/>
                    <a:gd name="T47" fmla="*/ 42 h 120"/>
                    <a:gd name="T48" fmla="*/ 18 w 150"/>
                    <a:gd name="T49" fmla="*/ 24 h 120"/>
                    <a:gd name="T50" fmla="*/ 30 w 150"/>
                    <a:gd name="T51" fmla="*/ 12 h 120"/>
                    <a:gd name="T52" fmla="*/ 48 w 150"/>
                    <a:gd name="T53" fmla="*/ 6 h 120"/>
                    <a:gd name="T54" fmla="*/ 66 w 150"/>
                    <a:gd name="T55" fmla="*/ 0 h 120"/>
                    <a:gd name="T56" fmla="*/ 78 w 150"/>
                    <a:gd name="T57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50" h="120">
                      <a:moveTo>
                        <a:pt x="78" y="0"/>
                      </a:moveTo>
                      <a:lnTo>
                        <a:pt x="84" y="0"/>
                      </a:lnTo>
                      <a:lnTo>
                        <a:pt x="96" y="0"/>
                      </a:lnTo>
                      <a:lnTo>
                        <a:pt x="102" y="6"/>
                      </a:lnTo>
                      <a:lnTo>
                        <a:pt x="102" y="18"/>
                      </a:lnTo>
                      <a:lnTo>
                        <a:pt x="102" y="30"/>
                      </a:lnTo>
                      <a:lnTo>
                        <a:pt x="102" y="36"/>
                      </a:lnTo>
                      <a:lnTo>
                        <a:pt x="108" y="42"/>
                      </a:lnTo>
                      <a:lnTo>
                        <a:pt x="114" y="48"/>
                      </a:lnTo>
                      <a:lnTo>
                        <a:pt x="120" y="48"/>
                      </a:lnTo>
                      <a:lnTo>
                        <a:pt x="132" y="54"/>
                      </a:lnTo>
                      <a:lnTo>
                        <a:pt x="144" y="60"/>
                      </a:lnTo>
                      <a:lnTo>
                        <a:pt x="150" y="78"/>
                      </a:lnTo>
                      <a:lnTo>
                        <a:pt x="150" y="102"/>
                      </a:lnTo>
                      <a:lnTo>
                        <a:pt x="132" y="114"/>
                      </a:lnTo>
                      <a:lnTo>
                        <a:pt x="96" y="120"/>
                      </a:lnTo>
                      <a:lnTo>
                        <a:pt x="48" y="120"/>
                      </a:lnTo>
                      <a:lnTo>
                        <a:pt x="30" y="114"/>
                      </a:lnTo>
                      <a:lnTo>
                        <a:pt x="18" y="108"/>
                      </a:lnTo>
                      <a:lnTo>
                        <a:pt x="12" y="102"/>
                      </a:lnTo>
                      <a:lnTo>
                        <a:pt x="6" y="90"/>
                      </a:lnTo>
                      <a:lnTo>
                        <a:pt x="0" y="72"/>
                      </a:lnTo>
                      <a:lnTo>
                        <a:pt x="0" y="60"/>
                      </a:lnTo>
                      <a:lnTo>
                        <a:pt x="6" y="42"/>
                      </a:lnTo>
                      <a:lnTo>
                        <a:pt x="18" y="24"/>
                      </a:lnTo>
                      <a:lnTo>
                        <a:pt x="30" y="12"/>
                      </a:lnTo>
                      <a:lnTo>
                        <a:pt x="48" y="6"/>
                      </a:lnTo>
                      <a:lnTo>
                        <a:pt x="66" y="0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2" name="Freeform 163">
                  <a:extLst>
                    <a:ext uri="{FF2B5EF4-FFF2-40B4-BE49-F238E27FC236}">
                      <a16:creationId xmlns:a16="http://schemas.microsoft.com/office/drawing/2014/main" id="{694E7033-CF34-4782-B19F-2857795869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71" y="-7686"/>
                  <a:ext cx="990" cy="900"/>
                </a:xfrm>
                <a:custGeom>
                  <a:avLst/>
                  <a:gdLst>
                    <a:gd name="T0" fmla="*/ 990 w 990"/>
                    <a:gd name="T1" fmla="*/ 60 h 900"/>
                    <a:gd name="T2" fmla="*/ 966 w 990"/>
                    <a:gd name="T3" fmla="*/ 180 h 900"/>
                    <a:gd name="T4" fmla="*/ 768 w 990"/>
                    <a:gd name="T5" fmla="*/ 270 h 900"/>
                    <a:gd name="T6" fmla="*/ 702 w 990"/>
                    <a:gd name="T7" fmla="*/ 312 h 900"/>
                    <a:gd name="T8" fmla="*/ 582 w 990"/>
                    <a:gd name="T9" fmla="*/ 414 h 900"/>
                    <a:gd name="T10" fmla="*/ 498 w 990"/>
                    <a:gd name="T11" fmla="*/ 444 h 900"/>
                    <a:gd name="T12" fmla="*/ 480 w 990"/>
                    <a:gd name="T13" fmla="*/ 498 h 900"/>
                    <a:gd name="T14" fmla="*/ 444 w 990"/>
                    <a:gd name="T15" fmla="*/ 522 h 900"/>
                    <a:gd name="T16" fmla="*/ 438 w 990"/>
                    <a:gd name="T17" fmla="*/ 552 h 900"/>
                    <a:gd name="T18" fmla="*/ 444 w 990"/>
                    <a:gd name="T19" fmla="*/ 588 h 900"/>
                    <a:gd name="T20" fmla="*/ 390 w 990"/>
                    <a:gd name="T21" fmla="*/ 606 h 900"/>
                    <a:gd name="T22" fmla="*/ 354 w 990"/>
                    <a:gd name="T23" fmla="*/ 624 h 900"/>
                    <a:gd name="T24" fmla="*/ 294 w 990"/>
                    <a:gd name="T25" fmla="*/ 660 h 900"/>
                    <a:gd name="T26" fmla="*/ 324 w 990"/>
                    <a:gd name="T27" fmla="*/ 690 h 900"/>
                    <a:gd name="T28" fmla="*/ 300 w 990"/>
                    <a:gd name="T29" fmla="*/ 726 h 900"/>
                    <a:gd name="T30" fmla="*/ 264 w 990"/>
                    <a:gd name="T31" fmla="*/ 756 h 900"/>
                    <a:gd name="T32" fmla="*/ 264 w 990"/>
                    <a:gd name="T33" fmla="*/ 780 h 900"/>
                    <a:gd name="T34" fmla="*/ 258 w 990"/>
                    <a:gd name="T35" fmla="*/ 816 h 900"/>
                    <a:gd name="T36" fmla="*/ 258 w 990"/>
                    <a:gd name="T37" fmla="*/ 882 h 900"/>
                    <a:gd name="T38" fmla="*/ 222 w 990"/>
                    <a:gd name="T39" fmla="*/ 894 h 900"/>
                    <a:gd name="T40" fmla="*/ 162 w 990"/>
                    <a:gd name="T41" fmla="*/ 882 h 900"/>
                    <a:gd name="T42" fmla="*/ 96 w 990"/>
                    <a:gd name="T43" fmla="*/ 900 h 900"/>
                    <a:gd name="T44" fmla="*/ 66 w 990"/>
                    <a:gd name="T45" fmla="*/ 882 h 900"/>
                    <a:gd name="T46" fmla="*/ 66 w 990"/>
                    <a:gd name="T47" fmla="*/ 864 h 900"/>
                    <a:gd name="T48" fmla="*/ 18 w 990"/>
                    <a:gd name="T49" fmla="*/ 864 h 900"/>
                    <a:gd name="T50" fmla="*/ 0 w 990"/>
                    <a:gd name="T51" fmla="*/ 846 h 900"/>
                    <a:gd name="T52" fmla="*/ 18 w 990"/>
                    <a:gd name="T53" fmla="*/ 828 h 900"/>
                    <a:gd name="T54" fmla="*/ 36 w 990"/>
                    <a:gd name="T55" fmla="*/ 798 h 900"/>
                    <a:gd name="T56" fmla="*/ 36 w 990"/>
                    <a:gd name="T57" fmla="*/ 768 h 900"/>
                    <a:gd name="T58" fmla="*/ 78 w 990"/>
                    <a:gd name="T59" fmla="*/ 744 h 900"/>
                    <a:gd name="T60" fmla="*/ 102 w 990"/>
                    <a:gd name="T61" fmla="*/ 690 h 900"/>
                    <a:gd name="T62" fmla="*/ 126 w 990"/>
                    <a:gd name="T63" fmla="*/ 618 h 900"/>
                    <a:gd name="T64" fmla="*/ 84 w 990"/>
                    <a:gd name="T65" fmla="*/ 576 h 900"/>
                    <a:gd name="T66" fmla="*/ 102 w 990"/>
                    <a:gd name="T67" fmla="*/ 522 h 900"/>
                    <a:gd name="T68" fmla="*/ 162 w 990"/>
                    <a:gd name="T69" fmla="*/ 510 h 900"/>
                    <a:gd name="T70" fmla="*/ 180 w 990"/>
                    <a:gd name="T71" fmla="*/ 480 h 900"/>
                    <a:gd name="T72" fmla="*/ 198 w 990"/>
                    <a:gd name="T73" fmla="*/ 432 h 900"/>
                    <a:gd name="T74" fmla="*/ 312 w 990"/>
                    <a:gd name="T75" fmla="*/ 354 h 900"/>
                    <a:gd name="T76" fmla="*/ 330 w 990"/>
                    <a:gd name="T77" fmla="*/ 318 h 900"/>
                    <a:gd name="T78" fmla="*/ 366 w 990"/>
                    <a:gd name="T79" fmla="*/ 270 h 900"/>
                    <a:gd name="T80" fmla="*/ 426 w 990"/>
                    <a:gd name="T81" fmla="*/ 270 h 900"/>
                    <a:gd name="T82" fmla="*/ 468 w 990"/>
                    <a:gd name="T83" fmla="*/ 252 h 900"/>
                    <a:gd name="T84" fmla="*/ 582 w 990"/>
                    <a:gd name="T85" fmla="*/ 210 h 900"/>
                    <a:gd name="T86" fmla="*/ 660 w 990"/>
                    <a:gd name="T87" fmla="*/ 180 h 900"/>
                    <a:gd name="T88" fmla="*/ 720 w 990"/>
                    <a:gd name="T89" fmla="*/ 150 h 900"/>
                    <a:gd name="T90" fmla="*/ 750 w 990"/>
                    <a:gd name="T91" fmla="*/ 126 h 900"/>
                    <a:gd name="T92" fmla="*/ 780 w 990"/>
                    <a:gd name="T93" fmla="*/ 114 h 900"/>
                    <a:gd name="T94" fmla="*/ 792 w 990"/>
                    <a:gd name="T95" fmla="*/ 54 h 900"/>
                    <a:gd name="T96" fmla="*/ 930 w 990"/>
                    <a:gd name="T97" fmla="*/ 0 h 9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990" h="900">
                      <a:moveTo>
                        <a:pt x="930" y="0"/>
                      </a:moveTo>
                      <a:lnTo>
                        <a:pt x="966" y="6"/>
                      </a:lnTo>
                      <a:lnTo>
                        <a:pt x="984" y="30"/>
                      </a:lnTo>
                      <a:lnTo>
                        <a:pt x="990" y="60"/>
                      </a:lnTo>
                      <a:lnTo>
                        <a:pt x="990" y="90"/>
                      </a:lnTo>
                      <a:lnTo>
                        <a:pt x="990" y="126"/>
                      </a:lnTo>
                      <a:lnTo>
                        <a:pt x="984" y="156"/>
                      </a:lnTo>
                      <a:lnTo>
                        <a:pt x="966" y="180"/>
                      </a:lnTo>
                      <a:lnTo>
                        <a:pt x="942" y="192"/>
                      </a:lnTo>
                      <a:lnTo>
                        <a:pt x="888" y="210"/>
                      </a:lnTo>
                      <a:lnTo>
                        <a:pt x="828" y="246"/>
                      </a:lnTo>
                      <a:lnTo>
                        <a:pt x="768" y="270"/>
                      </a:lnTo>
                      <a:lnTo>
                        <a:pt x="744" y="276"/>
                      </a:lnTo>
                      <a:lnTo>
                        <a:pt x="726" y="288"/>
                      </a:lnTo>
                      <a:lnTo>
                        <a:pt x="714" y="300"/>
                      </a:lnTo>
                      <a:lnTo>
                        <a:pt x="702" y="312"/>
                      </a:lnTo>
                      <a:lnTo>
                        <a:pt x="696" y="330"/>
                      </a:lnTo>
                      <a:lnTo>
                        <a:pt x="684" y="348"/>
                      </a:lnTo>
                      <a:lnTo>
                        <a:pt x="642" y="384"/>
                      </a:lnTo>
                      <a:lnTo>
                        <a:pt x="582" y="414"/>
                      </a:lnTo>
                      <a:lnTo>
                        <a:pt x="528" y="420"/>
                      </a:lnTo>
                      <a:lnTo>
                        <a:pt x="510" y="426"/>
                      </a:lnTo>
                      <a:lnTo>
                        <a:pt x="504" y="432"/>
                      </a:lnTo>
                      <a:lnTo>
                        <a:pt x="498" y="444"/>
                      </a:lnTo>
                      <a:lnTo>
                        <a:pt x="492" y="456"/>
                      </a:lnTo>
                      <a:lnTo>
                        <a:pt x="486" y="468"/>
                      </a:lnTo>
                      <a:lnTo>
                        <a:pt x="486" y="486"/>
                      </a:lnTo>
                      <a:lnTo>
                        <a:pt x="480" y="498"/>
                      </a:lnTo>
                      <a:lnTo>
                        <a:pt x="474" y="504"/>
                      </a:lnTo>
                      <a:lnTo>
                        <a:pt x="468" y="510"/>
                      </a:lnTo>
                      <a:lnTo>
                        <a:pt x="456" y="516"/>
                      </a:lnTo>
                      <a:lnTo>
                        <a:pt x="444" y="522"/>
                      </a:lnTo>
                      <a:lnTo>
                        <a:pt x="438" y="534"/>
                      </a:lnTo>
                      <a:lnTo>
                        <a:pt x="432" y="540"/>
                      </a:lnTo>
                      <a:lnTo>
                        <a:pt x="432" y="546"/>
                      </a:lnTo>
                      <a:lnTo>
                        <a:pt x="438" y="552"/>
                      </a:lnTo>
                      <a:lnTo>
                        <a:pt x="444" y="558"/>
                      </a:lnTo>
                      <a:lnTo>
                        <a:pt x="450" y="570"/>
                      </a:lnTo>
                      <a:lnTo>
                        <a:pt x="450" y="582"/>
                      </a:lnTo>
                      <a:lnTo>
                        <a:pt x="444" y="588"/>
                      </a:lnTo>
                      <a:lnTo>
                        <a:pt x="432" y="600"/>
                      </a:lnTo>
                      <a:lnTo>
                        <a:pt x="414" y="606"/>
                      </a:lnTo>
                      <a:lnTo>
                        <a:pt x="402" y="606"/>
                      </a:lnTo>
                      <a:lnTo>
                        <a:pt x="390" y="606"/>
                      </a:lnTo>
                      <a:lnTo>
                        <a:pt x="378" y="612"/>
                      </a:lnTo>
                      <a:lnTo>
                        <a:pt x="372" y="612"/>
                      </a:lnTo>
                      <a:lnTo>
                        <a:pt x="366" y="618"/>
                      </a:lnTo>
                      <a:lnTo>
                        <a:pt x="354" y="624"/>
                      </a:lnTo>
                      <a:lnTo>
                        <a:pt x="336" y="630"/>
                      </a:lnTo>
                      <a:lnTo>
                        <a:pt x="312" y="636"/>
                      </a:lnTo>
                      <a:lnTo>
                        <a:pt x="300" y="648"/>
                      </a:lnTo>
                      <a:lnTo>
                        <a:pt x="294" y="660"/>
                      </a:lnTo>
                      <a:lnTo>
                        <a:pt x="300" y="672"/>
                      </a:lnTo>
                      <a:lnTo>
                        <a:pt x="306" y="678"/>
                      </a:lnTo>
                      <a:lnTo>
                        <a:pt x="312" y="684"/>
                      </a:lnTo>
                      <a:lnTo>
                        <a:pt x="324" y="690"/>
                      </a:lnTo>
                      <a:lnTo>
                        <a:pt x="324" y="696"/>
                      </a:lnTo>
                      <a:lnTo>
                        <a:pt x="324" y="708"/>
                      </a:lnTo>
                      <a:lnTo>
                        <a:pt x="312" y="720"/>
                      </a:lnTo>
                      <a:lnTo>
                        <a:pt x="300" y="726"/>
                      </a:lnTo>
                      <a:lnTo>
                        <a:pt x="282" y="732"/>
                      </a:lnTo>
                      <a:lnTo>
                        <a:pt x="270" y="738"/>
                      </a:lnTo>
                      <a:lnTo>
                        <a:pt x="264" y="744"/>
                      </a:lnTo>
                      <a:lnTo>
                        <a:pt x="264" y="756"/>
                      </a:lnTo>
                      <a:lnTo>
                        <a:pt x="264" y="762"/>
                      </a:lnTo>
                      <a:lnTo>
                        <a:pt x="270" y="768"/>
                      </a:lnTo>
                      <a:lnTo>
                        <a:pt x="264" y="774"/>
                      </a:lnTo>
                      <a:lnTo>
                        <a:pt x="264" y="780"/>
                      </a:lnTo>
                      <a:lnTo>
                        <a:pt x="252" y="786"/>
                      </a:lnTo>
                      <a:lnTo>
                        <a:pt x="252" y="792"/>
                      </a:lnTo>
                      <a:lnTo>
                        <a:pt x="252" y="804"/>
                      </a:lnTo>
                      <a:lnTo>
                        <a:pt x="258" y="816"/>
                      </a:lnTo>
                      <a:lnTo>
                        <a:pt x="258" y="834"/>
                      </a:lnTo>
                      <a:lnTo>
                        <a:pt x="264" y="852"/>
                      </a:lnTo>
                      <a:lnTo>
                        <a:pt x="264" y="864"/>
                      </a:lnTo>
                      <a:lnTo>
                        <a:pt x="258" y="882"/>
                      </a:lnTo>
                      <a:lnTo>
                        <a:pt x="252" y="888"/>
                      </a:lnTo>
                      <a:lnTo>
                        <a:pt x="246" y="894"/>
                      </a:lnTo>
                      <a:lnTo>
                        <a:pt x="234" y="894"/>
                      </a:lnTo>
                      <a:lnTo>
                        <a:pt x="222" y="894"/>
                      </a:lnTo>
                      <a:lnTo>
                        <a:pt x="216" y="888"/>
                      </a:lnTo>
                      <a:lnTo>
                        <a:pt x="204" y="882"/>
                      </a:lnTo>
                      <a:lnTo>
                        <a:pt x="186" y="882"/>
                      </a:lnTo>
                      <a:lnTo>
                        <a:pt x="162" y="882"/>
                      </a:lnTo>
                      <a:lnTo>
                        <a:pt x="144" y="882"/>
                      </a:lnTo>
                      <a:lnTo>
                        <a:pt x="126" y="894"/>
                      </a:lnTo>
                      <a:lnTo>
                        <a:pt x="108" y="900"/>
                      </a:lnTo>
                      <a:lnTo>
                        <a:pt x="96" y="900"/>
                      </a:lnTo>
                      <a:lnTo>
                        <a:pt x="84" y="894"/>
                      </a:lnTo>
                      <a:lnTo>
                        <a:pt x="72" y="894"/>
                      </a:lnTo>
                      <a:lnTo>
                        <a:pt x="66" y="888"/>
                      </a:lnTo>
                      <a:lnTo>
                        <a:pt x="66" y="882"/>
                      </a:lnTo>
                      <a:lnTo>
                        <a:pt x="66" y="882"/>
                      </a:lnTo>
                      <a:lnTo>
                        <a:pt x="66" y="876"/>
                      </a:lnTo>
                      <a:lnTo>
                        <a:pt x="66" y="870"/>
                      </a:lnTo>
                      <a:lnTo>
                        <a:pt x="66" y="864"/>
                      </a:lnTo>
                      <a:lnTo>
                        <a:pt x="60" y="858"/>
                      </a:lnTo>
                      <a:lnTo>
                        <a:pt x="48" y="858"/>
                      </a:lnTo>
                      <a:lnTo>
                        <a:pt x="30" y="858"/>
                      </a:lnTo>
                      <a:lnTo>
                        <a:pt x="18" y="864"/>
                      </a:lnTo>
                      <a:lnTo>
                        <a:pt x="6" y="858"/>
                      </a:lnTo>
                      <a:lnTo>
                        <a:pt x="0" y="858"/>
                      </a:lnTo>
                      <a:lnTo>
                        <a:pt x="0" y="852"/>
                      </a:lnTo>
                      <a:lnTo>
                        <a:pt x="0" y="846"/>
                      </a:lnTo>
                      <a:lnTo>
                        <a:pt x="6" y="840"/>
                      </a:lnTo>
                      <a:lnTo>
                        <a:pt x="12" y="834"/>
                      </a:lnTo>
                      <a:lnTo>
                        <a:pt x="12" y="828"/>
                      </a:lnTo>
                      <a:lnTo>
                        <a:pt x="18" y="828"/>
                      </a:lnTo>
                      <a:lnTo>
                        <a:pt x="24" y="822"/>
                      </a:lnTo>
                      <a:lnTo>
                        <a:pt x="30" y="810"/>
                      </a:lnTo>
                      <a:lnTo>
                        <a:pt x="36" y="804"/>
                      </a:lnTo>
                      <a:lnTo>
                        <a:pt x="36" y="798"/>
                      </a:lnTo>
                      <a:lnTo>
                        <a:pt x="36" y="792"/>
                      </a:lnTo>
                      <a:lnTo>
                        <a:pt x="30" y="786"/>
                      </a:lnTo>
                      <a:lnTo>
                        <a:pt x="30" y="780"/>
                      </a:lnTo>
                      <a:lnTo>
                        <a:pt x="36" y="768"/>
                      </a:lnTo>
                      <a:lnTo>
                        <a:pt x="48" y="762"/>
                      </a:lnTo>
                      <a:lnTo>
                        <a:pt x="60" y="756"/>
                      </a:lnTo>
                      <a:lnTo>
                        <a:pt x="72" y="750"/>
                      </a:lnTo>
                      <a:lnTo>
                        <a:pt x="78" y="744"/>
                      </a:lnTo>
                      <a:lnTo>
                        <a:pt x="84" y="732"/>
                      </a:lnTo>
                      <a:lnTo>
                        <a:pt x="90" y="714"/>
                      </a:lnTo>
                      <a:lnTo>
                        <a:pt x="96" y="702"/>
                      </a:lnTo>
                      <a:lnTo>
                        <a:pt x="102" y="690"/>
                      </a:lnTo>
                      <a:lnTo>
                        <a:pt x="120" y="672"/>
                      </a:lnTo>
                      <a:lnTo>
                        <a:pt x="126" y="654"/>
                      </a:lnTo>
                      <a:lnTo>
                        <a:pt x="126" y="636"/>
                      </a:lnTo>
                      <a:lnTo>
                        <a:pt x="126" y="618"/>
                      </a:lnTo>
                      <a:lnTo>
                        <a:pt x="120" y="606"/>
                      </a:lnTo>
                      <a:lnTo>
                        <a:pt x="108" y="594"/>
                      </a:lnTo>
                      <a:lnTo>
                        <a:pt x="96" y="588"/>
                      </a:lnTo>
                      <a:lnTo>
                        <a:pt x="84" y="576"/>
                      </a:lnTo>
                      <a:lnTo>
                        <a:pt x="78" y="558"/>
                      </a:lnTo>
                      <a:lnTo>
                        <a:pt x="78" y="546"/>
                      </a:lnTo>
                      <a:lnTo>
                        <a:pt x="90" y="534"/>
                      </a:lnTo>
                      <a:lnTo>
                        <a:pt x="102" y="522"/>
                      </a:lnTo>
                      <a:lnTo>
                        <a:pt x="114" y="516"/>
                      </a:lnTo>
                      <a:lnTo>
                        <a:pt x="126" y="516"/>
                      </a:lnTo>
                      <a:lnTo>
                        <a:pt x="144" y="516"/>
                      </a:lnTo>
                      <a:lnTo>
                        <a:pt x="162" y="510"/>
                      </a:lnTo>
                      <a:lnTo>
                        <a:pt x="174" y="510"/>
                      </a:lnTo>
                      <a:lnTo>
                        <a:pt x="180" y="498"/>
                      </a:lnTo>
                      <a:lnTo>
                        <a:pt x="180" y="492"/>
                      </a:lnTo>
                      <a:lnTo>
                        <a:pt x="180" y="480"/>
                      </a:lnTo>
                      <a:lnTo>
                        <a:pt x="180" y="468"/>
                      </a:lnTo>
                      <a:lnTo>
                        <a:pt x="180" y="456"/>
                      </a:lnTo>
                      <a:lnTo>
                        <a:pt x="186" y="450"/>
                      </a:lnTo>
                      <a:lnTo>
                        <a:pt x="198" y="432"/>
                      </a:lnTo>
                      <a:lnTo>
                        <a:pt x="228" y="402"/>
                      </a:lnTo>
                      <a:lnTo>
                        <a:pt x="264" y="372"/>
                      </a:lnTo>
                      <a:lnTo>
                        <a:pt x="300" y="354"/>
                      </a:lnTo>
                      <a:lnTo>
                        <a:pt x="312" y="354"/>
                      </a:lnTo>
                      <a:lnTo>
                        <a:pt x="324" y="348"/>
                      </a:lnTo>
                      <a:lnTo>
                        <a:pt x="330" y="342"/>
                      </a:lnTo>
                      <a:lnTo>
                        <a:pt x="330" y="330"/>
                      </a:lnTo>
                      <a:lnTo>
                        <a:pt x="330" y="318"/>
                      </a:lnTo>
                      <a:lnTo>
                        <a:pt x="336" y="300"/>
                      </a:lnTo>
                      <a:lnTo>
                        <a:pt x="342" y="288"/>
                      </a:lnTo>
                      <a:lnTo>
                        <a:pt x="354" y="276"/>
                      </a:lnTo>
                      <a:lnTo>
                        <a:pt x="366" y="270"/>
                      </a:lnTo>
                      <a:lnTo>
                        <a:pt x="384" y="270"/>
                      </a:lnTo>
                      <a:lnTo>
                        <a:pt x="396" y="270"/>
                      </a:lnTo>
                      <a:lnTo>
                        <a:pt x="414" y="270"/>
                      </a:lnTo>
                      <a:lnTo>
                        <a:pt x="426" y="270"/>
                      </a:lnTo>
                      <a:lnTo>
                        <a:pt x="438" y="270"/>
                      </a:lnTo>
                      <a:lnTo>
                        <a:pt x="444" y="270"/>
                      </a:lnTo>
                      <a:lnTo>
                        <a:pt x="456" y="264"/>
                      </a:lnTo>
                      <a:lnTo>
                        <a:pt x="468" y="252"/>
                      </a:lnTo>
                      <a:lnTo>
                        <a:pt x="480" y="240"/>
                      </a:lnTo>
                      <a:lnTo>
                        <a:pt x="498" y="222"/>
                      </a:lnTo>
                      <a:lnTo>
                        <a:pt x="540" y="204"/>
                      </a:lnTo>
                      <a:lnTo>
                        <a:pt x="582" y="210"/>
                      </a:lnTo>
                      <a:lnTo>
                        <a:pt x="618" y="210"/>
                      </a:lnTo>
                      <a:lnTo>
                        <a:pt x="630" y="204"/>
                      </a:lnTo>
                      <a:lnTo>
                        <a:pt x="648" y="192"/>
                      </a:lnTo>
                      <a:lnTo>
                        <a:pt x="660" y="180"/>
                      </a:lnTo>
                      <a:lnTo>
                        <a:pt x="678" y="168"/>
                      </a:lnTo>
                      <a:lnTo>
                        <a:pt x="690" y="162"/>
                      </a:lnTo>
                      <a:lnTo>
                        <a:pt x="708" y="156"/>
                      </a:lnTo>
                      <a:lnTo>
                        <a:pt x="720" y="150"/>
                      </a:lnTo>
                      <a:lnTo>
                        <a:pt x="732" y="144"/>
                      </a:lnTo>
                      <a:lnTo>
                        <a:pt x="738" y="138"/>
                      </a:lnTo>
                      <a:lnTo>
                        <a:pt x="744" y="132"/>
                      </a:lnTo>
                      <a:lnTo>
                        <a:pt x="750" y="126"/>
                      </a:lnTo>
                      <a:lnTo>
                        <a:pt x="762" y="120"/>
                      </a:lnTo>
                      <a:lnTo>
                        <a:pt x="768" y="120"/>
                      </a:lnTo>
                      <a:lnTo>
                        <a:pt x="774" y="120"/>
                      </a:lnTo>
                      <a:lnTo>
                        <a:pt x="780" y="114"/>
                      </a:lnTo>
                      <a:lnTo>
                        <a:pt x="786" y="108"/>
                      </a:lnTo>
                      <a:lnTo>
                        <a:pt x="786" y="96"/>
                      </a:lnTo>
                      <a:lnTo>
                        <a:pt x="786" y="78"/>
                      </a:lnTo>
                      <a:lnTo>
                        <a:pt x="792" y="54"/>
                      </a:lnTo>
                      <a:lnTo>
                        <a:pt x="810" y="42"/>
                      </a:lnTo>
                      <a:lnTo>
                        <a:pt x="840" y="30"/>
                      </a:lnTo>
                      <a:lnTo>
                        <a:pt x="888" y="12"/>
                      </a:lnTo>
                      <a:lnTo>
                        <a:pt x="930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3" name="Freeform 164">
                  <a:extLst>
                    <a:ext uri="{FF2B5EF4-FFF2-40B4-BE49-F238E27FC236}">
                      <a16:creationId xmlns:a16="http://schemas.microsoft.com/office/drawing/2014/main" id="{9C17167D-A4F9-40C0-9283-791B07C5CF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9" y="-7698"/>
                  <a:ext cx="738" cy="582"/>
                </a:xfrm>
                <a:custGeom>
                  <a:avLst/>
                  <a:gdLst>
                    <a:gd name="T0" fmla="*/ 486 w 738"/>
                    <a:gd name="T1" fmla="*/ 12 h 582"/>
                    <a:gd name="T2" fmla="*/ 516 w 738"/>
                    <a:gd name="T3" fmla="*/ 48 h 582"/>
                    <a:gd name="T4" fmla="*/ 528 w 738"/>
                    <a:gd name="T5" fmla="*/ 102 h 582"/>
                    <a:gd name="T6" fmla="*/ 570 w 738"/>
                    <a:gd name="T7" fmla="*/ 96 h 582"/>
                    <a:gd name="T8" fmla="*/ 654 w 738"/>
                    <a:gd name="T9" fmla="*/ 90 h 582"/>
                    <a:gd name="T10" fmla="*/ 732 w 738"/>
                    <a:gd name="T11" fmla="*/ 120 h 582"/>
                    <a:gd name="T12" fmla="*/ 726 w 738"/>
                    <a:gd name="T13" fmla="*/ 150 h 582"/>
                    <a:gd name="T14" fmla="*/ 690 w 738"/>
                    <a:gd name="T15" fmla="*/ 192 h 582"/>
                    <a:gd name="T16" fmla="*/ 684 w 738"/>
                    <a:gd name="T17" fmla="*/ 228 h 582"/>
                    <a:gd name="T18" fmla="*/ 654 w 738"/>
                    <a:gd name="T19" fmla="*/ 252 h 582"/>
                    <a:gd name="T20" fmla="*/ 642 w 738"/>
                    <a:gd name="T21" fmla="*/ 288 h 582"/>
                    <a:gd name="T22" fmla="*/ 618 w 738"/>
                    <a:gd name="T23" fmla="*/ 318 h 582"/>
                    <a:gd name="T24" fmla="*/ 588 w 738"/>
                    <a:gd name="T25" fmla="*/ 366 h 582"/>
                    <a:gd name="T26" fmla="*/ 570 w 738"/>
                    <a:gd name="T27" fmla="*/ 414 h 582"/>
                    <a:gd name="T28" fmla="*/ 522 w 738"/>
                    <a:gd name="T29" fmla="*/ 450 h 582"/>
                    <a:gd name="T30" fmla="*/ 438 w 738"/>
                    <a:gd name="T31" fmla="*/ 570 h 582"/>
                    <a:gd name="T32" fmla="*/ 402 w 738"/>
                    <a:gd name="T33" fmla="*/ 570 h 582"/>
                    <a:gd name="T34" fmla="*/ 366 w 738"/>
                    <a:gd name="T35" fmla="*/ 540 h 582"/>
                    <a:gd name="T36" fmla="*/ 408 w 738"/>
                    <a:gd name="T37" fmla="*/ 426 h 582"/>
                    <a:gd name="T38" fmla="*/ 402 w 738"/>
                    <a:gd name="T39" fmla="*/ 402 h 582"/>
                    <a:gd name="T40" fmla="*/ 354 w 738"/>
                    <a:gd name="T41" fmla="*/ 426 h 582"/>
                    <a:gd name="T42" fmla="*/ 306 w 738"/>
                    <a:gd name="T43" fmla="*/ 444 h 582"/>
                    <a:gd name="T44" fmla="*/ 294 w 738"/>
                    <a:gd name="T45" fmla="*/ 420 h 582"/>
                    <a:gd name="T46" fmla="*/ 318 w 738"/>
                    <a:gd name="T47" fmla="*/ 378 h 582"/>
                    <a:gd name="T48" fmla="*/ 348 w 738"/>
                    <a:gd name="T49" fmla="*/ 306 h 582"/>
                    <a:gd name="T50" fmla="*/ 462 w 738"/>
                    <a:gd name="T51" fmla="*/ 246 h 582"/>
                    <a:gd name="T52" fmla="*/ 462 w 738"/>
                    <a:gd name="T53" fmla="*/ 228 h 582"/>
                    <a:gd name="T54" fmla="*/ 438 w 738"/>
                    <a:gd name="T55" fmla="*/ 216 h 582"/>
                    <a:gd name="T56" fmla="*/ 414 w 738"/>
                    <a:gd name="T57" fmla="*/ 204 h 582"/>
                    <a:gd name="T58" fmla="*/ 396 w 738"/>
                    <a:gd name="T59" fmla="*/ 180 h 582"/>
                    <a:gd name="T60" fmla="*/ 348 w 738"/>
                    <a:gd name="T61" fmla="*/ 192 h 582"/>
                    <a:gd name="T62" fmla="*/ 288 w 738"/>
                    <a:gd name="T63" fmla="*/ 246 h 582"/>
                    <a:gd name="T64" fmla="*/ 264 w 738"/>
                    <a:gd name="T65" fmla="*/ 330 h 582"/>
                    <a:gd name="T66" fmla="*/ 186 w 738"/>
                    <a:gd name="T67" fmla="*/ 330 h 582"/>
                    <a:gd name="T68" fmla="*/ 114 w 738"/>
                    <a:gd name="T69" fmla="*/ 288 h 582"/>
                    <a:gd name="T70" fmla="*/ 90 w 738"/>
                    <a:gd name="T71" fmla="*/ 246 h 582"/>
                    <a:gd name="T72" fmla="*/ 42 w 738"/>
                    <a:gd name="T73" fmla="*/ 252 h 582"/>
                    <a:gd name="T74" fmla="*/ 6 w 738"/>
                    <a:gd name="T75" fmla="*/ 234 h 582"/>
                    <a:gd name="T76" fmla="*/ 6 w 738"/>
                    <a:gd name="T77" fmla="*/ 174 h 582"/>
                    <a:gd name="T78" fmla="*/ 48 w 738"/>
                    <a:gd name="T79" fmla="*/ 126 h 582"/>
                    <a:gd name="T80" fmla="*/ 30 w 738"/>
                    <a:gd name="T81" fmla="*/ 84 h 582"/>
                    <a:gd name="T82" fmla="*/ 36 w 738"/>
                    <a:gd name="T83" fmla="*/ 54 h 582"/>
                    <a:gd name="T84" fmla="*/ 84 w 738"/>
                    <a:gd name="T85" fmla="*/ 42 h 582"/>
                    <a:gd name="T86" fmla="*/ 144 w 738"/>
                    <a:gd name="T87" fmla="*/ 66 h 582"/>
                    <a:gd name="T88" fmla="*/ 162 w 738"/>
                    <a:gd name="T89" fmla="*/ 36 h 582"/>
                    <a:gd name="T90" fmla="*/ 198 w 738"/>
                    <a:gd name="T91" fmla="*/ 12 h 582"/>
                    <a:gd name="T92" fmla="*/ 246 w 738"/>
                    <a:gd name="T93" fmla="*/ 48 h 582"/>
                    <a:gd name="T94" fmla="*/ 288 w 738"/>
                    <a:gd name="T95" fmla="*/ 60 h 582"/>
                    <a:gd name="T96" fmla="*/ 312 w 738"/>
                    <a:gd name="T97" fmla="*/ 90 h 582"/>
                    <a:gd name="T98" fmla="*/ 360 w 738"/>
                    <a:gd name="T99" fmla="*/ 90 h 582"/>
                    <a:gd name="T100" fmla="*/ 366 w 738"/>
                    <a:gd name="T101" fmla="*/ 36 h 5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738" h="582">
                      <a:moveTo>
                        <a:pt x="396" y="0"/>
                      </a:moveTo>
                      <a:lnTo>
                        <a:pt x="426" y="0"/>
                      </a:lnTo>
                      <a:lnTo>
                        <a:pt x="468" y="6"/>
                      </a:lnTo>
                      <a:lnTo>
                        <a:pt x="486" y="12"/>
                      </a:lnTo>
                      <a:lnTo>
                        <a:pt x="504" y="18"/>
                      </a:lnTo>
                      <a:lnTo>
                        <a:pt x="510" y="24"/>
                      </a:lnTo>
                      <a:lnTo>
                        <a:pt x="516" y="36"/>
                      </a:lnTo>
                      <a:lnTo>
                        <a:pt x="516" y="48"/>
                      </a:lnTo>
                      <a:lnTo>
                        <a:pt x="516" y="60"/>
                      </a:lnTo>
                      <a:lnTo>
                        <a:pt x="516" y="78"/>
                      </a:lnTo>
                      <a:lnTo>
                        <a:pt x="522" y="90"/>
                      </a:lnTo>
                      <a:lnTo>
                        <a:pt x="528" y="102"/>
                      </a:lnTo>
                      <a:lnTo>
                        <a:pt x="534" y="102"/>
                      </a:lnTo>
                      <a:lnTo>
                        <a:pt x="546" y="102"/>
                      </a:lnTo>
                      <a:lnTo>
                        <a:pt x="558" y="102"/>
                      </a:lnTo>
                      <a:lnTo>
                        <a:pt x="570" y="96"/>
                      </a:lnTo>
                      <a:lnTo>
                        <a:pt x="588" y="90"/>
                      </a:lnTo>
                      <a:lnTo>
                        <a:pt x="606" y="84"/>
                      </a:lnTo>
                      <a:lnTo>
                        <a:pt x="630" y="78"/>
                      </a:lnTo>
                      <a:lnTo>
                        <a:pt x="654" y="90"/>
                      </a:lnTo>
                      <a:lnTo>
                        <a:pt x="672" y="102"/>
                      </a:lnTo>
                      <a:lnTo>
                        <a:pt x="702" y="114"/>
                      </a:lnTo>
                      <a:lnTo>
                        <a:pt x="720" y="114"/>
                      </a:lnTo>
                      <a:lnTo>
                        <a:pt x="732" y="120"/>
                      </a:lnTo>
                      <a:lnTo>
                        <a:pt x="738" y="126"/>
                      </a:lnTo>
                      <a:lnTo>
                        <a:pt x="738" y="132"/>
                      </a:lnTo>
                      <a:lnTo>
                        <a:pt x="732" y="144"/>
                      </a:lnTo>
                      <a:lnTo>
                        <a:pt x="726" y="150"/>
                      </a:lnTo>
                      <a:lnTo>
                        <a:pt x="720" y="162"/>
                      </a:lnTo>
                      <a:lnTo>
                        <a:pt x="708" y="174"/>
                      </a:lnTo>
                      <a:lnTo>
                        <a:pt x="696" y="180"/>
                      </a:lnTo>
                      <a:lnTo>
                        <a:pt x="690" y="192"/>
                      </a:lnTo>
                      <a:lnTo>
                        <a:pt x="684" y="198"/>
                      </a:lnTo>
                      <a:lnTo>
                        <a:pt x="684" y="216"/>
                      </a:lnTo>
                      <a:lnTo>
                        <a:pt x="690" y="222"/>
                      </a:lnTo>
                      <a:lnTo>
                        <a:pt x="684" y="228"/>
                      </a:lnTo>
                      <a:lnTo>
                        <a:pt x="678" y="234"/>
                      </a:lnTo>
                      <a:lnTo>
                        <a:pt x="672" y="240"/>
                      </a:lnTo>
                      <a:lnTo>
                        <a:pt x="660" y="246"/>
                      </a:lnTo>
                      <a:lnTo>
                        <a:pt x="654" y="252"/>
                      </a:lnTo>
                      <a:lnTo>
                        <a:pt x="654" y="264"/>
                      </a:lnTo>
                      <a:lnTo>
                        <a:pt x="654" y="276"/>
                      </a:lnTo>
                      <a:lnTo>
                        <a:pt x="648" y="282"/>
                      </a:lnTo>
                      <a:lnTo>
                        <a:pt x="642" y="288"/>
                      </a:lnTo>
                      <a:lnTo>
                        <a:pt x="630" y="294"/>
                      </a:lnTo>
                      <a:lnTo>
                        <a:pt x="624" y="300"/>
                      </a:lnTo>
                      <a:lnTo>
                        <a:pt x="624" y="306"/>
                      </a:lnTo>
                      <a:lnTo>
                        <a:pt x="618" y="318"/>
                      </a:lnTo>
                      <a:lnTo>
                        <a:pt x="618" y="330"/>
                      </a:lnTo>
                      <a:lnTo>
                        <a:pt x="606" y="342"/>
                      </a:lnTo>
                      <a:lnTo>
                        <a:pt x="600" y="354"/>
                      </a:lnTo>
                      <a:lnTo>
                        <a:pt x="588" y="366"/>
                      </a:lnTo>
                      <a:lnTo>
                        <a:pt x="576" y="372"/>
                      </a:lnTo>
                      <a:lnTo>
                        <a:pt x="570" y="384"/>
                      </a:lnTo>
                      <a:lnTo>
                        <a:pt x="570" y="396"/>
                      </a:lnTo>
                      <a:lnTo>
                        <a:pt x="570" y="414"/>
                      </a:lnTo>
                      <a:lnTo>
                        <a:pt x="564" y="426"/>
                      </a:lnTo>
                      <a:lnTo>
                        <a:pt x="552" y="444"/>
                      </a:lnTo>
                      <a:lnTo>
                        <a:pt x="540" y="450"/>
                      </a:lnTo>
                      <a:lnTo>
                        <a:pt x="522" y="450"/>
                      </a:lnTo>
                      <a:lnTo>
                        <a:pt x="498" y="462"/>
                      </a:lnTo>
                      <a:lnTo>
                        <a:pt x="480" y="492"/>
                      </a:lnTo>
                      <a:lnTo>
                        <a:pt x="450" y="552"/>
                      </a:lnTo>
                      <a:lnTo>
                        <a:pt x="438" y="570"/>
                      </a:lnTo>
                      <a:lnTo>
                        <a:pt x="432" y="582"/>
                      </a:lnTo>
                      <a:lnTo>
                        <a:pt x="420" y="582"/>
                      </a:lnTo>
                      <a:lnTo>
                        <a:pt x="414" y="582"/>
                      </a:lnTo>
                      <a:lnTo>
                        <a:pt x="402" y="570"/>
                      </a:lnTo>
                      <a:lnTo>
                        <a:pt x="390" y="564"/>
                      </a:lnTo>
                      <a:lnTo>
                        <a:pt x="384" y="552"/>
                      </a:lnTo>
                      <a:lnTo>
                        <a:pt x="372" y="546"/>
                      </a:lnTo>
                      <a:lnTo>
                        <a:pt x="366" y="540"/>
                      </a:lnTo>
                      <a:lnTo>
                        <a:pt x="354" y="522"/>
                      </a:lnTo>
                      <a:lnTo>
                        <a:pt x="360" y="492"/>
                      </a:lnTo>
                      <a:lnTo>
                        <a:pt x="384" y="456"/>
                      </a:lnTo>
                      <a:lnTo>
                        <a:pt x="408" y="426"/>
                      </a:lnTo>
                      <a:lnTo>
                        <a:pt x="414" y="414"/>
                      </a:lnTo>
                      <a:lnTo>
                        <a:pt x="414" y="408"/>
                      </a:lnTo>
                      <a:lnTo>
                        <a:pt x="408" y="402"/>
                      </a:lnTo>
                      <a:lnTo>
                        <a:pt x="402" y="402"/>
                      </a:lnTo>
                      <a:lnTo>
                        <a:pt x="390" y="402"/>
                      </a:lnTo>
                      <a:lnTo>
                        <a:pt x="378" y="408"/>
                      </a:lnTo>
                      <a:lnTo>
                        <a:pt x="366" y="414"/>
                      </a:lnTo>
                      <a:lnTo>
                        <a:pt x="354" y="426"/>
                      </a:lnTo>
                      <a:lnTo>
                        <a:pt x="342" y="432"/>
                      </a:lnTo>
                      <a:lnTo>
                        <a:pt x="330" y="438"/>
                      </a:lnTo>
                      <a:lnTo>
                        <a:pt x="312" y="444"/>
                      </a:lnTo>
                      <a:lnTo>
                        <a:pt x="306" y="444"/>
                      </a:lnTo>
                      <a:lnTo>
                        <a:pt x="300" y="444"/>
                      </a:lnTo>
                      <a:lnTo>
                        <a:pt x="294" y="438"/>
                      </a:lnTo>
                      <a:lnTo>
                        <a:pt x="294" y="432"/>
                      </a:lnTo>
                      <a:lnTo>
                        <a:pt x="294" y="420"/>
                      </a:lnTo>
                      <a:lnTo>
                        <a:pt x="300" y="414"/>
                      </a:lnTo>
                      <a:lnTo>
                        <a:pt x="306" y="402"/>
                      </a:lnTo>
                      <a:lnTo>
                        <a:pt x="312" y="390"/>
                      </a:lnTo>
                      <a:lnTo>
                        <a:pt x="318" y="378"/>
                      </a:lnTo>
                      <a:lnTo>
                        <a:pt x="318" y="360"/>
                      </a:lnTo>
                      <a:lnTo>
                        <a:pt x="324" y="336"/>
                      </a:lnTo>
                      <a:lnTo>
                        <a:pt x="336" y="324"/>
                      </a:lnTo>
                      <a:lnTo>
                        <a:pt x="348" y="306"/>
                      </a:lnTo>
                      <a:lnTo>
                        <a:pt x="354" y="294"/>
                      </a:lnTo>
                      <a:lnTo>
                        <a:pt x="378" y="282"/>
                      </a:lnTo>
                      <a:lnTo>
                        <a:pt x="420" y="264"/>
                      </a:lnTo>
                      <a:lnTo>
                        <a:pt x="462" y="246"/>
                      </a:lnTo>
                      <a:lnTo>
                        <a:pt x="468" y="240"/>
                      </a:lnTo>
                      <a:lnTo>
                        <a:pt x="468" y="234"/>
                      </a:lnTo>
                      <a:lnTo>
                        <a:pt x="468" y="234"/>
                      </a:lnTo>
                      <a:lnTo>
                        <a:pt x="462" y="228"/>
                      </a:lnTo>
                      <a:lnTo>
                        <a:pt x="450" y="228"/>
                      </a:lnTo>
                      <a:lnTo>
                        <a:pt x="444" y="228"/>
                      </a:lnTo>
                      <a:lnTo>
                        <a:pt x="438" y="222"/>
                      </a:lnTo>
                      <a:lnTo>
                        <a:pt x="438" y="216"/>
                      </a:lnTo>
                      <a:lnTo>
                        <a:pt x="438" y="210"/>
                      </a:lnTo>
                      <a:lnTo>
                        <a:pt x="432" y="204"/>
                      </a:lnTo>
                      <a:lnTo>
                        <a:pt x="420" y="204"/>
                      </a:lnTo>
                      <a:lnTo>
                        <a:pt x="414" y="204"/>
                      </a:lnTo>
                      <a:lnTo>
                        <a:pt x="408" y="204"/>
                      </a:lnTo>
                      <a:lnTo>
                        <a:pt x="402" y="198"/>
                      </a:lnTo>
                      <a:lnTo>
                        <a:pt x="402" y="192"/>
                      </a:lnTo>
                      <a:lnTo>
                        <a:pt x="396" y="180"/>
                      </a:lnTo>
                      <a:lnTo>
                        <a:pt x="390" y="174"/>
                      </a:lnTo>
                      <a:lnTo>
                        <a:pt x="378" y="174"/>
                      </a:lnTo>
                      <a:lnTo>
                        <a:pt x="366" y="180"/>
                      </a:lnTo>
                      <a:lnTo>
                        <a:pt x="348" y="192"/>
                      </a:lnTo>
                      <a:lnTo>
                        <a:pt x="330" y="204"/>
                      </a:lnTo>
                      <a:lnTo>
                        <a:pt x="312" y="216"/>
                      </a:lnTo>
                      <a:lnTo>
                        <a:pt x="300" y="228"/>
                      </a:lnTo>
                      <a:lnTo>
                        <a:pt x="288" y="246"/>
                      </a:lnTo>
                      <a:lnTo>
                        <a:pt x="276" y="258"/>
                      </a:lnTo>
                      <a:lnTo>
                        <a:pt x="270" y="282"/>
                      </a:lnTo>
                      <a:lnTo>
                        <a:pt x="264" y="306"/>
                      </a:lnTo>
                      <a:lnTo>
                        <a:pt x="264" y="330"/>
                      </a:lnTo>
                      <a:lnTo>
                        <a:pt x="264" y="348"/>
                      </a:lnTo>
                      <a:lnTo>
                        <a:pt x="240" y="348"/>
                      </a:lnTo>
                      <a:lnTo>
                        <a:pt x="216" y="342"/>
                      </a:lnTo>
                      <a:lnTo>
                        <a:pt x="186" y="330"/>
                      </a:lnTo>
                      <a:lnTo>
                        <a:pt x="156" y="312"/>
                      </a:lnTo>
                      <a:lnTo>
                        <a:pt x="138" y="300"/>
                      </a:lnTo>
                      <a:lnTo>
                        <a:pt x="126" y="294"/>
                      </a:lnTo>
                      <a:lnTo>
                        <a:pt x="114" y="288"/>
                      </a:lnTo>
                      <a:lnTo>
                        <a:pt x="108" y="276"/>
                      </a:lnTo>
                      <a:lnTo>
                        <a:pt x="102" y="270"/>
                      </a:lnTo>
                      <a:lnTo>
                        <a:pt x="102" y="258"/>
                      </a:lnTo>
                      <a:lnTo>
                        <a:pt x="90" y="246"/>
                      </a:lnTo>
                      <a:lnTo>
                        <a:pt x="84" y="240"/>
                      </a:lnTo>
                      <a:lnTo>
                        <a:pt x="72" y="240"/>
                      </a:lnTo>
                      <a:lnTo>
                        <a:pt x="54" y="246"/>
                      </a:lnTo>
                      <a:lnTo>
                        <a:pt x="42" y="252"/>
                      </a:lnTo>
                      <a:lnTo>
                        <a:pt x="30" y="258"/>
                      </a:lnTo>
                      <a:lnTo>
                        <a:pt x="18" y="252"/>
                      </a:lnTo>
                      <a:lnTo>
                        <a:pt x="12" y="246"/>
                      </a:lnTo>
                      <a:lnTo>
                        <a:pt x="6" y="234"/>
                      </a:lnTo>
                      <a:lnTo>
                        <a:pt x="0" y="216"/>
                      </a:lnTo>
                      <a:lnTo>
                        <a:pt x="0" y="198"/>
                      </a:lnTo>
                      <a:lnTo>
                        <a:pt x="0" y="186"/>
                      </a:lnTo>
                      <a:lnTo>
                        <a:pt x="6" y="174"/>
                      </a:lnTo>
                      <a:lnTo>
                        <a:pt x="18" y="162"/>
                      </a:lnTo>
                      <a:lnTo>
                        <a:pt x="36" y="150"/>
                      </a:lnTo>
                      <a:lnTo>
                        <a:pt x="48" y="138"/>
                      </a:lnTo>
                      <a:lnTo>
                        <a:pt x="48" y="126"/>
                      </a:lnTo>
                      <a:lnTo>
                        <a:pt x="48" y="114"/>
                      </a:lnTo>
                      <a:lnTo>
                        <a:pt x="42" y="102"/>
                      </a:lnTo>
                      <a:lnTo>
                        <a:pt x="36" y="90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0" y="72"/>
                      </a:lnTo>
                      <a:lnTo>
                        <a:pt x="30" y="66"/>
                      </a:lnTo>
                      <a:lnTo>
                        <a:pt x="36" y="54"/>
                      </a:lnTo>
                      <a:lnTo>
                        <a:pt x="42" y="48"/>
                      </a:lnTo>
                      <a:lnTo>
                        <a:pt x="54" y="42"/>
                      </a:lnTo>
                      <a:lnTo>
                        <a:pt x="66" y="36"/>
                      </a:lnTo>
                      <a:lnTo>
                        <a:pt x="84" y="42"/>
                      </a:lnTo>
                      <a:lnTo>
                        <a:pt x="102" y="48"/>
                      </a:lnTo>
                      <a:lnTo>
                        <a:pt x="120" y="60"/>
                      </a:lnTo>
                      <a:lnTo>
                        <a:pt x="132" y="66"/>
                      </a:lnTo>
                      <a:lnTo>
                        <a:pt x="144" y="66"/>
                      </a:lnTo>
                      <a:lnTo>
                        <a:pt x="150" y="60"/>
                      </a:lnTo>
                      <a:lnTo>
                        <a:pt x="156" y="54"/>
                      </a:lnTo>
                      <a:lnTo>
                        <a:pt x="162" y="48"/>
                      </a:lnTo>
                      <a:lnTo>
                        <a:pt x="162" y="36"/>
                      </a:lnTo>
                      <a:lnTo>
                        <a:pt x="168" y="30"/>
                      </a:lnTo>
                      <a:lnTo>
                        <a:pt x="174" y="18"/>
                      </a:lnTo>
                      <a:lnTo>
                        <a:pt x="186" y="12"/>
                      </a:lnTo>
                      <a:lnTo>
                        <a:pt x="198" y="12"/>
                      </a:lnTo>
                      <a:lnTo>
                        <a:pt x="210" y="18"/>
                      </a:lnTo>
                      <a:lnTo>
                        <a:pt x="222" y="30"/>
                      </a:lnTo>
                      <a:lnTo>
                        <a:pt x="234" y="42"/>
                      </a:lnTo>
                      <a:lnTo>
                        <a:pt x="246" y="48"/>
                      </a:lnTo>
                      <a:lnTo>
                        <a:pt x="264" y="48"/>
                      </a:lnTo>
                      <a:lnTo>
                        <a:pt x="276" y="48"/>
                      </a:lnTo>
                      <a:lnTo>
                        <a:pt x="282" y="54"/>
                      </a:lnTo>
                      <a:lnTo>
                        <a:pt x="288" y="60"/>
                      </a:lnTo>
                      <a:lnTo>
                        <a:pt x="288" y="66"/>
                      </a:lnTo>
                      <a:lnTo>
                        <a:pt x="294" y="72"/>
                      </a:lnTo>
                      <a:lnTo>
                        <a:pt x="300" y="78"/>
                      </a:lnTo>
                      <a:lnTo>
                        <a:pt x="312" y="90"/>
                      </a:lnTo>
                      <a:lnTo>
                        <a:pt x="330" y="96"/>
                      </a:lnTo>
                      <a:lnTo>
                        <a:pt x="342" y="102"/>
                      </a:lnTo>
                      <a:lnTo>
                        <a:pt x="354" y="96"/>
                      </a:lnTo>
                      <a:lnTo>
                        <a:pt x="360" y="90"/>
                      </a:lnTo>
                      <a:lnTo>
                        <a:pt x="366" y="84"/>
                      </a:lnTo>
                      <a:lnTo>
                        <a:pt x="372" y="72"/>
                      </a:lnTo>
                      <a:lnTo>
                        <a:pt x="372" y="54"/>
                      </a:lnTo>
                      <a:lnTo>
                        <a:pt x="366" y="36"/>
                      </a:lnTo>
                      <a:lnTo>
                        <a:pt x="366" y="18"/>
                      </a:lnTo>
                      <a:lnTo>
                        <a:pt x="372" y="0"/>
                      </a:lnTo>
                      <a:lnTo>
                        <a:pt x="396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4" name="Freeform 165">
                  <a:extLst>
                    <a:ext uri="{FF2B5EF4-FFF2-40B4-BE49-F238E27FC236}">
                      <a16:creationId xmlns:a16="http://schemas.microsoft.com/office/drawing/2014/main" id="{CDFE56B0-77B9-40F8-A036-5F1D2B0840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5" y="-7920"/>
                  <a:ext cx="702" cy="312"/>
                </a:xfrm>
                <a:custGeom>
                  <a:avLst/>
                  <a:gdLst>
                    <a:gd name="T0" fmla="*/ 180 w 702"/>
                    <a:gd name="T1" fmla="*/ 6 h 312"/>
                    <a:gd name="T2" fmla="*/ 180 w 702"/>
                    <a:gd name="T3" fmla="*/ 48 h 312"/>
                    <a:gd name="T4" fmla="*/ 204 w 702"/>
                    <a:gd name="T5" fmla="*/ 96 h 312"/>
                    <a:gd name="T6" fmla="*/ 318 w 702"/>
                    <a:gd name="T7" fmla="*/ 132 h 312"/>
                    <a:gd name="T8" fmla="*/ 348 w 702"/>
                    <a:gd name="T9" fmla="*/ 132 h 312"/>
                    <a:gd name="T10" fmla="*/ 342 w 702"/>
                    <a:gd name="T11" fmla="*/ 96 h 312"/>
                    <a:gd name="T12" fmla="*/ 324 w 702"/>
                    <a:gd name="T13" fmla="*/ 60 h 312"/>
                    <a:gd name="T14" fmla="*/ 336 w 702"/>
                    <a:gd name="T15" fmla="*/ 36 h 312"/>
                    <a:gd name="T16" fmla="*/ 384 w 702"/>
                    <a:gd name="T17" fmla="*/ 36 h 312"/>
                    <a:gd name="T18" fmla="*/ 414 w 702"/>
                    <a:gd name="T19" fmla="*/ 66 h 312"/>
                    <a:gd name="T20" fmla="*/ 450 w 702"/>
                    <a:gd name="T21" fmla="*/ 78 h 312"/>
                    <a:gd name="T22" fmla="*/ 486 w 702"/>
                    <a:gd name="T23" fmla="*/ 84 h 312"/>
                    <a:gd name="T24" fmla="*/ 504 w 702"/>
                    <a:gd name="T25" fmla="*/ 72 h 312"/>
                    <a:gd name="T26" fmla="*/ 582 w 702"/>
                    <a:gd name="T27" fmla="*/ 78 h 312"/>
                    <a:gd name="T28" fmla="*/ 660 w 702"/>
                    <a:gd name="T29" fmla="*/ 114 h 312"/>
                    <a:gd name="T30" fmla="*/ 696 w 702"/>
                    <a:gd name="T31" fmla="*/ 132 h 312"/>
                    <a:gd name="T32" fmla="*/ 702 w 702"/>
                    <a:gd name="T33" fmla="*/ 168 h 312"/>
                    <a:gd name="T34" fmla="*/ 666 w 702"/>
                    <a:gd name="T35" fmla="*/ 222 h 312"/>
                    <a:gd name="T36" fmla="*/ 636 w 702"/>
                    <a:gd name="T37" fmla="*/ 240 h 312"/>
                    <a:gd name="T38" fmla="*/ 606 w 702"/>
                    <a:gd name="T39" fmla="*/ 240 h 312"/>
                    <a:gd name="T40" fmla="*/ 600 w 702"/>
                    <a:gd name="T41" fmla="*/ 264 h 312"/>
                    <a:gd name="T42" fmla="*/ 564 w 702"/>
                    <a:gd name="T43" fmla="*/ 282 h 312"/>
                    <a:gd name="T44" fmla="*/ 510 w 702"/>
                    <a:gd name="T45" fmla="*/ 276 h 312"/>
                    <a:gd name="T46" fmla="*/ 462 w 702"/>
                    <a:gd name="T47" fmla="*/ 282 h 312"/>
                    <a:gd name="T48" fmla="*/ 420 w 702"/>
                    <a:gd name="T49" fmla="*/ 312 h 312"/>
                    <a:gd name="T50" fmla="*/ 306 w 702"/>
                    <a:gd name="T51" fmla="*/ 306 h 312"/>
                    <a:gd name="T52" fmla="*/ 240 w 702"/>
                    <a:gd name="T53" fmla="*/ 288 h 312"/>
                    <a:gd name="T54" fmla="*/ 204 w 702"/>
                    <a:gd name="T55" fmla="*/ 270 h 312"/>
                    <a:gd name="T56" fmla="*/ 240 w 702"/>
                    <a:gd name="T57" fmla="*/ 246 h 312"/>
                    <a:gd name="T58" fmla="*/ 288 w 702"/>
                    <a:gd name="T59" fmla="*/ 228 h 312"/>
                    <a:gd name="T60" fmla="*/ 300 w 702"/>
                    <a:gd name="T61" fmla="*/ 204 h 312"/>
                    <a:gd name="T62" fmla="*/ 282 w 702"/>
                    <a:gd name="T63" fmla="*/ 192 h 312"/>
                    <a:gd name="T64" fmla="*/ 228 w 702"/>
                    <a:gd name="T65" fmla="*/ 204 h 312"/>
                    <a:gd name="T66" fmla="*/ 84 w 702"/>
                    <a:gd name="T67" fmla="*/ 246 h 312"/>
                    <a:gd name="T68" fmla="*/ 54 w 702"/>
                    <a:gd name="T69" fmla="*/ 240 h 312"/>
                    <a:gd name="T70" fmla="*/ 42 w 702"/>
                    <a:gd name="T71" fmla="*/ 204 h 312"/>
                    <a:gd name="T72" fmla="*/ 6 w 702"/>
                    <a:gd name="T73" fmla="*/ 174 h 312"/>
                    <a:gd name="T74" fmla="*/ 6 w 702"/>
                    <a:gd name="T75" fmla="*/ 138 h 312"/>
                    <a:gd name="T76" fmla="*/ 30 w 702"/>
                    <a:gd name="T77" fmla="*/ 132 h 312"/>
                    <a:gd name="T78" fmla="*/ 78 w 702"/>
                    <a:gd name="T79" fmla="*/ 144 h 312"/>
                    <a:gd name="T80" fmla="*/ 108 w 702"/>
                    <a:gd name="T81" fmla="*/ 126 h 312"/>
                    <a:gd name="T82" fmla="*/ 96 w 702"/>
                    <a:gd name="T83" fmla="*/ 90 h 312"/>
                    <a:gd name="T84" fmla="*/ 78 w 702"/>
                    <a:gd name="T85" fmla="*/ 48 h 312"/>
                    <a:gd name="T86" fmla="*/ 120 w 702"/>
                    <a:gd name="T87" fmla="*/ 6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702" h="312">
                      <a:moveTo>
                        <a:pt x="162" y="0"/>
                      </a:moveTo>
                      <a:lnTo>
                        <a:pt x="174" y="0"/>
                      </a:lnTo>
                      <a:lnTo>
                        <a:pt x="180" y="6"/>
                      </a:lnTo>
                      <a:lnTo>
                        <a:pt x="186" y="18"/>
                      </a:lnTo>
                      <a:lnTo>
                        <a:pt x="180" y="30"/>
                      </a:lnTo>
                      <a:lnTo>
                        <a:pt x="180" y="48"/>
                      </a:lnTo>
                      <a:lnTo>
                        <a:pt x="180" y="66"/>
                      </a:lnTo>
                      <a:lnTo>
                        <a:pt x="192" y="84"/>
                      </a:lnTo>
                      <a:lnTo>
                        <a:pt x="204" y="96"/>
                      </a:lnTo>
                      <a:lnTo>
                        <a:pt x="222" y="102"/>
                      </a:lnTo>
                      <a:lnTo>
                        <a:pt x="264" y="114"/>
                      </a:lnTo>
                      <a:lnTo>
                        <a:pt x="318" y="132"/>
                      </a:lnTo>
                      <a:lnTo>
                        <a:pt x="330" y="138"/>
                      </a:lnTo>
                      <a:lnTo>
                        <a:pt x="342" y="138"/>
                      </a:lnTo>
                      <a:lnTo>
                        <a:pt x="348" y="132"/>
                      </a:lnTo>
                      <a:lnTo>
                        <a:pt x="354" y="126"/>
                      </a:lnTo>
                      <a:lnTo>
                        <a:pt x="348" y="114"/>
                      </a:lnTo>
                      <a:lnTo>
                        <a:pt x="342" y="96"/>
                      </a:lnTo>
                      <a:lnTo>
                        <a:pt x="336" y="84"/>
                      </a:lnTo>
                      <a:lnTo>
                        <a:pt x="330" y="72"/>
                      </a:lnTo>
                      <a:lnTo>
                        <a:pt x="324" y="60"/>
                      </a:lnTo>
                      <a:lnTo>
                        <a:pt x="324" y="54"/>
                      </a:lnTo>
                      <a:lnTo>
                        <a:pt x="330" y="42"/>
                      </a:lnTo>
                      <a:lnTo>
                        <a:pt x="336" y="36"/>
                      </a:lnTo>
                      <a:lnTo>
                        <a:pt x="354" y="36"/>
                      </a:lnTo>
                      <a:lnTo>
                        <a:pt x="372" y="36"/>
                      </a:lnTo>
                      <a:lnTo>
                        <a:pt x="384" y="36"/>
                      </a:lnTo>
                      <a:lnTo>
                        <a:pt x="396" y="48"/>
                      </a:lnTo>
                      <a:lnTo>
                        <a:pt x="408" y="60"/>
                      </a:lnTo>
                      <a:lnTo>
                        <a:pt x="414" y="66"/>
                      </a:lnTo>
                      <a:lnTo>
                        <a:pt x="426" y="78"/>
                      </a:lnTo>
                      <a:lnTo>
                        <a:pt x="438" y="78"/>
                      </a:lnTo>
                      <a:lnTo>
                        <a:pt x="450" y="78"/>
                      </a:lnTo>
                      <a:lnTo>
                        <a:pt x="462" y="78"/>
                      </a:lnTo>
                      <a:lnTo>
                        <a:pt x="474" y="78"/>
                      </a:lnTo>
                      <a:lnTo>
                        <a:pt x="486" y="84"/>
                      </a:lnTo>
                      <a:lnTo>
                        <a:pt x="492" y="84"/>
                      </a:lnTo>
                      <a:lnTo>
                        <a:pt x="504" y="78"/>
                      </a:lnTo>
                      <a:lnTo>
                        <a:pt x="504" y="72"/>
                      </a:lnTo>
                      <a:lnTo>
                        <a:pt x="516" y="60"/>
                      </a:lnTo>
                      <a:lnTo>
                        <a:pt x="546" y="66"/>
                      </a:lnTo>
                      <a:lnTo>
                        <a:pt x="582" y="78"/>
                      </a:lnTo>
                      <a:lnTo>
                        <a:pt x="624" y="96"/>
                      </a:lnTo>
                      <a:lnTo>
                        <a:pt x="642" y="108"/>
                      </a:lnTo>
                      <a:lnTo>
                        <a:pt x="660" y="114"/>
                      </a:lnTo>
                      <a:lnTo>
                        <a:pt x="678" y="120"/>
                      </a:lnTo>
                      <a:lnTo>
                        <a:pt x="684" y="126"/>
                      </a:lnTo>
                      <a:lnTo>
                        <a:pt x="696" y="132"/>
                      </a:lnTo>
                      <a:lnTo>
                        <a:pt x="702" y="138"/>
                      </a:lnTo>
                      <a:lnTo>
                        <a:pt x="702" y="150"/>
                      </a:lnTo>
                      <a:lnTo>
                        <a:pt x="702" y="168"/>
                      </a:lnTo>
                      <a:lnTo>
                        <a:pt x="690" y="180"/>
                      </a:lnTo>
                      <a:lnTo>
                        <a:pt x="678" y="198"/>
                      </a:lnTo>
                      <a:lnTo>
                        <a:pt x="666" y="222"/>
                      </a:lnTo>
                      <a:lnTo>
                        <a:pt x="654" y="228"/>
                      </a:lnTo>
                      <a:lnTo>
                        <a:pt x="642" y="234"/>
                      </a:lnTo>
                      <a:lnTo>
                        <a:pt x="636" y="240"/>
                      </a:lnTo>
                      <a:lnTo>
                        <a:pt x="624" y="240"/>
                      </a:lnTo>
                      <a:lnTo>
                        <a:pt x="612" y="240"/>
                      </a:lnTo>
                      <a:lnTo>
                        <a:pt x="606" y="240"/>
                      </a:lnTo>
                      <a:lnTo>
                        <a:pt x="600" y="246"/>
                      </a:lnTo>
                      <a:lnTo>
                        <a:pt x="600" y="252"/>
                      </a:lnTo>
                      <a:lnTo>
                        <a:pt x="600" y="264"/>
                      </a:lnTo>
                      <a:lnTo>
                        <a:pt x="594" y="276"/>
                      </a:lnTo>
                      <a:lnTo>
                        <a:pt x="582" y="282"/>
                      </a:lnTo>
                      <a:lnTo>
                        <a:pt x="564" y="282"/>
                      </a:lnTo>
                      <a:lnTo>
                        <a:pt x="552" y="282"/>
                      </a:lnTo>
                      <a:lnTo>
                        <a:pt x="534" y="282"/>
                      </a:lnTo>
                      <a:lnTo>
                        <a:pt x="510" y="276"/>
                      </a:lnTo>
                      <a:lnTo>
                        <a:pt x="492" y="276"/>
                      </a:lnTo>
                      <a:lnTo>
                        <a:pt x="474" y="276"/>
                      </a:lnTo>
                      <a:lnTo>
                        <a:pt x="462" y="282"/>
                      </a:lnTo>
                      <a:lnTo>
                        <a:pt x="450" y="288"/>
                      </a:lnTo>
                      <a:lnTo>
                        <a:pt x="444" y="300"/>
                      </a:lnTo>
                      <a:lnTo>
                        <a:pt x="420" y="312"/>
                      </a:lnTo>
                      <a:lnTo>
                        <a:pt x="384" y="312"/>
                      </a:lnTo>
                      <a:lnTo>
                        <a:pt x="342" y="312"/>
                      </a:lnTo>
                      <a:lnTo>
                        <a:pt x="306" y="306"/>
                      </a:lnTo>
                      <a:lnTo>
                        <a:pt x="276" y="300"/>
                      </a:lnTo>
                      <a:lnTo>
                        <a:pt x="258" y="294"/>
                      </a:lnTo>
                      <a:lnTo>
                        <a:pt x="240" y="288"/>
                      </a:lnTo>
                      <a:lnTo>
                        <a:pt x="222" y="282"/>
                      </a:lnTo>
                      <a:lnTo>
                        <a:pt x="210" y="276"/>
                      </a:lnTo>
                      <a:lnTo>
                        <a:pt x="204" y="270"/>
                      </a:lnTo>
                      <a:lnTo>
                        <a:pt x="210" y="264"/>
                      </a:lnTo>
                      <a:lnTo>
                        <a:pt x="222" y="258"/>
                      </a:lnTo>
                      <a:lnTo>
                        <a:pt x="240" y="246"/>
                      </a:lnTo>
                      <a:lnTo>
                        <a:pt x="258" y="240"/>
                      </a:lnTo>
                      <a:lnTo>
                        <a:pt x="276" y="234"/>
                      </a:lnTo>
                      <a:lnTo>
                        <a:pt x="288" y="228"/>
                      </a:lnTo>
                      <a:lnTo>
                        <a:pt x="300" y="222"/>
                      </a:lnTo>
                      <a:lnTo>
                        <a:pt x="300" y="216"/>
                      </a:lnTo>
                      <a:lnTo>
                        <a:pt x="300" y="204"/>
                      </a:lnTo>
                      <a:lnTo>
                        <a:pt x="300" y="192"/>
                      </a:lnTo>
                      <a:lnTo>
                        <a:pt x="294" y="192"/>
                      </a:lnTo>
                      <a:lnTo>
                        <a:pt x="282" y="192"/>
                      </a:lnTo>
                      <a:lnTo>
                        <a:pt x="270" y="192"/>
                      </a:lnTo>
                      <a:lnTo>
                        <a:pt x="252" y="198"/>
                      </a:lnTo>
                      <a:lnTo>
                        <a:pt x="228" y="204"/>
                      </a:lnTo>
                      <a:lnTo>
                        <a:pt x="162" y="210"/>
                      </a:lnTo>
                      <a:lnTo>
                        <a:pt x="102" y="234"/>
                      </a:lnTo>
                      <a:lnTo>
                        <a:pt x="84" y="246"/>
                      </a:lnTo>
                      <a:lnTo>
                        <a:pt x="72" y="246"/>
                      </a:lnTo>
                      <a:lnTo>
                        <a:pt x="60" y="246"/>
                      </a:lnTo>
                      <a:lnTo>
                        <a:pt x="54" y="240"/>
                      </a:lnTo>
                      <a:lnTo>
                        <a:pt x="48" y="234"/>
                      </a:lnTo>
                      <a:lnTo>
                        <a:pt x="48" y="216"/>
                      </a:lnTo>
                      <a:lnTo>
                        <a:pt x="42" y="204"/>
                      </a:lnTo>
                      <a:lnTo>
                        <a:pt x="30" y="192"/>
                      </a:lnTo>
                      <a:lnTo>
                        <a:pt x="18" y="180"/>
                      </a:lnTo>
                      <a:lnTo>
                        <a:pt x="6" y="174"/>
                      </a:lnTo>
                      <a:lnTo>
                        <a:pt x="0" y="156"/>
                      </a:lnTo>
                      <a:lnTo>
                        <a:pt x="0" y="144"/>
                      </a:lnTo>
                      <a:lnTo>
                        <a:pt x="6" y="138"/>
                      </a:lnTo>
                      <a:lnTo>
                        <a:pt x="12" y="132"/>
                      </a:lnTo>
                      <a:lnTo>
                        <a:pt x="18" y="132"/>
                      </a:lnTo>
                      <a:lnTo>
                        <a:pt x="30" y="132"/>
                      </a:lnTo>
                      <a:lnTo>
                        <a:pt x="42" y="132"/>
                      </a:lnTo>
                      <a:lnTo>
                        <a:pt x="66" y="144"/>
                      </a:lnTo>
                      <a:lnTo>
                        <a:pt x="78" y="144"/>
                      </a:lnTo>
                      <a:lnTo>
                        <a:pt x="96" y="144"/>
                      </a:lnTo>
                      <a:lnTo>
                        <a:pt x="108" y="138"/>
                      </a:lnTo>
                      <a:lnTo>
                        <a:pt x="108" y="126"/>
                      </a:lnTo>
                      <a:lnTo>
                        <a:pt x="114" y="114"/>
                      </a:lnTo>
                      <a:lnTo>
                        <a:pt x="108" y="102"/>
                      </a:lnTo>
                      <a:lnTo>
                        <a:pt x="96" y="90"/>
                      </a:lnTo>
                      <a:lnTo>
                        <a:pt x="84" y="78"/>
                      </a:lnTo>
                      <a:lnTo>
                        <a:pt x="78" y="60"/>
                      </a:lnTo>
                      <a:lnTo>
                        <a:pt x="78" y="48"/>
                      </a:lnTo>
                      <a:lnTo>
                        <a:pt x="84" y="30"/>
                      </a:lnTo>
                      <a:lnTo>
                        <a:pt x="96" y="18"/>
                      </a:lnTo>
                      <a:lnTo>
                        <a:pt x="120" y="6"/>
                      </a:lnTo>
                      <a:lnTo>
                        <a:pt x="144" y="0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5" name="Freeform 166">
                  <a:extLst>
                    <a:ext uri="{FF2B5EF4-FFF2-40B4-BE49-F238E27FC236}">
                      <a16:creationId xmlns:a16="http://schemas.microsoft.com/office/drawing/2014/main" id="{32BC35C0-7393-4715-86C7-B2F2710135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9" y="-7512"/>
                  <a:ext cx="120" cy="102"/>
                </a:xfrm>
                <a:custGeom>
                  <a:avLst/>
                  <a:gdLst>
                    <a:gd name="T0" fmla="*/ 54 w 120"/>
                    <a:gd name="T1" fmla="*/ 0 h 102"/>
                    <a:gd name="T2" fmla="*/ 72 w 120"/>
                    <a:gd name="T3" fmla="*/ 0 h 102"/>
                    <a:gd name="T4" fmla="*/ 90 w 120"/>
                    <a:gd name="T5" fmla="*/ 6 h 102"/>
                    <a:gd name="T6" fmla="*/ 102 w 120"/>
                    <a:gd name="T7" fmla="*/ 18 h 102"/>
                    <a:gd name="T8" fmla="*/ 114 w 120"/>
                    <a:gd name="T9" fmla="*/ 36 h 102"/>
                    <a:gd name="T10" fmla="*/ 120 w 120"/>
                    <a:gd name="T11" fmla="*/ 48 h 102"/>
                    <a:gd name="T12" fmla="*/ 114 w 120"/>
                    <a:gd name="T13" fmla="*/ 60 h 102"/>
                    <a:gd name="T14" fmla="*/ 108 w 120"/>
                    <a:gd name="T15" fmla="*/ 72 h 102"/>
                    <a:gd name="T16" fmla="*/ 96 w 120"/>
                    <a:gd name="T17" fmla="*/ 78 h 102"/>
                    <a:gd name="T18" fmla="*/ 78 w 120"/>
                    <a:gd name="T19" fmla="*/ 84 h 102"/>
                    <a:gd name="T20" fmla="*/ 60 w 120"/>
                    <a:gd name="T21" fmla="*/ 90 h 102"/>
                    <a:gd name="T22" fmla="*/ 36 w 120"/>
                    <a:gd name="T23" fmla="*/ 96 h 102"/>
                    <a:gd name="T24" fmla="*/ 24 w 120"/>
                    <a:gd name="T25" fmla="*/ 102 h 102"/>
                    <a:gd name="T26" fmla="*/ 12 w 120"/>
                    <a:gd name="T27" fmla="*/ 102 h 102"/>
                    <a:gd name="T28" fmla="*/ 6 w 120"/>
                    <a:gd name="T29" fmla="*/ 90 h 102"/>
                    <a:gd name="T30" fmla="*/ 0 w 120"/>
                    <a:gd name="T31" fmla="*/ 84 h 102"/>
                    <a:gd name="T32" fmla="*/ 0 w 120"/>
                    <a:gd name="T33" fmla="*/ 72 h 102"/>
                    <a:gd name="T34" fmla="*/ 0 w 120"/>
                    <a:gd name="T35" fmla="*/ 60 h 102"/>
                    <a:gd name="T36" fmla="*/ 6 w 120"/>
                    <a:gd name="T37" fmla="*/ 42 h 102"/>
                    <a:gd name="T38" fmla="*/ 12 w 120"/>
                    <a:gd name="T39" fmla="*/ 30 h 102"/>
                    <a:gd name="T40" fmla="*/ 12 w 120"/>
                    <a:gd name="T41" fmla="*/ 18 h 102"/>
                    <a:gd name="T42" fmla="*/ 24 w 120"/>
                    <a:gd name="T43" fmla="*/ 6 h 102"/>
                    <a:gd name="T44" fmla="*/ 36 w 120"/>
                    <a:gd name="T45" fmla="*/ 0 h 102"/>
                    <a:gd name="T46" fmla="*/ 54 w 120"/>
                    <a:gd name="T4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0" h="102">
                      <a:moveTo>
                        <a:pt x="54" y="0"/>
                      </a:moveTo>
                      <a:lnTo>
                        <a:pt x="72" y="0"/>
                      </a:lnTo>
                      <a:lnTo>
                        <a:pt x="90" y="6"/>
                      </a:lnTo>
                      <a:lnTo>
                        <a:pt x="102" y="18"/>
                      </a:lnTo>
                      <a:lnTo>
                        <a:pt x="114" y="36"/>
                      </a:lnTo>
                      <a:lnTo>
                        <a:pt x="120" y="48"/>
                      </a:lnTo>
                      <a:lnTo>
                        <a:pt x="114" y="60"/>
                      </a:lnTo>
                      <a:lnTo>
                        <a:pt x="108" y="72"/>
                      </a:lnTo>
                      <a:lnTo>
                        <a:pt x="96" y="78"/>
                      </a:lnTo>
                      <a:lnTo>
                        <a:pt x="78" y="84"/>
                      </a:lnTo>
                      <a:lnTo>
                        <a:pt x="60" y="90"/>
                      </a:lnTo>
                      <a:lnTo>
                        <a:pt x="36" y="96"/>
                      </a:lnTo>
                      <a:lnTo>
                        <a:pt x="24" y="102"/>
                      </a:lnTo>
                      <a:lnTo>
                        <a:pt x="12" y="102"/>
                      </a:lnTo>
                      <a:lnTo>
                        <a:pt x="6" y="90"/>
                      </a:lnTo>
                      <a:lnTo>
                        <a:pt x="0" y="84"/>
                      </a:lnTo>
                      <a:lnTo>
                        <a:pt x="0" y="72"/>
                      </a:lnTo>
                      <a:lnTo>
                        <a:pt x="0" y="60"/>
                      </a:lnTo>
                      <a:lnTo>
                        <a:pt x="6" y="42"/>
                      </a:lnTo>
                      <a:lnTo>
                        <a:pt x="12" y="30"/>
                      </a:lnTo>
                      <a:lnTo>
                        <a:pt x="12" y="18"/>
                      </a:lnTo>
                      <a:lnTo>
                        <a:pt x="24" y="6"/>
                      </a:lnTo>
                      <a:lnTo>
                        <a:pt x="36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6" name="Freeform 167">
                  <a:extLst>
                    <a:ext uri="{FF2B5EF4-FFF2-40B4-BE49-F238E27FC236}">
                      <a16:creationId xmlns:a16="http://schemas.microsoft.com/office/drawing/2014/main" id="{B3BA00B9-4C80-4CBB-9836-B4A9072D6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17" y="-7404"/>
                  <a:ext cx="270" cy="174"/>
                </a:xfrm>
                <a:custGeom>
                  <a:avLst/>
                  <a:gdLst>
                    <a:gd name="T0" fmla="*/ 156 w 270"/>
                    <a:gd name="T1" fmla="*/ 0 h 174"/>
                    <a:gd name="T2" fmla="*/ 162 w 270"/>
                    <a:gd name="T3" fmla="*/ 0 h 174"/>
                    <a:gd name="T4" fmla="*/ 174 w 270"/>
                    <a:gd name="T5" fmla="*/ 12 h 174"/>
                    <a:gd name="T6" fmla="*/ 186 w 270"/>
                    <a:gd name="T7" fmla="*/ 30 h 174"/>
                    <a:gd name="T8" fmla="*/ 192 w 270"/>
                    <a:gd name="T9" fmla="*/ 42 h 174"/>
                    <a:gd name="T10" fmla="*/ 204 w 270"/>
                    <a:gd name="T11" fmla="*/ 48 h 174"/>
                    <a:gd name="T12" fmla="*/ 210 w 270"/>
                    <a:gd name="T13" fmla="*/ 48 h 174"/>
                    <a:gd name="T14" fmla="*/ 222 w 270"/>
                    <a:gd name="T15" fmla="*/ 48 h 174"/>
                    <a:gd name="T16" fmla="*/ 228 w 270"/>
                    <a:gd name="T17" fmla="*/ 48 h 174"/>
                    <a:gd name="T18" fmla="*/ 240 w 270"/>
                    <a:gd name="T19" fmla="*/ 48 h 174"/>
                    <a:gd name="T20" fmla="*/ 258 w 270"/>
                    <a:gd name="T21" fmla="*/ 54 h 174"/>
                    <a:gd name="T22" fmla="*/ 270 w 270"/>
                    <a:gd name="T23" fmla="*/ 66 h 174"/>
                    <a:gd name="T24" fmla="*/ 270 w 270"/>
                    <a:gd name="T25" fmla="*/ 66 h 174"/>
                    <a:gd name="T26" fmla="*/ 264 w 270"/>
                    <a:gd name="T27" fmla="*/ 72 h 174"/>
                    <a:gd name="T28" fmla="*/ 258 w 270"/>
                    <a:gd name="T29" fmla="*/ 78 h 174"/>
                    <a:gd name="T30" fmla="*/ 246 w 270"/>
                    <a:gd name="T31" fmla="*/ 84 h 174"/>
                    <a:gd name="T32" fmla="*/ 234 w 270"/>
                    <a:gd name="T33" fmla="*/ 90 h 174"/>
                    <a:gd name="T34" fmla="*/ 222 w 270"/>
                    <a:gd name="T35" fmla="*/ 96 h 174"/>
                    <a:gd name="T36" fmla="*/ 222 w 270"/>
                    <a:gd name="T37" fmla="*/ 102 h 174"/>
                    <a:gd name="T38" fmla="*/ 210 w 270"/>
                    <a:gd name="T39" fmla="*/ 114 h 174"/>
                    <a:gd name="T40" fmla="*/ 204 w 270"/>
                    <a:gd name="T41" fmla="*/ 120 h 174"/>
                    <a:gd name="T42" fmla="*/ 192 w 270"/>
                    <a:gd name="T43" fmla="*/ 132 h 174"/>
                    <a:gd name="T44" fmla="*/ 180 w 270"/>
                    <a:gd name="T45" fmla="*/ 138 h 174"/>
                    <a:gd name="T46" fmla="*/ 168 w 270"/>
                    <a:gd name="T47" fmla="*/ 150 h 174"/>
                    <a:gd name="T48" fmla="*/ 162 w 270"/>
                    <a:gd name="T49" fmla="*/ 162 h 174"/>
                    <a:gd name="T50" fmla="*/ 156 w 270"/>
                    <a:gd name="T51" fmla="*/ 168 h 174"/>
                    <a:gd name="T52" fmla="*/ 150 w 270"/>
                    <a:gd name="T53" fmla="*/ 174 h 174"/>
                    <a:gd name="T54" fmla="*/ 138 w 270"/>
                    <a:gd name="T55" fmla="*/ 174 h 174"/>
                    <a:gd name="T56" fmla="*/ 132 w 270"/>
                    <a:gd name="T57" fmla="*/ 168 h 174"/>
                    <a:gd name="T58" fmla="*/ 114 w 270"/>
                    <a:gd name="T59" fmla="*/ 156 h 174"/>
                    <a:gd name="T60" fmla="*/ 102 w 270"/>
                    <a:gd name="T61" fmla="*/ 144 h 174"/>
                    <a:gd name="T62" fmla="*/ 78 w 270"/>
                    <a:gd name="T63" fmla="*/ 144 h 174"/>
                    <a:gd name="T64" fmla="*/ 60 w 270"/>
                    <a:gd name="T65" fmla="*/ 144 h 174"/>
                    <a:gd name="T66" fmla="*/ 36 w 270"/>
                    <a:gd name="T67" fmla="*/ 150 h 174"/>
                    <a:gd name="T68" fmla="*/ 24 w 270"/>
                    <a:gd name="T69" fmla="*/ 156 h 174"/>
                    <a:gd name="T70" fmla="*/ 18 w 270"/>
                    <a:gd name="T71" fmla="*/ 150 h 174"/>
                    <a:gd name="T72" fmla="*/ 12 w 270"/>
                    <a:gd name="T73" fmla="*/ 144 h 174"/>
                    <a:gd name="T74" fmla="*/ 6 w 270"/>
                    <a:gd name="T75" fmla="*/ 138 h 174"/>
                    <a:gd name="T76" fmla="*/ 0 w 270"/>
                    <a:gd name="T77" fmla="*/ 132 h 174"/>
                    <a:gd name="T78" fmla="*/ 6 w 270"/>
                    <a:gd name="T79" fmla="*/ 120 h 174"/>
                    <a:gd name="T80" fmla="*/ 6 w 270"/>
                    <a:gd name="T81" fmla="*/ 114 h 174"/>
                    <a:gd name="T82" fmla="*/ 18 w 270"/>
                    <a:gd name="T83" fmla="*/ 108 h 174"/>
                    <a:gd name="T84" fmla="*/ 24 w 270"/>
                    <a:gd name="T85" fmla="*/ 96 h 174"/>
                    <a:gd name="T86" fmla="*/ 30 w 270"/>
                    <a:gd name="T87" fmla="*/ 84 h 174"/>
                    <a:gd name="T88" fmla="*/ 30 w 270"/>
                    <a:gd name="T89" fmla="*/ 66 h 174"/>
                    <a:gd name="T90" fmla="*/ 30 w 270"/>
                    <a:gd name="T91" fmla="*/ 60 h 174"/>
                    <a:gd name="T92" fmla="*/ 36 w 270"/>
                    <a:gd name="T93" fmla="*/ 54 h 174"/>
                    <a:gd name="T94" fmla="*/ 42 w 270"/>
                    <a:gd name="T95" fmla="*/ 48 h 174"/>
                    <a:gd name="T96" fmla="*/ 54 w 270"/>
                    <a:gd name="T97" fmla="*/ 42 h 174"/>
                    <a:gd name="T98" fmla="*/ 60 w 270"/>
                    <a:gd name="T99" fmla="*/ 36 h 174"/>
                    <a:gd name="T100" fmla="*/ 66 w 270"/>
                    <a:gd name="T101" fmla="*/ 30 h 174"/>
                    <a:gd name="T102" fmla="*/ 78 w 270"/>
                    <a:gd name="T103" fmla="*/ 24 h 174"/>
                    <a:gd name="T104" fmla="*/ 84 w 270"/>
                    <a:gd name="T105" fmla="*/ 18 h 174"/>
                    <a:gd name="T106" fmla="*/ 102 w 270"/>
                    <a:gd name="T107" fmla="*/ 18 h 174"/>
                    <a:gd name="T108" fmla="*/ 114 w 270"/>
                    <a:gd name="T109" fmla="*/ 18 h 174"/>
                    <a:gd name="T110" fmla="*/ 126 w 270"/>
                    <a:gd name="T111" fmla="*/ 12 h 174"/>
                    <a:gd name="T112" fmla="*/ 138 w 270"/>
                    <a:gd name="T113" fmla="*/ 6 h 174"/>
                    <a:gd name="T114" fmla="*/ 144 w 270"/>
                    <a:gd name="T115" fmla="*/ 0 h 174"/>
                    <a:gd name="T116" fmla="*/ 156 w 270"/>
                    <a:gd name="T117" fmla="*/ 0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70" h="174">
                      <a:moveTo>
                        <a:pt x="156" y="0"/>
                      </a:moveTo>
                      <a:lnTo>
                        <a:pt x="162" y="0"/>
                      </a:lnTo>
                      <a:lnTo>
                        <a:pt x="174" y="12"/>
                      </a:lnTo>
                      <a:lnTo>
                        <a:pt x="186" y="30"/>
                      </a:lnTo>
                      <a:lnTo>
                        <a:pt x="192" y="42"/>
                      </a:lnTo>
                      <a:lnTo>
                        <a:pt x="204" y="48"/>
                      </a:lnTo>
                      <a:lnTo>
                        <a:pt x="210" y="48"/>
                      </a:lnTo>
                      <a:lnTo>
                        <a:pt x="222" y="48"/>
                      </a:lnTo>
                      <a:lnTo>
                        <a:pt x="228" y="48"/>
                      </a:lnTo>
                      <a:lnTo>
                        <a:pt x="240" y="48"/>
                      </a:lnTo>
                      <a:lnTo>
                        <a:pt x="258" y="54"/>
                      </a:lnTo>
                      <a:lnTo>
                        <a:pt x="270" y="66"/>
                      </a:lnTo>
                      <a:lnTo>
                        <a:pt x="270" y="66"/>
                      </a:lnTo>
                      <a:lnTo>
                        <a:pt x="264" y="72"/>
                      </a:lnTo>
                      <a:lnTo>
                        <a:pt x="258" y="78"/>
                      </a:lnTo>
                      <a:lnTo>
                        <a:pt x="246" y="84"/>
                      </a:lnTo>
                      <a:lnTo>
                        <a:pt x="234" y="90"/>
                      </a:lnTo>
                      <a:lnTo>
                        <a:pt x="222" y="96"/>
                      </a:lnTo>
                      <a:lnTo>
                        <a:pt x="222" y="102"/>
                      </a:lnTo>
                      <a:lnTo>
                        <a:pt x="210" y="114"/>
                      </a:lnTo>
                      <a:lnTo>
                        <a:pt x="204" y="120"/>
                      </a:lnTo>
                      <a:lnTo>
                        <a:pt x="192" y="132"/>
                      </a:lnTo>
                      <a:lnTo>
                        <a:pt x="180" y="138"/>
                      </a:lnTo>
                      <a:lnTo>
                        <a:pt x="168" y="150"/>
                      </a:lnTo>
                      <a:lnTo>
                        <a:pt x="162" y="162"/>
                      </a:lnTo>
                      <a:lnTo>
                        <a:pt x="156" y="168"/>
                      </a:lnTo>
                      <a:lnTo>
                        <a:pt x="150" y="174"/>
                      </a:lnTo>
                      <a:lnTo>
                        <a:pt x="138" y="174"/>
                      </a:lnTo>
                      <a:lnTo>
                        <a:pt x="132" y="168"/>
                      </a:lnTo>
                      <a:lnTo>
                        <a:pt x="114" y="156"/>
                      </a:lnTo>
                      <a:lnTo>
                        <a:pt x="102" y="144"/>
                      </a:lnTo>
                      <a:lnTo>
                        <a:pt x="78" y="144"/>
                      </a:lnTo>
                      <a:lnTo>
                        <a:pt x="60" y="144"/>
                      </a:lnTo>
                      <a:lnTo>
                        <a:pt x="36" y="150"/>
                      </a:lnTo>
                      <a:lnTo>
                        <a:pt x="24" y="156"/>
                      </a:lnTo>
                      <a:lnTo>
                        <a:pt x="18" y="150"/>
                      </a:lnTo>
                      <a:lnTo>
                        <a:pt x="12" y="144"/>
                      </a:lnTo>
                      <a:lnTo>
                        <a:pt x="6" y="138"/>
                      </a:lnTo>
                      <a:lnTo>
                        <a:pt x="0" y="132"/>
                      </a:lnTo>
                      <a:lnTo>
                        <a:pt x="6" y="120"/>
                      </a:lnTo>
                      <a:lnTo>
                        <a:pt x="6" y="114"/>
                      </a:lnTo>
                      <a:lnTo>
                        <a:pt x="18" y="108"/>
                      </a:lnTo>
                      <a:lnTo>
                        <a:pt x="24" y="96"/>
                      </a:lnTo>
                      <a:lnTo>
                        <a:pt x="30" y="84"/>
                      </a:lnTo>
                      <a:lnTo>
                        <a:pt x="30" y="66"/>
                      </a:lnTo>
                      <a:lnTo>
                        <a:pt x="30" y="60"/>
                      </a:lnTo>
                      <a:lnTo>
                        <a:pt x="36" y="54"/>
                      </a:lnTo>
                      <a:lnTo>
                        <a:pt x="42" y="48"/>
                      </a:lnTo>
                      <a:lnTo>
                        <a:pt x="54" y="42"/>
                      </a:lnTo>
                      <a:lnTo>
                        <a:pt x="60" y="36"/>
                      </a:lnTo>
                      <a:lnTo>
                        <a:pt x="66" y="30"/>
                      </a:lnTo>
                      <a:lnTo>
                        <a:pt x="78" y="24"/>
                      </a:lnTo>
                      <a:lnTo>
                        <a:pt x="84" y="18"/>
                      </a:lnTo>
                      <a:lnTo>
                        <a:pt x="102" y="18"/>
                      </a:lnTo>
                      <a:lnTo>
                        <a:pt x="114" y="18"/>
                      </a:lnTo>
                      <a:lnTo>
                        <a:pt x="126" y="12"/>
                      </a:lnTo>
                      <a:lnTo>
                        <a:pt x="138" y="6"/>
                      </a:lnTo>
                      <a:lnTo>
                        <a:pt x="144" y="0"/>
                      </a:lnTo>
                      <a:lnTo>
                        <a:pt x="156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7" name="Freeform 168">
                  <a:extLst>
                    <a:ext uri="{FF2B5EF4-FFF2-40B4-BE49-F238E27FC236}">
                      <a16:creationId xmlns:a16="http://schemas.microsoft.com/office/drawing/2014/main" id="{3072EB51-CEB4-44BB-99B5-5B5975B063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1" y="-7614"/>
                  <a:ext cx="102" cy="72"/>
                </a:xfrm>
                <a:custGeom>
                  <a:avLst/>
                  <a:gdLst>
                    <a:gd name="T0" fmla="*/ 84 w 102"/>
                    <a:gd name="T1" fmla="*/ 0 h 72"/>
                    <a:gd name="T2" fmla="*/ 96 w 102"/>
                    <a:gd name="T3" fmla="*/ 0 h 72"/>
                    <a:gd name="T4" fmla="*/ 102 w 102"/>
                    <a:gd name="T5" fmla="*/ 6 h 72"/>
                    <a:gd name="T6" fmla="*/ 102 w 102"/>
                    <a:gd name="T7" fmla="*/ 12 h 72"/>
                    <a:gd name="T8" fmla="*/ 102 w 102"/>
                    <a:gd name="T9" fmla="*/ 18 h 72"/>
                    <a:gd name="T10" fmla="*/ 96 w 102"/>
                    <a:gd name="T11" fmla="*/ 30 h 72"/>
                    <a:gd name="T12" fmla="*/ 90 w 102"/>
                    <a:gd name="T13" fmla="*/ 36 h 72"/>
                    <a:gd name="T14" fmla="*/ 78 w 102"/>
                    <a:gd name="T15" fmla="*/ 48 h 72"/>
                    <a:gd name="T16" fmla="*/ 66 w 102"/>
                    <a:gd name="T17" fmla="*/ 60 h 72"/>
                    <a:gd name="T18" fmla="*/ 54 w 102"/>
                    <a:gd name="T19" fmla="*/ 66 h 72"/>
                    <a:gd name="T20" fmla="*/ 36 w 102"/>
                    <a:gd name="T21" fmla="*/ 72 h 72"/>
                    <a:gd name="T22" fmla="*/ 24 w 102"/>
                    <a:gd name="T23" fmla="*/ 72 h 72"/>
                    <a:gd name="T24" fmla="*/ 12 w 102"/>
                    <a:gd name="T25" fmla="*/ 72 h 72"/>
                    <a:gd name="T26" fmla="*/ 0 w 102"/>
                    <a:gd name="T27" fmla="*/ 66 h 72"/>
                    <a:gd name="T28" fmla="*/ 0 w 102"/>
                    <a:gd name="T29" fmla="*/ 54 h 72"/>
                    <a:gd name="T30" fmla="*/ 0 w 102"/>
                    <a:gd name="T31" fmla="*/ 48 h 72"/>
                    <a:gd name="T32" fmla="*/ 0 w 102"/>
                    <a:gd name="T33" fmla="*/ 36 h 72"/>
                    <a:gd name="T34" fmla="*/ 6 w 102"/>
                    <a:gd name="T35" fmla="*/ 24 h 72"/>
                    <a:gd name="T36" fmla="*/ 18 w 102"/>
                    <a:gd name="T37" fmla="*/ 18 h 72"/>
                    <a:gd name="T38" fmla="*/ 48 w 102"/>
                    <a:gd name="T39" fmla="*/ 6 h 72"/>
                    <a:gd name="T40" fmla="*/ 66 w 102"/>
                    <a:gd name="T41" fmla="*/ 0 h 72"/>
                    <a:gd name="T42" fmla="*/ 84 w 102"/>
                    <a:gd name="T43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02" h="72">
                      <a:moveTo>
                        <a:pt x="84" y="0"/>
                      </a:moveTo>
                      <a:lnTo>
                        <a:pt x="96" y="0"/>
                      </a:lnTo>
                      <a:lnTo>
                        <a:pt x="102" y="6"/>
                      </a:lnTo>
                      <a:lnTo>
                        <a:pt x="102" y="12"/>
                      </a:lnTo>
                      <a:lnTo>
                        <a:pt x="102" y="18"/>
                      </a:lnTo>
                      <a:lnTo>
                        <a:pt x="96" y="30"/>
                      </a:lnTo>
                      <a:lnTo>
                        <a:pt x="90" y="36"/>
                      </a:lnTo>
                      <a:lnTo>
                        <a:pt x="78" y="48"/>
                      </a:lnTo>
                      <a:lnTo>
                        <a:pt x="66" y="60"/>
                      </a:lnTo>
                      <a:lnTo>
                        <a:pt x="54" y="66"/>
                      </a:lnTo>
                      <a:lnTo>
                        <a:pt x="36" y="72"/>
                      </a:lnTo>
                      <a:lnTo>
                        <a:pt x="24" y="72"/>
                      </a:lnTo>
                      <a:lnTo>
                        <a:pt x="12" y="72"/>
                      </a:lnTo>
                      <a:lnTo>
                        <a:pt x="0" y="66"/>
                      </a:lnTo>
                      <a:lnTo>
                        <a:pt x="0" y="54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6" y="24"/>
                      </a:lnTo>
                      <a:lnTo>
                        <a:pt x="18" y="18"/>
                      </a:lnTo>
                      <a:lnTo>
                        <a:pt x="48" y="6"/>
                      </a:lnTo>
                      <a:lnTo>
                        <a:pt x="66" y="0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8" name="Freeform 169">
                  <a:extLst>
                    <a:ext uri="{FF2B5EF4-FFF2-40B4-BE49-F238E27FC236}">
                      <a16:creationId xmlns:a16="http://schemas.microsoft.com/office/drawing/2014/main" id="{F7910FA5-9D89-4B80-A219-3FD1CF6E6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1" y="-8178"/>
                  <a:ext cx="156" cy="168"/>
                </a:xfrm>
                <a:custGeom>
                  <a:avLst/>
                  <a:gdLst>
                    <a:gd name="T0" fmla="*/ 114 w 156"/>
                    <a:gd name="T1" fmla="*/ 0 h 168"/>
                    <a:gd name="T2" fmla="*/ 138 w 156"/>
                    <a:gd name="T3" fmla="*/ 0 h 168"/>
                    <a:gd name="T4" fmla="*/ 150 w 156"/>
                    <a:gd name="T5" fmla="*/ 0 h 168"/>
                    <a:gd name="T6" fmla="*/ 156 w 156"/>
                    <a:gd name="T7" fmla="*/ 6 h 168"/>
                    <a:gd name="T8" fmla="*/ 156 w 156"/>
                    <a:gd name="T9" fmla="*/ 18 h 168"/>
                    <a:gd name="T10" fmla="*/ 150 w 156"/>
                    <a:gd name="T11" fmla="*/ 30 h 168"/>
                    <a:gd name="T12" fmla="*/ 138 w 156"/>
                    <a:gd name="T13" fmla="*/ 42 h 168"/>
                    <a:gd name="T14" fmla="*/ 126 w 156"/>
                    <a:gd name="T15" fmla="*/ 54 h 168"/>
                    <a:gd name="T16" fmla="*/ 108 w 156"/>
                    <a:gd name="T17" fmla="*/ 60 h 168"/>
                    <a:gd name="T18" fmla="*/ 96 w 156"/>
                    <a:gd name="T19" fmla="*/ 72 h 168"/>
                    <a:gd name="T20" fmla="*/ 90 w 156"/>
                    <a:gd name="T21" fmla="*/ 78 h 168"/>
                    <a:gd name="T22" fmla="*/ 84 w 156"/>
                    <a:gd name="T23" fmla="*/ 84 h 168"/>
                    <a:gd name="T24" fmla="*/ 84 w 156"/>
                    <a:gd name="T25" fmla="*/ 90 h 168"/>
                    <a:gd name="T26" fmla="*/ 84 w 156"/>
                    <a:gd name="T27" fmla="*/ 96 h 168"/>
                    <a:gd name="T28" fmla="*/ 84 w 156"/>
                    <a:gd name="T29" fmla="*/ 102 h 168"/>
                    <a:gd name="T30" fmla="*/ 84 w 156"/>
                    <a:gd name="T31" fmla="*/ 120 h 168"/>
                    <a:gd name="T32" fmla="*/ 72 w 156"/>
                    <a:gd name="T33" fmla="*/ 132 h 168"/>
                    <a:gd name="T34" fmla="*/ 66 w 156"/>
                    <a:gd name="T35" fmla="*/ 150 h 168"/>
                    <a:gd name="T36" fmla="*/ 54 w 156"/>
                    <a:gd name="T37" fmla="*/ 156 h 168"/>
                    <a:gd name="T38" fmla="*/ 42 w 156"/>
                    <a:gd name="T39" fmla="*/ 168 h 168"/>
                    <a:gd name="T40" fmla="*/ 30 w 156"/>
                    <a:gd name="T41" fmla="*/ 168 h 168"/>
                    <a:gd name="T42" fmla="*/ 24 w 156"/>
                    <a:gd name="T43" fmla="*/ 162 h 168"/>
                    <a:gd name="T44" fmla="*/ 12 w 156"/>
                    <a:gd name="T45" fmla="*/ 156 h 168"/>
                    <a:gd name="T46" fmla="*/ 6 w 156"/>
                    <a:gd name="T47" fmla="*/ 138 h 168"/>
                    <a:gd name="T48" fmla="*/ 0 w 156"/>
                    <a:gd name="T49" fmla="*/ 126 h 168"/>
                    <a:gd name="T50" fmla="*/ 0 w 156"/>
                    <a:gd name="T51" fmla="*/ 114 h 168"/>
                    <a:gd name="T52" fmla="*/ 6 w 156"/>
                    <a:gd name="T53" fmla="*/ 102 h 168"/>
                    <a:gd name="T54" fmla="*/ 24 w 156"/>
                    <a:gd name="T55" fmla="*/ 96 h 168"/>
                    <a:gd name="T56" fmla="*/ 36 w 156"/>
                    <a:gd name="T57" fmla="*/ 90 h 168"/>
                    <a:gd name="T58" fmla="*/ 36 w 156"/>
                    <a:gd name="T59" fmla="*/ 78 h 168"/>
                    <a:gd name="T60" fmla="*/ 42 w 156"/>
                    <a:gd name="T61" fmla="*/ 72 h 168"/>
                    <a:gd name="T62" fmla="*/ 42 w 156"/>
                    <a:gd name="T63" fmla="*/ 60 h 168"/>
                    <a:gd name="T64" fmla="*/ 36 w 156"/>
                    <a:gd name="T65" fmla="*/ 42 h 168"/>
                    <a:gd name="T66" fmla="*/ 36 w 156"/>
                    <a:gd name="T67" fmla="*/ 30 h 168"/>
                    <a:gd name="T68" fmla="*/ 42 w 156"/>
                    <a:gd name="T69" fmla="*/ 24 h 168"/>
                    <a:gd name="T70" fmla="*/ 48 w 156"/>
                    <a:gd name="T71" fmla="*/ 12 h 168"/>
                    <a:gd name="T72" fmla="*/ 66 w 156"/>
                    <a:gd name="T73" fmla="*/ 0 h 168"/>
                    <a:gd name="T74" fmla="*/ 90 w 156"/>
                    <a:gd name="T75" fmla="*/ 0 h 168"/>
                    <a:gd name="T76" fmla="*/ 114 w 156"/>
                    <a:gd name="T77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56" h="168">
                      <a:moveTo>
                        <a:pt x="114" y="0"/>
                      </a:moveTo>
                      <a:lnTo>
                        <a:pt x="138" y="0"/>
                      </a:lnTo>
                      <a:lnTo>
                        <a:pt x="150" y="0"/>
                      </a:lnTo>
                      <a:lnTo>
                        <a:pt x="156" y="6"/>
                      </a:lnTo>
                      <a:lnTo>
                        <a:pt x="156" y="18"/>
                      </a:lnTo>
                      <a:lnTo>
                        <a:pt x="150" y="30"/>
                      </a:lnTo>
                      <a:lnTo>
                        <a:pt x="138" y="42"/>
                      </a:lnTo>
                      <a:lnTo>
                        <a:pt x="126" y="54"/>
                      </a:lnTo>
                      <a:lnTo>
                        <a:pt x="108" y="60"/>
                      </a:lnTo>
                      <a:lnTo>
                        <a:pt x="96" y="72"/>
                      </a:lnTo>
                      <a:lnTo>
                        <a:pt x="90" y="78"/>
                      </a:lnTo>
                      <a:lnTo>
                        <a:pt x="84" y="84"/>
                      </a:lnTo>
                      <a:lnTo>
                        <a:pt x="84" y="90"/>
                      </a:lnTo>
                      <a:lnTo>
                        <a:pt x="84" y="96"/>
                      </a:lnTo>
                      <a:lnTo>
                        <a:pt x="84" y="102"/>
                      </a:lnTo>
                      <a:lnTo>
                        <a:pt x="84" y="120"/>
                      </a:lnTo>
                      <a:lnTo>
                        <a:pt x="72" y="132"/>
                      </a:lnTo>
                      <a:lnTo>
                        <a:pt x="66" y="150"/>
                      </a:lnTo>
                      <a:lnTo>
                        <a:pt x="54" y="156"/>
                      </a:lnTo>
                      <a:lnTo>
                        <a:pt x="42" y="168"/>
                      </a:lnTo>
                      <a:lnTo>
                        <a:pt x="30" y="168"/>
                      </a:lnTo>
                      <a:lnTo>
                        <a:pt x="24" y="162"/>
                      </a:lnTo>
                      <a:lnTo>
                        <a:pt x="12" y="156"/>
                      </a:lnTo>
                      <a:lnTo>
                        <a:pt x="6" y="138"/>
                      </a:lnTo>
                      <a:lnTo>
                        <a:pt x="0" y="126"/>
                      </a:lnTo>
                      <a:lnTo>
                        <a:pt x="0" y="114"/>
                      </a:lnTo>
                      <a:lnTo>
                        <a:pt x="6" y="102"/>
                      </a:lnTo>
                      <a:lnTo>
                        <a:pt x="24" y="96"/>
                      </a:lnTo>
                      <a:lnTo>
                        <a:pt x="36" y="90"/>
                      </a:lnTo>
                      <a:lnTo>
                        <a:pt x="36" y="78"/>
                      </a:lnTo>
                      <a:lnTo>
                        <a:pt x="42" y="72"/>
                      </a:lnTo>
                      <a:lnTo>
                        <a:pt x="42" y="60"/>
                      </a:lnTo>
                      <a:lnTo>
                        <a:pt x="36" y="42"/>
                      </a:lnTo>
                      <a:lnTo>
                        <a:pt x="36" y="30"/>
                      </a:lnTo>
                      <a:lnTo>
                        <a:pt x="42" y="24"/>
                      </a:lnTo>
                      <a:lnTo>
                        <a:pt x="48" y="12"/>
                      </a:lnTo>
                      <a:lnTo>
                        <a:pt x="66" y="0"/>
                      </a:lnTo>
                      <a:lnTo>
                        <a:pt x="90" y="0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09" name="Freeform 170">
                  <a:extLst>
                    <a:ext uri="{FF2B5EF4-FFF2-40B4-BE49-F238E27FC236}">
                      <a16:creationId xmlns:a16="http://schemas.microsoft.com/office/drawing/2014/main" id="{92EDAD6B-7C0A-4E99-934C-328307D207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9" y="-8208"/>
                  <a:ext cx="192" cy="216"/>
                </a:xfrm>
                <a:custGeom>
                  <a:avLst/>
                  <a:gdLst>
                    <a:gd name="T0" fmla="*/ 180 w 192"/>
                    <a:gd name="T1" fmla="*/ 0 h 216"/>
                    <a:gd name="T2" fmla="*/ 186 w 192"/>
                    <a:gd name="T3" fmla="*/ 0 h 216"/>
                    <a:gd name="T4" fmla="*/ 192 w 192"/>
                    <a:gd name="T5" fmla="*/ 6 h 216"/>
                    <a:gd name="T6" fmla="*/ 192 w 192"/>
                    <a:gd name="T7" fmla="*/ 12 h 216"/>
                    <a:gd name="T8" fmla="*/ 192 w 192"/>
                    <a:gd name="T9" fmla="*/ 18 h 216"/>
                    <a:gd name="T10" fmla="*/ 192 w 192"/>
                    <a:gd name="T11" fmla="*/ 30 h 216"/>
                    <a:gd name="T12" fmla="*/ 192 w 192"/>
                    <a:gd name="T13" fmla="*/ 42 h 216"/>
                    <a:gd name="T14" fmla="*/ 186 w 192"/>
                    <a:gd name="T15" fmla="*/ 60 h 216"/>
                    <a:gd name="T16" fmla="*/ 180 w 192"/>
                    <a:gd name="T17" fmla="*/ 66 h 216"/>
                    <a:gd name="T18" fmla="*/ 174 w 192"/>
                    <a:gd name="T19" fmla="*/ 78 h 216"/>
                    <a:gd name="T20" fmla="*/ 168 w 192"/>
                    <a:gd name="T21" fmla="*/ 84 h 216"/>
                    <a:gd name="T22" fmla="*/ 156 w 192"/>
                    <a:gd name="T23" fmla="*/ 96 h 216"/>
                    <a:gd name="T24" fmla="*/ 144 w 192"/>
                    <a:gd name="T25" fmla="*/ 108 h 216"/>
                    <a:gd name="T26" fmla="*/ 144 w 192"/>
                    <a:gd name="T27" fmla="*/ 120 h 216"/>
                    <a:gd name="T28" fmla="*/ 144 w 192"/>
                    <a:gd name="T29" fmla="*/ 138 h 216"/>
                    <a:gd name="T30" fmla="*/ 150 w 192"/>
                    <a:gd name="T31" fmla="*/ 150 h 216"/>
                    <a:gd name="T32" fmla="*/ 150 w 192"/>
                    <a:gd name="T33" fmla="*/ 162 h 216"/>
                    <a:gd name="T34" fmla="*/ 156 w 192"/>
                    <a:gd name="T35" fmla="*/ 180 h 216"/>
                    <a:gd name="T36" fmla="*/ 150 w 192"/>
                    <a:gd name="T37" fmla="*/ 198 h 216"/>
                    <a:gd name="T38" fmla="*/ 144 w 192"/>
                    <a:gd name="T39" fmla="*/ 204 h 216"/>
                    <a:gd name="T40" fmla="*/ 132 w 192"/>
                    <a:gd name="T41" fmla="*/ 216 h 216"/>
                    <a:gd name="T42" fmla="*/ 120 w 192"/>
                    <a:gd name="T43" fmla="*/ 216 h 216"/>
                    <a:gd name="T44" fmla="*/ 108 w 192"/>
                    <a:gd name="T45" fmla="*/ 216 h 216"/>
                    <a:gd name="T46" fmla="*/ 96 w 192"/>
                    <a:gd name="T47" fmla="*/ 216 h 216"/>
                    <a:gd name="T48" fmla="*/ 72 w 192"/>
                    <a:gd name="T49" fmla="*/ 216 h 216"/>
                    <a:gd name="T50" fmla="*/ 54 w 192"/>
                    <a:gd name="T51" fmla="*/ 216 h 216"/>
                    <a:gd name="T52" fmla="*/ 36 w 192"/>
                    <a:gd name="T53" fmla="*/ 216 h 216"/>
                    <a:gd name="T54" fmla="*/ 18 w 192"/>
                    <a:gd name="T55" fmla="*/ 216 h 216"/>
                    <a:gd name="T56" fmla="*/ 6 w 192"/>
                    <a:gd name="T57" fmla="*/ 216 h 216"/>
                    <a:gd name="T58" fmla="*/ 0 w 192"/>
                    <a:gd name="T59" fmla="*/ 210 h 216"/>
                    <a:gd name="T60" fmla="*/ 0 w 192"/>
                    <a:gd name="T61" fmla="*/ 198 h 216"/>
                    <a:gd name="T62" fmla="*/ 6 w 192"/>
                    <a:gd name="T63" fmla="*/ 192 h 216"/>
                    <a:gd name="T64" fmla="*/ 12 w 192"/>
                    <a:gd name="T65" fmla="*/ 186 h 216"/>
                    <a:gd name="T66" fmla="*/ 30 w 192"/>
                    <a:gd name="T67" fmla="*/ 180 h 216"/>
                    <a:gd name="T68" fmla="*/ 42 w 192"/>
                    <a:gd name="T69" fmla="*/ 174 h 216"/>
                    <a:gd name="T70" fmla="*/ 54 w 192"/>
                    <a:gd name="T71" fmla="*/ 174 h 216"/>
                    <a:gd name="T72" fmla="*/ 54 w 192"/>
                    <a:gd name="T73" fmla="*/ 168 h 216"/>
                    <a:gd name="T74" fmla="*/ 54 w 192"/>
                    <a:gd name="T75" fmla="*/ 162 h 216"/>
                    <a:gd name="T76" fmla="*/ 48 w 192"/>
                    <a:gd name="T77" fmla="*/ 156 h 216"/>
                    <a:gd name="T78" fmla="*/ 48 w 192"/>
                    <a:gd name="T79" fmla="*/ 144 h 216"/>
                    <a:gd name="T80" fmla="*/ 48 w 192"/>
                    <a:gd name="T81" fmla="*/ 132 h 216"/>
                    <a:gd name="T82" fmla="*/ 48 w 192"/>
                    <a:gd name="T83" fmla="*/ 132 h 216"/>
                    <a:gd name="T84" fmla="*/ 54 w 192"/>
                    <a:gd name="T85" fmla="*/ 132 h 216"/>
                    <a:gd name="T86" fmla="*/ 60 w 192"/>
                    <a:gd name="T87" fmla="*/ 132 h 216"/>
                    <a:gd name="T88" fmla="*/ 72 w 192"/>
                    <a:gd name="T89" fmla="*/ 132 h 216"/>
                    <a:gd name="T90" fmla="*/ 78 w 192"/>
                    <a:gd name="T91" fmla="*/ 132 h 216"/>
                    <a:gd name="T92" fmla="*/ 90 w 192"/>
                    <a:gd name="T93" fmla="*/ 126 h 216"/>
                    <a:gd name="T94" fmla="*/ 96 w 192"/>
                    <a:gd name="T95" fmla="*/ 120 h 216"/>
                    <a:gd name="T96" fmla="*/ 96 w 192"/>
                    <a:gd name="T97" fmla="*/ 108 h 216"/>
                    <a:gd name="T98" fmla="*/ 90 w 192"/>
                    <a:gd name="T99" fmla="*/ 102 h 216"/>
                    <a:gd name="T100" fmla="*/ 90 w 192"/>
                    <a:gd name="T101" fmla="*/ 90 h 216"/>
                    <a:gd name="T102" fmla="*/ 96 w 192"/>
                    <a:gd name="T103" fmla="*/ 78 h 216"/>
                    <a:gd name="T104" fmla="*/ 102 w 192"/>
                    <a:gd name="T105" fmla="*/ 60 h 216"/>
                    <a:gd name="T106" fmla="*/ 108 w 192"/>
                    <a:gd name="T107" fmla="*/ 48 h 216"/>
                    <a:gd name="T108" fmla="*/ 120 w 192"/>
                    <a:gd name="T109" fmla="*/ 30 h 216"/>
                    <a:gd name="T110" fmla="*/ 132 w 192"/>
                    <a:gd name="T111" fmla="*/ 18 h 216"/>
                    <a:gd name="T112" fmla="*/ 156 w 192"/>
                    <a:gd name="T113" fmla="*/ 6 h 216"/>
                    <a:gd name="T114" fmla="*/ 168 w 192"/>
                    <a:gd name="T115" fmla="*/ 0 h 216"/>
                    <a:gd name="T116" fmla="*/ 180 w 192"/>
                    <a:gd name="T117" fmla="*/ 0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92" h="216">
                      <a:moveTo>
                        <a:pt x="180" y="0"/>
                      </a:moveTo>
                      <a:lnTo>
                        <a:pt x="186" y="0"/>
                      </a:lnTo>
                      <a:lnTo>
                        <a:pt x="192" y="6"/>
                      </a:lnTo>
                      <a:lnTo>
                        <a:pt x="192" y="12"/>
                      </a:lnTo>
                      <a:lnTo>
                        <a:pt x="192" y="18"/>
                      </a:lnTo>
                      <a:lnTo>
                        <a:pt x="192" y="30"/>
                      </a:lnTo>
                      <a:lnTo>
                        <a:pt x="192" y="42"/>
                      </a:lnTo>
                      <a:lnTo>
                        <a:pt x="186" y="60"/>
                      </a:lnTo>
                      <a:lnTo>
                        <a:pt x="180" y="66"/>
                      </a:lnTo>
                      <a:lnTo>
                        <a:pt x="174" y="78"/>
                      </a:lnTo>
                      <a:lnTo>
                        <a:pt x="168" y="84"/>
                      </a:lnTo>
                      <a:lnTo>
                        <a:pt x="156" y="96"/>
                      </a:lnTo>
                      <a:lnTo>
                        <a:pt x="144" y="108"/>
                      </a:lnTo>
                      <a:lnTo>
                        <a:pt x="144" y="120"/>
                      </a:lnTo>
                      <a:lnTo>
                        <a:pt x="144" y="138"/>
                      </a:lnTo>
                      <a:lnTo>
                        <a:pt x="150" y="150"/>
                      </a:lnTo>
                      <a:lnTo>
                        <a:pt x="150" y="162"/>
                      </a:lnTo>
                      <a:lnTo>
                        <a:pt x="156" y="180"/>
                      </a:lnTo>
                      <a:lnTo>
                        <a:pt x="150" y="198"/>
                      </a:lnTo>
                      <a:lnTo>
                        <a:pt x="144" y="204"/>
                      </a:lnTo>
                      <a:lnTo>
                        <a:pt x="132" y="216"/>
                      </a:lnTo>
                      <a:lnTo>
                        <a:pt x="120" y="216"/>
                      </a:lnTo>
                      <a:lnTo>
                        <a:pt x="108" y="216"/>
                      </a:lnTo>
                      <a:lnTo>
                        <a:pt x="96" y="216"/>
                      </a:lnTo>
                      <a:lnTo>
                        <a:pt x="72" y="216"/>
                      </a:lnTo>
                      <a:lnTo>
                        <a:pt x="54" y="216"/>
                      </a:lnTo>
                      <a:lnTo>
                        <a:pt x="36" y="216"/>
                      </a:lnTo>
                      <a:lnTo>
                        <a:pt x="18" y="216"/>
                      </a:lnTo>
                      <a:lnTo>
                        <a:pt x="6" y="216"/>
                      </a:lnTo>
                      <a:lnTo>
                        <a:pt x="0" y="210"/>
                      </a:lnTo>
                      <a:lnTo>
                        <a:pt x="0" y="198"/>
                      </a:lnTo>
                      <a:lnTo>
                        <a:pt x="6" y="192"/>
                      </a:lnTo>
                      <a:lnTo>
                        <a:pt x="12" y="186"/>
                      </a:lnTo>
                      <a:lnTo>
                        <a:pt x="30" y="180"/>
                      </a:lnTo>
                      <a:lnTo>
                        <a:pt x="42" y="174"/>
                      </a:lnTo>
                      <a:lnTo>
                        <a:pt x="54" y="174"/>
                      </a:lnTo>
                      <a:lnTo>
                        <a:pt x="54" y="168"/>
                      </a:lnTo>
                      <a:lnTo>
                        <a:pt x="54" y="162"/>
                      </a:lnTo>
                      <a:lnTo>
                        <a:pt x="48" y="156"/>
                      </a:lnTo>
                      <a:lnTo>
                        <a:pt x="48" y="144"/>
                      </a:lnTo>
                      <a:lnTo>
                        <a:pt x="48" y="132"/>
                      </a:lnTo>
                      <a:lnTo>
                        <a:pt x="48" y="132"/>
                      </a:lnTo>
                      <a:lnTo>
                        <a:pt x="54" y="132"/>
                      </a:lnTo>
                      <a:lnTo>
                        <a:pt x="60" y="132"/>
                      </a:lnTo>
                      <a:lnTo>
                        <a:pt x="72" y="132"/>
                      </a:lnTo>
                      <a:lnTo>
                        <a:pt x="78" y="132"/>
                      </a:lnTo>
                      <a:lnTo>
                        <a:pt x="90" y="126"/>
                      </a:lnTo>
                      <a:lnTo>
                        <a:pt x="96" y="120"/>
                      </a:lnTo>
                      <a:lnTo>
                        <a:pt x="96" y="108"/>
                      </a:lnTo>
                      <a:lnTo>
                        <a:pt x="90" y="102"/>
                      </a:lnTo>
                      <a:lnTo>
                        <a:pt x="90" y="90"/>
                      </a:lnTo>
                      <a:lnTo>
                        <a:pt x="96" y="78"/>
                      </a:lnTo>
                      <a:lnTo>
                        <a:pt x="102" y="60"/>
                      </a:lnTo>
                      <a:lnTo>
                        <a:pt x="108" y="48"/>
                      </a:lnTo>
                      <a:lnTo>
                        <a:pt x="120" y="30"/>
                      </a:lnTo>
                      <a:lnTo>
                        <a:pt x="132" y="18"/>
                      </a:lnTo>
                      <a:lnTo>
                        <a:pt x="156" y="6"/>
                      </a:lnTo>
                      <a:lnTo>
                        <a:pt x="168" y="0"/>
                      </a:lnTo>
                      <a:lnTo>
                        <a:pt x="18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0" name="Freeform 171">
                  <a:extLst>
                    <a:ext uri="{FF2B5EF4-FFF2-40B4-BE49-F238E27FC236}">
                      <a16:creationId xmlns:a16="http://schemas.microsoft.com/office/drawing/2014/main" id="{0223CC37-5EC8-4193-9E9A-8984C5A00E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37" y="-8496"/>
                  <a:ext cx="78" cy="54"/>
                </a:xfrm>
                <a:custGeom>
                  <a:avLst/>
                  <a:gdLst>
                    <a:gd name="T0" fmla="*/ 60 w 78"/>
                    <a:gd name="T1" fmla="*/ 0 h 54"/>
                    <a:gd name="T2" fmla="*/ 72 w 78"/>
                    <a:gd name="T3" fmla="*/ 0 h 54"/>
                    <a:gd name="T4" fmla="*/ 78 w 78"/>
                    <a:gd name="T5" fmla="*/ 6 h 54"/>
                    <a:gd name="T6" fmla="*/ 78 w 78"/>
                    <a:gd name="T7" fmla="*/ 6 h 54"/>
                    <a:gd name="T8" fmla="*/ 78 w 78"/>
                    <a:gd name="T9" fmla="*/ 12 h 54"/>
                    <a:gd name="T10" fmla="*/ 72 w 78"/>
                    <a:gd name="T11" fmla="*/ 24 h 54"/>
                    <a:gd name="T12" fmla="*/ 66 w 78"/>
                    <a:gd name="T13" fmla="*/ 30 h 54"/>
                    <a:gd name="T14" fmla="*/ 60 w 78"/>
                    <a:gd name="T15" fmla="*/ 36 h 54"/>
                    <a:gd name="T16" fmla="*/ 48 w 78"/>
                    <a:gd name="T17" fmla="*/ 42 h 54"/>
                    <a:gd name="T18" fmla="*/ 42 w 78"/>
                    <a:gd name="T19" fmla="*/ 48 h 54"/>
                    <a:gd name="T20" fmla="*/ 30 w 78"/>
                    <a:gd name="T21" fmla="*/ 54 h 54"/>
                    <a:gd name="T22" fmla="*/ 18 w 78"/>
                    <a:gd name="T23" fmla="*/ 54 h 54"/>
                    <a:gd name="T24" fmla="*/ 12 w 78"/>
                    <a:gd name="T25" fmla="*/ 54 h 54"/>
                    <a:gd name="T26" fmla="*/ 6 w 78"/>
                    <a:gd name="T27" fmla="*/ 48 h 54"/>
                    <a:gd name="T28" fmla="*/ 0 w 78"/>
                    <a:gd name="T29" fmla="*/ 36 h 54"/>
                    <a:gd name="T30" fmla="*/ 0 w 78"/>
                    <a:gd name="T31" fmla="*/ 24 h 54"/>
                    <a:gd name="T32" fmla="*/ 0 w 78"/>
                    <a:gd name="T33" fmla="*/ 18 h 54"/>
                    <a:gd name="T34" fmla="*/ 6 w 78"/>
                    <a:gd name="T35" fmla="*/ 12 h 54"/>
                    <a:gd name="T36" fmla="*/ 18 w 78"/>
                    <a:gd name="T37" fmla="*/ 6 h 54"/>
                    <a:gd name="T38" fmla="*/ 42 w 78"/>
                    <a:gd name="T39" fmla="*/ 0 h 54"/>
                    <a:gd name="T40" fmla="*/ 60 w 78"/>
                    <a:gd name="T41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" h="54">
                      <a:moveTo>
                        <a:pt x="60" y="0"/>
                      </a:moveTo>
                      <a:lnTo>
                        <a:pt x="72" y="0"/>
                      </a:lnTo>
                      <a:lnTo>
                        <a:pt x="78" y="6"/>
                      </a:lnTo>
                      <a:lnTo>
                        <a:pt x="78" y="6"/>
                      </a:lnTo>
                      <a:lnTo>
                        <a:pt x="78" y="12"/>
                      </a:lnTo>
                      <a:lnTo>
                        <a:pt x="72" y="24"/>
                      </a:lnTo>
                      <a:lnTo>
                        <a:pt x="66" y="30"/>
                      </a:lnTo>
                      <a:lnTo>
                        <a:pt x="60" y="36"/>
                      </a:lnTo>
                      <a:lnTo>
                        <a:pt x="48" y="42"/>
                      </a:lnTo>
                      <a:lnTo>
                        <a:pt x="42" y="48"/>
                      </a:lnTo>
                      <a:lnTo>
                        <a:pt x="30" y="54"/>
                      </a:lnTo>
                      <a:lnTo>
                        <a:pt x="18" y="54"/>
                      </a:lnTo>
                      <a:lnTo>
                        <a:pt x="12" y="54"/>
                      </a:lnTo>
                      <a:lnTo>
                        <a:pt x="6" y="48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18" y="6"/>
                      </a:lnTo>
                      <a:lnTo>
                        <a:pt x="42" y="0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1" name="Freeform 172">
                  <a:extLst>
                    <a:ext uri="{FF2B5EF4-FFF2-40B4-BE49-F238E27FC236}">
                      <a16:creationId xmlns:a16="http://schemas.microsoft.com/office/drawing/2014/main" id="{26CE7AB9-55DA-4779-A8EB-2C37517DE0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9" y="-8400"/>
                  <a:ext cx="174" cy="84"/>
                </a:xfrm>
                <a:custGeom>
                  <a:avLst/>
                  <a:gdLst>
                    <a:gd name="T0" fmla="*/ 162 w 174"/>
                    <a:gd name="T1" fmla="*/ 0 h 84"/>
                    <a:gd name="T2" fmla="*/ 174 w 174"/>
                    <a:gd name="T3" fmla="*/ 0 h 84"/>
                    <a:gd name="T4" fmla="*/ 174 w 174"/>
                    <a:gd name="T5" fmla="*/ 6 h 84"/>
                    <a:gd name="T6" fmla="*/ 174 w 174"/>
                    <a:gd name="T7" fmla="*/ 18 h 84"/>
                    <a:gd name="T8" fmla="*/ 162 w 174"/>
                    <a:gd name="T9" fmla="*/ 30 h 84"/>
                    <a:gd name="T10" fmla="*/ 150 w 174"/>
                    <a:gd name="T11" fmla="*/ 48 h 84"/>
                    <a:gd name="T12" fmla="*/ 132 w 174"/>
                    <a:gd name="T13" fmla="*/ 60 h 84"/>
                    <a:gd name="T14" fmla="*/ 114 w 174"/>
                    <a:gd name="T15" fmla="*/ 66 h 84"/>
                    <a:gd name="T16" fmla="*/ 102 w 174"/>
                    <a:gd name="T17" fmla="*/ 66 h 84"/>
                    <a:gd name="T18" fmla="*/ 90 w 174"/>
                    <a:gd name="T19" fmla="*/ 66 h 84"/>
                    <a:gd name="T20" fmla="*/ 78 w 174"/>
                    <a:gd name="T21" fmla="*/ 72 h 84"/>
                    <a:gd name="T22" fmla="*/ 66 w 174"/>
                    <a:gd name="T23" fmla="*/ 78 h 84"/>
                    <a:gd name="T24" fmla="*/ 48 w 174"/>
                    <a:gd name="T25" fmla="*/ 78 h 84"/>
                    <a:gd name="T26" fmla="*/ 36 w 174"/>
                    <a:gd name="T27" fmla="*/ 84 h 84"/>
                    <a:gd name="T28" fmla="*/ 24 w 174"/>
                    <a:gd name="T29" fmla="*/ 84 h 84"/>
                    <a:gd name="T30" fmla="*/ 12 w 174"/>
                    <a:gd name="T31" fmla="*/ 78 h 84"/>
                    <a:gd name="T32" fmla="*/ 0 w 174"/>
                    <a:gd name="T33" fmla="*/ 72 h 84"/>
                    <a:gd name="T34" fmla="*/ 0 w 174"/>
                    <a:gd name="T35" fmla="*/ 60 h 84"/>
                    <a:gd name="T36" fmla="*/ 6 w 174"/>
                    <a:gd name="T37" fmla="*/ 48 h 84"/>
                    <a:gd name="T38" fmla="*/ 12 w 174"/>
                    <a:gd name="T39" fmla="*/ 36 h 84"/>
                    <a:gd name="T40" fmla="*/ 18 w 174"/>
                    <a:gd name="T41" fmla="*/ 24 h 84"/>
                    <a:gd name="T42" fmla="*/ 30 w 174"/>
                    <a:gd name="T43" fmla="*/ 12 h 84"/>
                    <a:gd name="T44" fmla="*/ 48 w 174"/>
                    <a:gd name="T45" fmla="*/ 12 h 84"/>
                    <a:gd name="T46" fmla="*/ 84 w 174"/>
                    <a:gd name="T47" fmla="*/ 12 h 84"/>
                    <a:gd name="T48" fmla="*/ 108 w 174"/>
                    <a:gd name="T49" fmla="*/ 12 h 84"/>
                    <a:gd name="T50" fmla="*/ 126 w 174"/>
                    <a:gd name="T51" fmla="*/ 6 h 84"/>
                    <a:gd name="T52" fmla="*/ 150 w 174"/>
                    <a:gd name="T53" fmla="*/ 0 h 84"/>
                    <a:gd name="T54" fmla="*/ 162 w 174"/>
                    <a:gd name="T5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74" h="84">
                      <a:moveTo>
                        <a:pt x="162" y="0"/>
                      </a:moveTo>
                      <a:lnTo>
                        <a:pt x="174" y="0"/>
                      </a:lnTo>
                      <a:lnTo>
                        <a:pt x="174" y="6"/>
                      </a:lnTo>
                      <a:lnTo>
                        <a:pt x="174" y="18"/>
                      </a:lnTo>
                      <a:lnTo>
                        <a:pt x="162" y="30"/>
                      </a:lnTo>
                      <a:lnTo>
                        <a:pt x="150" y="48"/>
                      </a:lnTo>
                      <a:lnTo>
                        <a:pt x="132" y="60"/>
                      </a:lnTo>
                      <a:lnTo>
                        <a:pt x="114" y="66"/>
                      </a:lnTo>
                      <a:lnTo>
                        <a:pt x="102" y="66"/>
                      </a:lnTo>
                      <a:lnTo>
                        <a:pt x="90" y="66"/>
                      </a:lnTo>
                      <a:lnTo>
                        <a:pt x="78" y="72"/>
                      </a:lnTo>
                      <a:lnTo>
                        <a:pt x="66" y="78"/>
                      </a:lnTo>
                      <a:lnTo>
                        <a:pt x="48" y="78"/>
                      </a:lnTo>
                      <a:lnTo>
                        <a:pt x="36" y="84"/>
                      </a:lnTo>
                      <a:lnTo>
                        <a:pt x="24" y="84"/>
                      </a:lnTo>
                      <a:lnTo>
                        <a:pt x="12" y="78"/>
                      </a:lnTo>
                      <a:lnTo>
                        <a:pt x="0" y="72"/>
                      </a:lnTo>
                      <a:lnTo>
                        <a:pt x="0" y="60"/>
                      </a:lnTo>
                      <a:lnTo>
                        <a:pt x="6" y="48"/>
                      </a:lnTo>
                      <a:lnTo>
                        <a:pt x="12" y="36"/>
                      </a:lnTo>
                      <a:lnTo>
                        <a:pt x="18" y="24"/>
                      </a:lnTo>
                      <a:lnTo>
                        <a:pt x="30" y="12"/>
                      </a:lnTo>
                      <a:lnTo>
                        <a:pt x="48" y="12"/>
                      </a:lnTo>
                      <a:lnTo>
                        <a:pt x="84" y="12"/>
                      </a:lnTo>
                      <a:lnTo>
                        <a:pt x="108" y="12"/>
                      </a:lnTo>
                      <a:lnTo>
                        <a:pt x="126" y="6"/>
                      </a:lnTo>
                      <a:lnTo>
                        <a:pt x="150" y="0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2" name="Freeform 173">
                  <a:extLst>
                    <a:ext uri="{FF2B5EF4-FFF2-40B4-BE49-F238E27FC236}">
                      <a16:creationId xmlns:a16="http://schemas.microsoft.com/office/drawing/2014/main" id="{D03203C6-3739-4844-BC86-E04219B1E5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29" y="-8268"/>
                  <a:ext cx="198" cy="60"/>
                </a:xfrm>
                <a:custGeom>
                  <a:avLst/>
                  <a:gdLst>
                    <a:gd name="T0" fmla="*/ 186 w 198"/>
                    <a:gd name="T1" fmla="*/ 0 h 60"/>
                    <a:gd name="T2" fmla="*/ 198 w 198"/>
                    <a:gd name="T3" fmla="*/ 6 h 60"/>
                    <a:gd name="T4" fmla="*/ 198 w 198"/>
                    <a:gd name="T5" fmla="*/ 12 h 60"/>
                    <a:gd name="T6" fmla="*/ 198 w 198"/>
                    <a:gd name="T7" fmla="*/ 18 h 60"/>
                    <a:gd name="T8" fmla="*/ 186 w 198"/>
                    <a:gd name="T9" fmla="*/ 30 h 60"/>
                    <a:gd name="T10" fmla="*/ 174 w 198"/>
                    <a:gd name="T11" fmla="*/ 42 h 60"/>
                    <a:gd name="T12" fmla="*/ 156 w 198"/>
                    <a:gd name="T13" fmla="*/ 48 h 60"/>
                    <a:gd name="T14" fmla="*/ 138 w 198"/>
                    <a:gd name="T15" fmla="*/ 54 h 60"/>
                    <a:gd name="T16" fmla="*/ 120 w 198"/>
                    <a:gd name="T17" fmla="*/ 54 h 60"/>
                    <a:gd name="T18" fmla="*/ 102 w 198"/>
                    <a:gd name="T19" fmla="*/ 54 h 60"/>
                    <a:gd name="T20" fmla="*/ 84 w 198"/>
                    <a:gd name="T21" fmla="*/ 60 h 60"/>
                    <a:gd name="T22" fmla="*/ 66 w 198"/>
                    <a:gd name="T23" fmla="*/ 60 h 60"/>
                    <a:gd name="T24" fmla="*/ 42 w 198"/>
                    <a:gd name="T25" fmla="*/ 54 h 60"/>
                    <a:gd name="T26" fmla="*/ 24 w 198"/>
                    <a:gd name="T27" fmla="*/ 48 h 60"/>
                    <a:gd name="T28" fmla="*/ 12 w 198"/>
                    <a:gd name="T29" fmla="*/ 42 h 60"/>
                    <a:gd name="T30" fmla="*/ 0 w 198"/>
                    <a:gd name="T31" fmla="*/ 36 h 60"/>
                    <a:gd name="T32" fmla="*/ 0 w 198"/>
                    <a:gd name="T33" fmla="*/ 24 h 60"/>
                    <a:gd name="T34" fmla="*/ 6 w 198"/>
                    <a:gd name="T35" fmla="*/ 12 h 60"/>
                    <a:gd name="T36" fmla="*/ 12 w 198"/>
                    <a:gd name="T37" fmla="*/ 6 h 60"/>
                    <a:gd name="T38" fmla="*/ 24 w 198"/>
                    <a:gd name="T39" fmla="*/ 0 h 60"/>
                    <a:gd name="T40" fmla="*/ 36 w 198"/>
                    <a:gd name="T41" fmla="*/ 0 h 60"/>
                    <a:gd name="T42" fmla="*/ 54 w 198"/>
                    <a:gd name="T43" fmla="*/ 6 h 60"/>
                    <a:gd name="T44" fmla="*/ 66 w 198"/>
                    <a:gd name="T45" fmla="*/ 6 h 60"/>
                    <a:gd name="T46" fmla="*/ 78 w 198"/>
                    <a:gd name="T47" fmla="*/ 6 h 60"/>
                    <a:gd name="T48" fmla="*/ 102 w 198"/>
                    <a:gd name="T49" fmla="*/ 6 h 60"/>
                    <a:gd name="T50" fmla="*/ 126 w 198"/>
                    <a:gd name="T51" fmla="*/ 6 h 60"/>
                    <a:gd name="T52" fmla="*/ 150 w 198"/>
                    <a:gd name="T53" fmla="*/ 6 h 60"/>
                    <a:gd name="T54" fmla="*/ 174 w 198"/>
                    <a:gd name="T55" fmla="*/ 6 h 60"/>
                    <a:gd name="T56" fmla="*/ 186 w 198"/>
                    <a:gd name="T57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98" h="60">
                      <a:moveTo>
                        <a:pt x="186" y="0"/>
                      </a:moveTo>
                      <a:lnTo>
                        <a:pt x="198" y="6"/>
                      </a:lnTo>
                      <a:lnTo>
                        <a:pt x="198" y="12"/>
                      </a:lnTo>
                      <a:lnTo>
                        <a:pt x="198" y="18"/>
                      </a:lnTo>
                      <a:lnTo>
                        <a:pt x="186" y="30"/>
                      </a:lnTo>
                      <a:lnTo>
                        <a:pt x="174" y="42"/>
                      </a:lnTo>
                      <a:lnTo>
                        <a:pt x="156" y="48"/>
                      </a:lnTo>
                      <a:lnTo>
                        <a:pt x="138" y="54"/>
                      </a:lnTo>
                      <a:lnTo>
                        <a:pt x="120" y="54"/>
                      </a:lnTo>
                      <a:lnTo>
                        <a:pt x="102" y="54"/>
                      </a:lnTo>
                      <a:lnTo>
                        <a:pt x="84" y="60"/>
                      </a:lnTo>
                      <a:lnTo>
                        <a:pt x="66" y="60"/>
                      </a:lnTo>
                      <a:lnTo>
                        <a:pt x="42" y="54"/>
                      </a:lnTo>
                      <a:lnTo>
                        <a:pt x="24" y="48"/>
                      </a:lnTo>
                      <a:lnTo>
                        <a:pt x="12" y="42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24" y="0"/>
                      </a:lnTo>
                      <a:lnTo>
                        <a:pt x="36" y="0"/>
                      </a:lnTo>
                      <a:lnTo>
                        <a:pt x="54" y="6"/>
                      </a:lnTo>
                      <a:lnTo>
                        <a:pt x="66" y="6"/>
                      </a:lnTo>
                      <a:lnTo>
                        <a:pt x="78" y="6"/>
                      </a:lnTo>
                      <a:lnTo>
                        <a:pt x="102" y="6"/>
                      </a:lnTo>
                      <a:lnTo>
                        <a:pt x="126" y="6"/>
                      </a:lnTo>
                      <a:lnTo>
                        <a:pt x="150" y="6"/>
                      </a:lnTo>
                      <a:lnTo>
                        <a:pt x="174" y="6"/>
                      </a:lnTo>
                      <a:lnTo>
                        <a:pt x="186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3" name="Freeform 174">
                  <a:extLst>
                    <a:ext uri="{FF2B5EF4-FFF2-40B4-BE49-F238E27FC236}">
                      <a16:creationId xmlns:a16="http://schemas.microsoft.com/office/drawing/2014/main" id="{444F9977-BCC0-461C-97AA-5D60924AD4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63" y="-8244"/>
                  <a:ext cx="114" cy="126"/>
                </a:xfrm>
                <a:custGeom>
                  <a:avLst/>
                  <a:gdLst>
                    <a:gd name="T0" fmla="*/ 96 w 114"/>
                    <a:gd name="T1" fmla="*/ 0 h 126"/>
                    <a:gd name="T2" fmla="*/ 108 w 114"/>
                    <a:gd name="T3" fmla="*/ 6 h 126"/>
                    <a:gd name="T4" fmla="*/ 114 w 114"/>
                    <a:gd name="T5" fmla="*/ 18 h 126"/>
                    <a:gd name="T6" fmla="*/ 108 w 114"/>
                    <a:gd name="T7" fmla="*/ 42 h 126"/>
                    <a:gd name="T8" fmla="*/ 90 w 114"/>
                    <a:gd name="T9" fmla="*/ 72 h 126"/>
                    <a:gd name="T10" fmla="*/ 84 w 114"/>
                    <a:gd name="T11" fmla="*/ 102 h 126"/>
                    <a:gd name="T12" fmla="*/ 84 w 114"/>
                    <a:gd name="T13" fmla="*/ 114 h 126"/>
                    <a:gd name="T14" fmla="*/ 78 w 114"/>
                    <a:gd name="T15" fmla="*/ 126 h 126"/>
                    <a:gd name="T16" fmla="*/ 72 w 114"/>
                    <a:gd name="T17" fmla="*/ 126 h 126"/>
                    <a:gd name="T18" fmla="*/ 60 w 114"/>
                    <a:gd name="T19" fmla="*/ 126 h 126"/>
                    <a:gd name="T20" fmla="*/ 48 w 114"/>
                    <a:gd name="T21" fmla="*/ 120 h 126"/>
                    <a:gd name="T22" fmla="*/ 36 w 114"/>
                    <a:gd name="T23" fmla="*/ 114 h 126"/>
                    <a:gd name="T24" fmla="*/ 24 w 114"/>
                    <a:gd name="T25" fmla="*/ 102 h 126"/>
                    <a:gd name="T26" fmla="*/ 12 w 114"/>
                    <a:gd name="T27" fmla="*/ 90 h 126"/>
                    <a:gd name="T28" fmla="*/ 6 w 114"/>
                    <a:gd name="T29" fmla="*/ 78 h 126"/>
                    <a:gd name="T30" fmla="*/ 0 w 114"/>
                    <a:gd name="T31" fmla="*/ 66 h 126"/>
                    <a:gd name="T32" fmla="*/ 0 w 114"/>
                    <a:gd name="T33" fmla="*/ 60 h 126"/>
                    <a:gd name="T34" fmla="*/ 6 w 114"/>
                    <a:gd name="T35" fmla="*/ 54 h 126"/>
                    <a:gd name="T36" fmla="*/ 12 w 114"/>
                    <a:gd name="T37" fmla="*/ 42 h 126"/>
                    <a:gd name="T38" fmla="*/ 24 w 114"/>
                    <a:gd name="T39" fmla="*/ 36 h 126"/>
                    <a:gd name="T40" fmla="*/ 36 w 114"/>
                    <a:gd name="T41" fmla="*/ 24 h 126"/>
                    <a:gd name="T42" fmla="*/ 48 w 114"/>
                    <a:gd name="T43" fmla="*/ 12 h 126"/>
                    <a:gd name="T44" fmla="*/ 66 w 114"/>
                    <a:gd name="T45" fmla="*/ 6 h 126"/>
                    <a:gd name="T46" fmla="*/ 84 w 114"/>
                    <a:gd name="T47" fmla="*/ 0 h 126"/>
                    <a:gd name="T48" fmla="*/ 96 w 114"/>
                    <a:gd name="T49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14" h="126">
                      <a:moveTo>
                        <a:pt x="96" y="0"/>
                      </a:moveTo>
                      <a:lnTo>
                        <a:pt x="108" y="6"/>
                      </a:lnTo>
                      <a:lnTo>
                        <a:pt x="114" y="18"/>
                      </a:lnTo>
                      <a:lnTo>
                        <a:pt x="108" y="42"/>
                      </a:lnTo>
                      <a:lnTo>
                        <a:pt x="90" y="72"/>
                      </a:lnTo>
                      <a:lnTo>
                        <a:pt x="84" y="102"/>
                      </a:lnTo>
                      <a:lnTo>
                        <a:pt x="84" y="114"/>
                      </a:lnTo>
                      <a:lnTo>
                        <a:pt x="78" y="126"/>
                      </a:lnTo>
                      <a:lnTo>
                        <a:pt x="72" y="126"/>
                      </a:lnTo>
                      <a:lnTo>
                        <a:pt x="60" y="126"/>
                      </a:lnTo>
                      <a:lnTo>
                        <a:pt x="48" y="120"/>
                      </a:lnTo>
                      <a:lnTo>
                        <a:pt x="36" y="114"/>
                      </a:lnTo>
                      <a:lnTo>
                        <a:pt x="24" y="102"/>
                      </a:lnTo>
                      <a:lnTo>
                        <a:pt x="12" y="90"/>
                      </a:lnTo>
                      <a:lnTo>
                        <a:pt x="6" y="78"/>
                      </a:lnTo>
                      <a:lnTo>
                        <a:pt x="0" y="66"/>
                      </a:lnTo>
                      <a:lnTo>
                        <a:pt x="0" y="60"/>
                      </a:lnTo>
                      <a:lnTo>
                        <a:pt x="6" y="54"/>
                      </a:lnTo>
                      <a:lnTo>
                        <a:pt x="12" y="42"/>
                      </a:lnTo>
                      <a:lnTo>
                        <a:pt x="24" y="36"/>
                      </a:lnTo>
                      <a:lnTo>
                        <a:pt x="36" y="24"/>
                      </a:lnTo>
                      <a:lnTo>
                        <a:pt x="48" y="12"/>
                      </a:lnTo>
                      <a:lnTo>
                        <a:pt x="66" y="6"/>
                      </a:lnTo>
                      <a:lnTo>
                        <a:pt x="84" y="0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4" name="Freeform 175">
                  <a:extLst>
                    <a:ext uri="{FF2B5EF4-FFF2-40B4-BE49-F238E27FC236}">
                      <a16:creationId xmlns:a16="http://schemas.microsoft.com/office/drawing/2014/main" id="{42BDCAF3-60DC-4563-8221-B727AD73C8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37" y="-8340"/>
                  <a:ext cx="174" cy="150"/>
                </a:xfrm>
                <a:custGeom>
                  <a:avLst/>
                  <a:gdLst>
                    <a:gd name="T0" fmla="*/ 90 w 174"/>
                    <a:gd name="T1" fmla="*/ 0 h 150"/>
                    <a:gd name="T2" fmla="*/ 132 w 174"/>
                    <a:gd name="T3" fmla="*/ 6 h 150"/>
                    <a:gd name="T4" fmla="*/ 168 w 174"/>
                    <a:gd name="T5" fmla="*/ 24 h 150"/>
                    <a:gd name="T6" fmla="*/ 174 w 174"/>
                    <a:gd name="T7" fmla="*/ 36 h 150"/>
                    <a:gd name="T8" fmla="*/ 174 w 174"/>
                    <a:gd name="T9" fmla="*/ 48 h 150"/>
                    <a:gd name="T10" fmla="*/ 168 w 174"/>
                    <a:gd name="T11" fmla="*/ 60 h 150"/>
                    <a:gd name="T12" fmla="*/ 156 w 174"/>
                    <a:gd name="T13" fmla="*/ 78 h 150"/>
                    <a:gd name="T14" fmla="*/ 150 w 174"/>
                    <a:gd name="T15" fmla="*/ 90 h 150"/>
                    <a:gd name="T16" fmla="*/ 144 w 174"/>
                    <a:gd name="T17" fmla="*/ 114 h 150"/>
                    <a:gd name="T18" fmla="*/ 138 w 174"/>
                    <a:gd name="T19" fmla="*/ 132 h 150"/>
                    <a:gd name="T20" fmla="*/ 126 w 174"/>
                    <a:gd name="T21" fmla="*/ 144 h 150"/>
                    <a:gd name="T22" fmla="*/ 114 w 174"/>
                    <a:gd name="T23" fmla="*/ 150 h 150"/>
                    <a:gd name="T24" fmla="*/ 102 w 174"/>
                    <a:gd name="T25" fmla="*/ 150 h 150"/>
                    <a:gd name="T26" fmla="*/ 90 w 174"/>
                    <a:gd name="T27" fmla="*/ 150 h 150"/>
                    <a:gd name="T28" fmla="*/ 78 w 174"/>
                    <a:gd name="T29" fmla="*/ 144 h 150"/>
                    <a:gd name="T30" fmla="*/ 66 w 174"/>
                    <a:gd name="T31" fmla="*/ 138 h 150"/>
                    <a:gd name="T32" fmla="*/ 54 w 174"/>
                    <a:gd name="T33" fmla="*/ 132 h 150"/>
                    <a:gd name="T34" fmla="*/ 42 w 174"/>
                    <a:gd name="T35" fmla="*/ 132 h 150"/>
                    <a:gd name="T36" fmla="*/ 30 w 174"/>
                    <a:gd name="T37" fmla="*/ 132 h 150"/>
                    <a:gd name="T38" fmla="*/ 24 w 174"/>
                    <a:gd name="T39" fmla="*/ 138 h 150"/>
                    <a:gd name="T40" fmla="*/ 18 w 174"/>
                    <a:gd name="T41" fmla="*/ 144 h 150"/>
                    <a:gd name="T42" fmla="*/ 12 w 174"/>
                    <a:gd name="T43" fmla="*/ 144 h 150"/>
                    <a:gd name="T44" fmla="*/ 6 w 174"/>
                    <a:gd name="T45" fmla="*/ 132 h 150"/>
                    <a:gd name="T46" fmla="*/ 0 w 174"/>
                    <a:gd name="T47" fmla="*/ 120 h 150"/>
                    <a:gd name="T48" fmla="*/ 0 w 174"/>
                    <a:gd name="T49" fmla="*/ 102 h 150"/>
                    <a:gd name="T50" fmla="*/ 0 w 174"/>
                    <a:gd name="T51" fmla="*/ 84 h 150"/>
                    <a:gd name="T52" fmla="*/ 0 w 174"/>
                    <a:gd name="T53" fmla="*/ 66 h 150"/>
                    <a:gd name="T54" fmla="*/ 6 w 174"/>
                    <a:gd name="T55" fmla="*/ 48 h 150"/>
                    <a:gd name="T56" fmla="*/ 18 w 174"/>
                    <a:gd name="T57" fmla="*/ 36 h 150"/>
                    <a:gd name="T58" fmla="*/ 30 w 174"/>
                    <a:gd name="T59" fmla="*/ 24 h 150"/>
                    <a:gd name="T60" fmla="*/ 48 w 174"/>
                    <a:gd name="T61" fmla="*/ 12 h 150"/>
                    <a:gd name="T62" fmla="*/ 90 w 174"/>
                    <a:gd name="T6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74" h="150">
                      <a:moveTo>
                        <a:pt x="90" y="0"/>
                      </a:moveTo>
                      <a:lnTo>
                        <a:pt x="132" y="6"/>
                      </a:lnTo>
                      <a:lnTo>
                        <a:pt x="168" y="24"/>
                      </a:lnTo>
                      <a:lnTo>
                        <a:pt x="174" y="36"/>
                      </a:lnTo>
                      <a:lnTo>
                        <a:pt x="174" y="48"/>
                      </a:lnTo>
                      <a:lnTo>
                        <a:pt x="168" y="60"/>
                      </a:lnTo>
                      <a:lnTo>
                        <a:pt x="156" y="78"/>
                      </a:lnTo>
                      <a:lnTo>
                        <a:pt x="150" y="90"/>
                      </a:lnTo>
                      <a:lnTo>
                        <a:pt x="144" y="114"/>
                      </a:lnTo>
                      <a:lnTo>
                        <a:pt x="138" y="132"/>
                      </a:lnTo>
                      <a:lnTo>
                        <a:pt x="126" y="144"/>
                      </a:lnTo>
                      <a:lnTo>
                        <a:pt x="114" y="150"/>
                      </a:lnTo>
                      <a:lnTo>
                        <a:pt x="102" y="150"/>
                      </a:lnTo>
                      <a:lnTo>
                        <a:pt x="90" y="150"/>
                      </a:lnTo>
                      <a:lnTo>
                        <a:pt x="78" y="144"/>
                      </a:lnTo>
                      <a:lnTo>
                        <a:pt x="66" y="138"/>
                      </a:lnTo>
                      <a:lnTo>
                        <a:pt x="54" y="132"/>
                      </a:lnTo>
                      <a:lnTo>
                        <a:pt x="42" y="132"/>
                      </a:lnTo>
                      <a:lnTo>
                        <a:pt x="30" y="132"/>
                      </a:lnTo>
                      <a:lnTo>
                        <a:pt x="24" y="138"/>
                      </a:lnTo>
                      <a:lnTo>
                        <a:pt x="18" y="144"/>
                      </a:lnTo>
                      <a:lnTo>
                        <a:pt x="12" y="144"/>
                      </a:lnTo>
                      <a:lnTo>
                        <a:pt x="6" y="132"/>
                      </a:lnTo>
                      <a:lnTo>
                        <a:pt x="0" y="120"/>
                      </a:lnTo>
                      <a:lnTo>
                        <a:pt x="0" y="102"/>
                      </a:lnTo>
                      <a:lnTo>
                        <a:pt x="0" y="84"/>
                      </a:lnTo>
                      <a:lnTo>
                        <a:pt x="0" y="66"/>
                      </a:lnTo>
                      <a:lnTo>
                        <a:pt x="6" y="48"/>
                      </a:lnTo>
                      <a:lnTo>
                        <a:pt x="18" y="36"/>
                      </a:lnTo>
                      <a:lnTo>
                        <a:pt x="30" y="24"/>
                      </a:lnTo>
                      <a:lnTo>
                        <a:pt x="48" y="12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5" name="Freeform 176">
                  <a:extLst>
                    <a:ext uri="{FF2B5EF4-FFF2-40B4-BE49-F238E27FC236}">
                      <a16:creationId xmlns:a16="http://schemas.microsoft.com/office/drawing/2014/main" id="{46F1BE2E-63CF-47EC-A90E-5E80C0C986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5" y="-8472"/>
                  <a:ext cx="156" cy="192"/>
                </a:xfrm>
                <a:custGeom>
                  <a:avLst/>
                  <a:gdLst>
                    <a:gd name="T0" fmla="*/ 78 w 156"/>
                    <a:gd name="T1" fmla="*/ 0 h 192"/>
                    <a:gd name="T2" fmla="*/ 102 w 156"/>
                    <a:gd name="T3" fmla="*/ 6 h 192"/>
                    <a:gd name="T4" fmla="*/ 120 w 156"/>
                    <a:gd name="T5" fmla="*/ 6 h 192"/>
                    <a:gd name="T6" fmla="*/ 132 w 156"/>
                    <a:gd name="T7" fmla="*/ 12 h 192"/>
                    <a:gd name="T8" fmla="*/ 138 w 156"/>
                    <a:gd name="T9" fmla="*/ 24 h 192"/>
                    <a:gd name="T10" fmla="*/ 138 w 156"/>
                    <a:gd name="T11" fmla="*/ 30 h 192"/>
                    <a:gd name="T12" fmla="*/ 144 w 156"/>
                    <a:gd name="T13" fmla="*/ 42 h 192"/>
                    <a:gd name="T14" fmla="*/ 144 w 156"/>
                    <a:gd name="T15" fmla="*/ 54 h 192"/>
                    <a:gd name="T16" fmla="*/ 144 w 156"/>
                    <a:gd name="T17" fmla="*/ 66 h 192"/>
                    <a:gd name="T18" fmla="*/ 150 w 156"/>
                    <a:gd name="T19" fmla="*/ 78 h 192"/>
                    <a:gd name="T20" fmla="*/ 156 w 156"/>
                    <a:gd name="T21" fmla="*/ 96 h 192"/>
                    <a:gd name="T22" fmla="*/ 150 w 156"/>
                    <a:gd name="T23" fmla="*/ 114 h 192"/>
                    <a:gd name="T24" fmla="*/ 144 w 156"/>
                    <a:gd name="T25" fmla="*/ 126 h 192"/>
                    <a:gd name="T26" fmla="*/ 132 w 156"/>
                    <a:gd name="T27" fmla="*/ 144 h 192"/>
                    <a:gd name="T28" fmla="*/ 114 w 156"/>
                    <a:gd name="T29" fmla="*/ 162 h 192"/>
                    <a:gd name="T30" fmla="*/ 78 w 156"/>
                    <a:gd name="T31" fmla="*/ 186 h 192"/>
                    <a:gd name="T32" fmla="*/ 48 w 156"/>
                    <a:gd name="T33" fmla="*/ 192 h 192"/>
                    <a:gd name="T34" fmla="*/ 12 w 156"/>
                    <a:gd name="T35" fmla="*/ 174 h 192"/>
                    <a:gd name="T36" fmla="*/ 6 w 156"/>
                    <a:gd name="T37" fmla="*/ 156 h 192"/>
                    <a:gd name="T38" fmla="*/ 0 w 156"/>
                    <a:gd name="T39" fmla="*/ 144 h 192"/>
                    <a:gd name="T40" fmla="*/ 0 w 156"/>
                    <a:gd name="T41" fmla="*/ 132 h 192"/>
                    <a:gd name="T42" fmla="*/ 6 w 156"/>
                    <a:gd name="T43" fmla="*/ 114 h 192"/>
                    <a:gd name="T44" fmla="*/ 18 w 156"/>
                    <a:gd name="T45" fmla="*/ 102 h 192"/>
                    <a:gd name="T46" fmla="*/ 24 w 156"/>
                    <a:gd name="T47" fmla="*/ 90 h 192"/>
                    <a:gd name="T48" fmla="*/ 42 w 156"/>
                    <a:gd name="T49" fmla="*/ 84 h 192"/>
                    <a:gd name="T50" fmla="*/ 48 w 156"/>
                    <a:gd name="T51" fmla="*/ 78 h 192"/>
                    <a:gd name="T52" fmla="*/ 54 w 156"/>
                    <a:gd name="T53" fmla="*/ 72 h 192"/>
                    <a:gd name="T54" fmla="*/ 54 w 156"/>
                    <a:gd name="T55" fmla="*/ 60 h 192"/>
                    <a:gd name="T56" fmla="*/ 48 w 156"/>
                    <a:gd name="T57" fmla="*/ 54 h 192"/>
                    <a:gd name="T58" fmla="*/ 42 w 156"/>
                    <a:gd name="T59" fmla="*/ 42 h 192"/>
                    <a:gd name="T60" fmla="*/ 36 w 156"/>
                    <a:gd name="T61" fmla="*/ 30 h 192"/>
                    <a:gd name="T62" fmla="*/ 30 w 156"/>
                    <a:gd name="T63" fmla="*/ 24 h 192"/>
                    <a:gd name="T64" fmla="*/ 30 w 156"/>
                    <a:gd name="T65" fmla="*/ 12 h 192"/>
                    <a:gd name="T66" fmla="*/ 42 w 156"/>
                    <a:gd name="T67" fmla="*/ 6 h 192"/>
                    <a:gd name="T68" fmla="*/ 54 w 156"/>
                    <a:gd name="T69" fmla="*/ 6 h 192"/>
                    <a:gd name="T70" fmla="*/ 78 w 156"/>
                    <a:gd name="T71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6" h="192">
                      <a:moveTo>
                        <a:pt x="78" y="0"/>
                      </a:moveTo>
                      <a:lnTo>
                        <a:pt x="102" y="6"/>
                      </a:lnTo>
                      <a:lnTo>
                        <a:pt x="120" y="6"/>
                      </a:lnTo>
                      <a:lnTo>
                        <a:pt x="132" y="12"/>
                      </a:lnTo>
                      <a:lnTo>
                        <a:pt x="138" y="24"/>
                      </a:lnTo>
                      <a:lnTo>
                        <a:pt x="138" y="30"/>
                      </a:lnTo>
                      <a:lnTo>
                        <a:pt x="144" y="42"/>
                      </a:lnTo>
                      <a:lnTo>
                        <a:pt x="144" y="54"/>
                      </a:lnTo>
                      <a:lnTo>
                        <a:pt x="144" y="66"/>
                      </a:lnTo>
                      <a:lnTo>
                        <a:pt x="150" y="78"/>
                      </a:lnTo>
                      <a:lnTo>
                        <a:pt x="156" y="96"/>
                      </a:lnTo>
                      <a:lnTo>
                        <a:pt x="150" y="114"/>
                      </a:lnTo>
                      <a:lnTo>
                        <a:pt x="144" y="126"/>
                      </a:lnTo>
                      <a:lnTo>
                        <a:pt x="132" y="144"/>
                      </a:lnTo>
                      <a:lnTo>
                        <a:pt x="114" y="162"/>
                      </a:lnTo>
                      <a:lnTo>
                        <a:pt x="78" y="186"/>
                      </a:lnTo>
                      <a:lnTo>
                        <a:pt x="48" y="192"/>
                      </a:lnTo>
                      <a:lnTo>
                        <a:pt x="12" y="174"/>
                      </a:lnTo>
                      <a:lnTo>
                        <a:pt x="6" y="156"/>
                      </a:lnTo>
                      <a:lnTo>
                        <a:pt x="0" y="144"/>
                      </a:lnTo>
                      <a:lnTo>
                        <a:pt x="0" y="132"/>
                      </a:lnTo>
                      <a:lnTo>
                        <a:pt x="6" y="114"/>
                      </a:lnTo>
                      <a:lnTo>
                        <a:pt x="18" y="102"/>
                      </a:lnTo>
                      <a:lnTo>
                        <a:pt x="24" y="90"/>
                      </a:lnTo>
                      <a:lnTo>
                        <a:pt x="42" y="84"/>
                      </a:lnTo>
                      <a:lnTo>
                        <a:pt x="48" y="78"/>
                      </a:lnTo>
                      <a:lnTo>
                        <a:pt x="54" y="72"/>
                      </a:lnTo>
                      <a:lnTo>
                        <a:pt x="54" y="60"/>
                      </a:lnTo>
                      <a:lnTo>
                        <a:pt x="48" y="54"/>
                      </a:lnTo>
                      <a:lnTo>
                        <a:pt x="42" y="42"/>
                      </a:lnTo>
                      <a:lnTo>
                        <a:pt x="36" y="30"/>
                      </a:lnTo>
                      <a:lnTo>
                        <a:pt x="30" y="24"/>
                      </a:lnTo>
                      <a:lnTo>
                        <a:pt x="30" y="12"/>
                      </a:lnTo>
                      <a:lnTo>
                        <a:pt x="42" y="6"/>
                      </a:lnTo>
                      <a:lnTo>
                        <a:pt x="54" y="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6" name="Freeform 177">
                  <a:extLst>
                    <a:ext uri="{FF2B5EF4-FFF2-40B4-BE49-F238E27FC236}">
                      <a16:creationId xmlns:a16="http://schemas.microsoft.com/office/drawing/2014/main" id="{F03348CA-9621-4FF2-BFFB-1FE8558E98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3" y="-8436"/>
                  <a:ext cx="60" cy="66"/>
                </a:xfrm>
                <a:custGeom>
                  <a:avLst/>
                  <a:gdLst>
                    <a:gd name="T0" fmla="*/ 30 w 60"/>
                    <a:gd name="T1" fmla="*/ 0 h 66"/>
                    <a:gd name="T2" fmla="*/ 42 w 60"/>
                    <a:gd name="T3" fmla="*/ 0 h 66"/>
                    <a:gd name="T4" fmla="*/ 54 w 60"/>
                    <a:gd name="T5" fmla="*/ 6 h 66"/>
                    <a:gd name="T6" fmla="*/ 60 w 60"/>
                    <a:gd name="T7" fmla="*/ 12 h 66"/>
                    <a:gd name="T8" fmla="*/ 60 w 60"/>
                    <a:gd name="T9" fmla="*/ 24 h 66"/>
                    <a:gd name="T10" fmla="*/ 54 w 60"/>
                    <a:gd name="T11" fmla="*/ 36 h 66"/>
                    <a:gd name="T12" fmla="*/ 48 w 60"/>
                    <a:gd name="T13" fmla="*/ 48 h 66"/>
                    <a:gd name="T14" fmla="*/ 36 w 60"/>
                    <a:gd name="T15" fmla="*/ 60 h 66"/>
                    <a:gd name="T16" fmla="*/ 24 w 60"/>
                    <a:gd name="T17" fmla="*/ 66 h 66"/>
                    <a:gd name="T18" fmla="*/ 12 w 60"/>
                    <a:gd name="T19" fmla="*/ 66 h 66"/>
                    <a:gd name="T20" fmla="*/ 6 w 60"/>
                    <a:gd name="T21" fmla="*/ 60 h 66"/>
                    <a:gd name="T22" fmla="*/ 0 w 60"/>
                    <a:gd name="T23" fmla="*/ 48 h 66"/>
                    <a:gd name="T24" fmla="*/ 0 w 60"/>
                    <a:gd name="T25" fmla="*/ 36 h 66"/>
                    <a:gd name="T26" fmla="*/ 0 w 60"/>
                    <a:gd name="T27" fmla="*/ 24 h 66"/>
                    <a:gd name="T28" fmla="*/ 6 w 60"/>
                    <a:gd name="T29" fmla="*/ 12 h 66"/>
                    <a:gd name="T30" fmla="*/ 12 w 60"/>
                    <a:gd name="T31" fmla="*/ 6 h 66"/>
                    <a:gd name="T32" fmla="*/ 30 w 60"/>
                    <a:gd name="T33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" h="66">
                      <a:moveTo>
                        <a:pt x="30" y="0"/>
                      </a:moveTo>
                      <a:lnTo>
                        <a:pt x="42" y="0"/>
                      </a:lnTo>
                      <a:lnTo>
                        <a:pt x="54" y="6"/>
                      </a:lnTo>
                      <a:lnTo>
                        <a:pt x="60" y="12"/>
                      </a:lnTo>
                      <a:lnTo>
                        <a:pt x="60" y="24"/>
                      </a:lnTo>
                      <a:lnTo>
                        <a:pt x="54" y="36"/>
                      </a:lnTo>
                      <a:lnTo>
                        <a:pt x="48" y="48"/>
                      </a:lnTo>
                      <a:lnTo>
                        <a:pt x="36" y="60"/>
                      </a:lnTo>
                      <a:lnTo>
                        <a:pt x="24" y="66"/>
                      </a:lnTo>
                      <a:lnTo>
                        <a:pt x="12" y="66"/>
                      </a:lnTo>
                      <a:lnTo>
                        <a:pt x="6" y="60"/>
                      </a:lnTo>
                      <a:lnTo>
                        <a:pt x="0" y="48"/>
                      </a:lnTo>
                      <a:lnTo>
                        <a:pt x="0" y="36"/>
                      </a:lnTo>
                      <a:lnTo>
                        <a:pt x="0" y="24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7" name="Freeform 178">
                  <a:extLst>
                    <a:ext uri="{FF2B5EF4-FFF2-40B4-BE49-F238E27FC236}">
                      <a16:creationId xmlns:a16="http://schemas.microsoft.com/office/drawing/2014/main" id="{5BB16560-4C70-44B7-8A7F-2C540E7B51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33" y="-8118"/>
                  <a:ext cx="96" cy="72"/>
                </a:xfrm>
                <a:custGeom>
                  <a:avLst/>
                  <a:gdLst>
                    <a:gd name="T0" fmla="*/ 48 w 96"/>
                    <a:gd name="T1" fmla="*/ 0 h 72"/>
                    <a:gd name="T2" fmla="*/ 72 w 96"/>
                    <a:gd name="T3" fmla="*/ 0 h 72"/>
                    <a:gd name="T4" fmla="*/ 84 w 96"/>
                    <a:gd name="T5" fmla="*/ 6 h 72"/>
                    <a:gd name="T6" fmla="*/ 90 w 96"/>
                    <a:gd name="T7" fmla="*/ 12 h 72"/>
                    <a:gd name="T8" fmla="*/ 96 w 96"/>
                    <a:gd name="T9" fmla="*/ 18 h 72"/>
                    <a:gd name="T10" fmla="*/ 96 w 96"/>
                    <a:gd name="T11" fmla="*/ 30 h 72"/>
                    <a:gd name="T12" fmla="*/ 90 w 96"/>
                    <a:gd name="T13" fmla="*/ 42 h 72"/>
                    <a:gd name="T14" fmla="*/ 78 w 96"/>
                    <a:gd name="T15" fmla="*/ 54 h 72"/>
                    <a:gd name="T16" fmla="*/ 66 w 96"/>
                    <a:gd name="T17" fmla="*/ 60 h 72"/>
                    <a:gd name="T18" fmla="*/ 54 w 96"/>
                    <a:gd name="T19" fmla="*/ 66 h 72"/>
                    <a:gd name="T20" fmla="*/ 36 w 96"/>
                    <a:gd name="T21" fmla="*/ 72 h 72"/>
                    <a:gd name="T22" fmla="*/ 24 w 96"/>
                    <a:gd name="T23" fmla="*/ 72 h 72"/>
                    <a:gd name="T24" fmla="*/ 12 w 96"/>
                    <a:gd name="T25" fmla="*/ 66 h 72"/>
                    <a:gd name="T26" fmla="*/ 6 w 96"/>
                    <a:gd name="T27" fmla="*/ 60 h 72"/>
                    <a:gd name="T28" fmla="*/ 0 w 96"/>
                    <a:gd name="T29" fmla="*/ 54 h 72"/>
                    <a:gd name="T30" fmla="*/ 0 w 96"/>
                    <a:gd name="T31" fmla="*/ 42 h 72"/>
                    <a:gd name="T32" fmla="*/ 6 w 96"/>
                    <a:gd name="T33" fmla="*/ 30 h 72"/>
                    <a:gd name="T34" fmla="*/ 12 w 96"/>
                    <a:gd name="T35" fmla="*/ 18 h 72"/>
                    <a:gd name="T36" fmla="*/ 24 w 96"/>
                    <a:gd name="T37" fmla="*/ 12 h 72"/>
                    <a:gd name="T38" fmla="*/ 36 w 96"/>
                    <a:gd name="T39" fmla="*/ 6 h 72"/>
                    <a:gd name="T40" fmla="*/ 48 w 96"/>
                    <a:gd name="T41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6" h="72">
                      <a:moveTo>
                        <a:pt x="48" y="0"/>
                      </a:moveTo>
                      <a:lnTo>
                        <a:pt x="72" y="0"/>
                      </a:lnTo>
                      <a:lnTo>
                        <a:pt x="84" y="6"/>
                      </a:lnTo>
                      <a:lnTo>
                        <a:pt x="90" y="12"/>
                      </a:lnTo>
                      <a:lnTo>
                        <a:pt x="96" y="18"/>
                      </a:lnTo>
                      <a:lnTo>
                        <a:pt x="96" y="30"/>
                      </a:lnTo>
                      <a:lnTo>
                        <a:pt x="90" y="42"/>
                      </a:lnTo>
                      <a:lnTo>
                        <a:pt x="78" y="54"/>
                      </a:lnTo>
                      <a:lnTo>
                        <a:pt x="66" y="60"/>
                      </a:lnTo>
                      <a:lnTo>
                        <a:pt x="54" y="66"/>
                      </a:lnTo>
                      <a:lnTo>
                        <a:pt x="36" y="72"/>
                      </a:lnTo>
                      <a:lnTo>
                        <a:pt x="24" y="72"/>
                      </a:lnTo>
                      <a:lnTo>
                        <a:pt x="12" y="66"/>
                      </a:lnTo>
                      <a:lnTo>
                        <a:pt x="6" y="60"/>
                      </a:lnTo>
                      <a:lnTo>
                        <a:pt x="0" y="54"/>
                      </a:lnTo>
                      <a:lnTo>
                        <a:pt x="0" y="42"/>
                      </a:lnTo>
                      <a:lnTo>
                        <a:pt x="6" y="30"/>
                      </a:lnTo>
                      <a:lnTo>
                        <a:pt x="12" y="18"/>
                      </a:lnTo>
                      <a:lnTo>
                        <a:pt x="24" y="12"/>
                      </a:lnTo>
                      <a:lnTo>
                        <a:pt x="36" y="6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8" name="Freeform 179">
                  <a:extLst>
                    <a:ext uri="{FF2B5EF4-FFF2-40B4-BE49-F238E27FC236}">
                      <a16:creationId xmlns:a16="http://schemas.microsoft.com/office/drawing/2014/main" id="{BAA59ECB-F8FF-49B2-B192-7687E9BA42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07" y="-8148"/>
                  <a:ext cx="54" cy="54"/>
                </a:xfrm>
                <a:custGeom>
                  <a:avLst/>
                  <a:gdLst>
                    <a:gd name="T0" fmla="*/ 24 w 54"/>
                    <a:gd name="T1" fmla="*/ 0 h 54"/>
                    <a:gd name="T2" fmla="*/ 36 w 54"/>
                    <a:gd name="T3" fmla="*/ 0 h 54"/>
                    <a:gd name="T4" fmla="*/ 48 w 54"/>
                    <a:gd name="T5" fmla="*/ 6 h 54"/>
                    <a:gd name="T6" fmla="*/ 54 w 54"/>
                    <a:gd name="T7" fmla="*/ 18 h 54"/>
                    <a:gd name="T8" fmla="*/ 54 w 54"/>
                    <a:gd name="T9" fmla="*/ 30 h 54"/>
                    <a:gd name="T10" fmla="*/ 54 w 54"/>
                    <a:gd name="T11" fmla="*/ 36 h 54"/>
                    <a:gd name="T12" fmla="*/ 42 w 54"/>
                    <a:gd name="T13" fmla="*/ 48 h 54"/>
                    <a:gd name="T14" fmla="*/ 30 w 54"/>
                    <a:gd name="T15" fmla="*/ 54 h 54"/>
                    <a:gd name="T16" fmla="*/ 18 w 54"/>
                    <a:gd name="T17" fmla="*/ 54 h 54"/>
                    <a:gd name="T18" fmla="*/ 6 w 54"/>
                    <a:gd name="T19" fmla="*/ 48 h 54"/>
                    <a:gd name="T20" fmla="*/ 0 w 54"/>
                    <a:gd name="T21" fmla="*/ 42 h 54"/>
                    <a:gd name="T22" fmla="*/ 0 w 54"/>
                    <a:gd name="T23" fmla="*/ 30 h 54"/>
                    <a:gd name="T24" fmla="*/ 0 w 54"/>
                    <a:gd name="T25" fmla="*/ 18 h 54"/>
                    <a:gd name="T26" fmla="*/ 6 w 54"/>
                    <a:gd name="T27" fmla="*/ 12 h 54"/>
                    <a:gd name="T28" fmla="*/ 12 w 54"/>
                    <a:gd name="T29" fmla="*/ 6 h 54"/>
                    <a:gd name="T30" fmla="*/ 24 w 54"/>
                    <a:gd name="T31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4" h="54">
                      <a:moveTo>
                        <a:pt x="24" y="0"/>
                      </a:moveTo>
                      <a:lnTo>
                        <a:pt x="36" y="0"/>
                      </a:lnTo>
                      <a:lnTo>
                        <a:pt x="48" y="6"/>
                      </a:lnTo>
                      <a:lnTo>
                        <a:pt x="54" y="18"/>
                      </a:lnTo>
                      <a:lnTo>
                        <a:pt x="54" y="30"/>
                      </a:lnTo>
                      <a:lnTo>
                        <a:pt x="54" y="36"/>
                      </a:lnTo>
                      <a:lnTo>
                        <a:pt x="42" y="48"/>
                      </a:lnTo>
                      <a:lnTo>
                        <a:pt x="30" y="54"/>
                      </a:lnTo>
                      <a:lnTo>
                        <a:pt x="18" y="54"/>
                      </a:lnTo>
                      <a:lnTo>
                        <a:pt x="6" y="48"/>
                      </a:lnTo>
                      <a:lnTo>
                        <a:pt x="0" y="42"/>
                      </a:lnTo>
                      <a:lnTo>
                        <a:pt x="0" y="30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chemeClr val="bg2">
                    <a:lumMod val="50000"/>
                    <a:alpha val="70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19" name="Freeform 180">
                  <a:extLst>
                    <a:ext uri="{FF2B5EF4-FFF2-40B4-BE49-F238E27FC236}">
                      <a16:creationId xmlns:a16="http://schemas.microsoft.com/office/drawing/2014/main" id="{E84AEA26-A24F-4B9D-B1EB-F895077046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1" y="-6294"/>
                  <a:ext cx="204" cy="126"/>
                </a:xfrm>
                <a:custGeom>
                  <a:avLst/>
                  <a:gdLst>
                    <a:gd name="T0" fmla="*/ 6 w 204"/>
                    <a:gd name="T1" fmla="*/ 0 h 126"/>
                    <a:gd name="T2" fmla="*/ 18 w 204"/>
                    <a:gd name="T3" fmla="*/ 0 h 126"/>
                    <a:gd name="T4" fmla="*/ 54 w 204"/>
                    <a:gd name="T5" fmla="*/ 6 h 126"/>
                    <a:gd name="T6" fmla="*/ 96 w 204"/>
                    <a:gd name="T7" fmla="*/ 24 h 126"/>
                    <a:gd name="T8" fmla="*/ 138 w 204"/>
                    <a:gd name="T9" fmla="*/ 48 h 126"/>
                    <a:gd name="T10" fmla="*/ 174 w 204"/>
                    <a:gd name="T11" fmla="*/ 66 h 126"/>
                    <a:gd name="T12" fmla="*/ 198 w 204"/>
                    <a:gd name="T13" fmla="*/ 84 h 126"/>
                    <a:gd name="T14" fmla="*/ 204 w 204"/>
                    <a:gd name="T15" fmla="*/ 96 h 126"/>
                    <a:gd name="T16" fmla="*/ 204 w 204"/>
                    <a:gd name="T17" fmla="*/ 108 h 126"/>
                    <a:gd name="T18" fmla="*/ 198 w 204"/>
                    <a:gd name="T19" fmla="*/ 120 h 126"/>
                    <a:gd name="T20" fmla="*/ 192 w 204"/>
                    <a:gd name="T21" fmla="*/ 126 h 126"/>
                    <a:gd name="T22" fmla="*/ 180 w 204"/>
                    <a:gd name="T23" fmla="*/ 126 h 126"/>
                    <a:gd name="T24" fmla="*/ 174 w 204"/>
                    <a:gd name="T25" fmla="*/ 126 h 126"/>
                    <a:gd name="T26" fmla="*/ 162 w 204"/>
                    <a:gd name="T27" fmla="*/ 114 h 126"/>
                    <a:gd name="T28" fmla="*/ 150 w 204"/>
                    <a:gd name="T29" fmla="*/ 114 h 126"/>
                    <a:gd name="T30" fmla="*/ 138 w 204"/>
                    <a:gd name="T31" fmla="*/ 114 h 126"/>
                    <a:gd name="T32" fmla="*/ 126 w 204"/>
                    <a:gd name="T33" fmla="*/ 120 h 126"/>
                    <a:gd name="T34" fmla="*/ 114 w 204"/>
                    <a:gd name="T35" fmla="*/ 126 h 126"/>
                    <a:gd name="T36" fmla="*/ 102 w 204"/>
                    <a:gd name="T37" fmla="*/ 120 h 126"/>
                    <a:gd name="T38" fmla="*/ 96 w 204"/>
                    <a:gd name="T39" fmla="*/ 108 h 126"/>
                    <a:gd name="T40" fmla="*/ 84 w 204"/>
                    <a:gd name="T41" fmla="*/ 96 h 126"/>
                    <a:gd name="T42" fmla="*/ 66 w 204"/>
                    <a:gd name="T43" fmla="*/ 90 h 126"/>
                    <a:gd name="T44" fmla="*/ 54 w 204"/>
                    <a:gd name="T45" fmla="*/ 84 h 126"/>
                    <a:gd name="T46" fmla="*/ 36 w 204"/>
                    <a:gd name="T47" fmla="*/ 84 h 126"/>
                    <a:gd name="T48" fmla="*/ 18 w 204"/>
                    <a:gd name="T49" fmla="*/ 78 h 126"/>
                    <a:gd name="T50" fmla="*/ 12 w 204"/>
                    <a:gd name="T51" fmla="*/ 72 h 126"/>
                    <a:gd name="T52" fmla="*/ 6 w 204"/>
                    <a:gd name="T53" fmla="*/ 66 h 126"/>
                    <a:gd name="T54" fmla="*/ 6 w 204"/>
                    <a:gd name="T55" fmla="*/ 54 h 126"/>
                    <a:gd name="T56" fmla="*/ 6 w 204"/>
                    <a:gd name="T57" fmla="*/ 42 h 126"/>
                    <a:gd name="T58" fmla="*/ 6 w 204"/>
                    <a:gd name="T59" fmla="*/ 24 h 126"/>
                    <a:gd name="T60" fmla="*/ 0 w 204"/>
                    <a:gd name="T61" fmla="*/ 12 h 126"/>
                    <a:gd name="T62" fmla="*/ 6 w 204"/>
                    <a:gd name="T6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04" h="126">
                      <a:moveTo>
                        <a:pt x="6" y="0"/>
                      </a:moveTo>
                      <a:lnTo>
                        <a:pt x="18" y="0"/>
                      </a:lnTo>
                      <a:lnTo>
                        <a:pt x="54" y="6"/>
                      </a:lnTo>
                      <a:lnTo>
                        <a:pt x="96" y="24"/>
                      </a:lnTo>
                      <a:lnTo>
                        <a:pt x="138" y="48"/>
                      </a:lnTo>
                      <a:lnTo>
                        <a:pt x="174" y="66"/>
                      </a:lnTo>
                      <a:lnTo>
                        <a:pt x="198" y="84"/>
                      </a:lnTo>
                      <a:lnTo>
                        <a:pt x="204" y="96"/>
                      </a:lnTo>
                      <a:lnTo>
                        <a:pt x="204" y="108"/>
                      </a:lnTo>
                      <a:lnTo>
                        <a:pt x="198" y="120"/>
                      </a:lnTo>
                      <a:lnTo>
                        <a:pt x="192" y="126"/>
                      </a:lnTo>
                      <a:lnTo>
                        <a:pt x="180" y="126"/>
                      </a:lnTo>
                      <a:lnTo>
                        <a:pt x="174" y="126"/>
                      </a:lnTo>
                      <a:lnTo>
                        <a:pt x="162" y="114"/>
                      </a:lnTo>
                      <a:lnTo>
                        <a:pt x="150" y="114"/>
                      </a:lnTo>
                      <a:lnTo>
                        <a:pt x="138" y="114"/>
                      </a:lnTo>
                      <a:lnTo>
                        <a:pt x="126" y="120"/>
                      </a:lnTo>
                      <a:lnTo>
                        <a:pt x="114" y="126"/>
                      </a:lnTo>
                      <a:lnTo>
                        <a:pt x="102" y="120"/>
                      </a:lnTo>
                      <a:lnTo>
                        <a:pt x="96" y="108"/>
                      </a:lnTo>
                      <a:lnTo>
                        <a:pt x="84" y="96"/>
                      </a:lnTo>
                      <a:lnTo>
                        <a:pt x="66" y="90"/>
                      </a:lnTo>
                      <a:lnTo>
                        <a:pt x="54" y="84"/>
                      </a:lnTo>
                      <a:lnTo>
                        <a:pt x="36" y="84"/>
                      </a:lnTo>
                      <a:lnTo>
                        <a:pt x="18" y="78"/>
                      </a:lnTo>
                      <a:lnTo>
                        <a:pt x="12" y="72"/>
                      </a:lnTo>
                      <a:lnTo>
                        <a:pt x="6" y="66"/>
                      </a:lnTo>
                      <a:lnTo>
                        <a:pt x="6" y="54"/>
                      </a:lnTo>
                      <a:lnTo>
                        <a:pt x="6" y="42"/>
                      </a:lnTo>
                      <a:lnTo>
                        <a:pt x="6" y="24"/>
                      </a:lnTo>
                      <a:lnTo>
                        <a:pt x="0" y="1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0" name="Freeform 181">
                  <a:extLst>
                    <a:ext uri="{FF2B5EF4-FFF2-40B4-BE49-F238E27FC236}">
                      <a16:creationId xmlns:a16="http://schemas.microsoft.com/office/drawing/2014/main" id="{4E87B189-40F0-458F-AFAA-DD249CF344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73" y="-6306"/>
                  <a:ext cx="48" cy="48"/>
                </a:xfrm>
                <a:custGeom>
                  <a:avLst/>
                  <a:gdLst>
                    <a:gd name="T0" fmla="*/ 18 w 48"/>
                    <a:gd name="T1" fmla="*/ 0 h 48"/>
                    <a:gd name="T2" fmla="*/ 24 w 48"/>
                    <a:gd name="T3" fmla="*/ 0 h 48"/>
                    <a:gd name="T4" fmla="*/ 30 w 48"/>
                    <a:gd name="T5" fmla="*/ 6 h 48"/>
                    <a:gd name="T6" fmla="*/ 42 w 48"/>
                    <a:gd name="T7" fmla="*/ 12 h 48"/>
                    <a:gd name="T8" fmla="*/ 42 w 48"/>
                    <a:gd name="T9" fmla="*/ 24 h 48"/>
                    <a:gd name="T10" fmla="*/ 48 w 48"/>
                    <a:gd name="T11" fmla="*/ 36 h 48"/>
                    <a:gd name="T12" fmla="*/ 42 w 48"/>
                    <a:gd name="T13" fmla="*/ 42 h 48"/>
                    <a:gd name="T14" fmla="*/ 36 w 48"/>
                    <a:gd name="T15" fmla="*/ 48 h 48"/>
                    <a:gd name="T16" fmla="*/ 30 w 48"/>
                    <a:gd name="T17" fmla="*/ 48 h 48"/>
                    <a:gd name="T18" fmla="*/ 18 w 48"/>
                    <a:gd name="T19" fmla="*/ 42 h 48"/>
                    <a:gd name="T20" fmla="*/ 12 w 48"/>
                    <a:gd name="T21" fmla="*/ 36 h 48"/>
                    <a:gd name="T22" fmla="*/ 6 w 48"/>
                    <a:gd name="T23" fmla="*/ 30 h 48"/>
                    <a:gd name="T24" fmla="*/ 0 w 48"/>
                    <a:gd name="T25" fmla="*/ 24 h 48"/>
                    <a:gd name="T26" fmla="*/ 0 w 48"/>
                    <a:gd name="T27" fmla="*/ 18 h 48"/>
                    <a:gd name="T28" fmla="*/ 0 w 48"/>
                    <a:gd name="T29" fmla="*/ 6 h 48"/>
                    <a:gd name="T30" fmla="*/ 6 w 48"/>
                    <a:gd name="T31" fmla="*/ 0 h 48"/>
                    <a:gd name="T32" fmla="*/ 18 w 48"/>
                    <a:gd name="T33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8" h="48">
                      <a:moveTo>
                        <a:pt x="18" y="0"/>
                      </a:moveTo>
                      <a:lnTo>
                        <a:pt x="24" y="0"/>
                      </a:lnTo>
                      <a:lnTo>
                        <a:pt x="30" y="6"/>
                      </a:lnTo>
                      <a:lnTo>
                        <a:pt x="42" y="12"/>
                      </a:lnTo>
                      <a:lnTo>
                        <a:pt x="42" y="24"/>
                      </a:lnTo>
                      <a:lnTo>
                        <a:pt x="48" y="36"/>
                      </a:lnTo>
                      <a:lnTo>
                        <a:pt x="42" y="42"/>
                      </a:lnTo>
                      <a:lnTo>
                        <a:pt x="36" y="48"/>
                      </a:lnTo>
                      <a:lnTo>
                        <a:pt x="30" y="48"/>
                      </a:lnTo>
                      <a:lnTo>
                        <a:pt x="18" y="42"/>
                      </a:lnTo>
                      <a:lnTo>
                        <a:pt x="12" y="36"/>
                      </a:lnTo>
                      <a:lnTo>
                        <a:pt x="6" y="30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1" name="Freeform 182">
                  <a:extLst>
                    <a:ext uri="{FF2B5EF4-FFF2-40B4-BE49-F238E27FC236}">
                      <a16:creationId xmlns:a16="http://schemas.microsoft.com/office/drawing/2014/main" id="{0696E736-E3F2-49D4-A653-691B28D1E0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15" y="-6738"/>
                  <a:ext cx="504" cy="486"/>
                </a:xfrm>
                <a:custGeom>
                  <a:avLst/>
                  <a:gdLst>
                    <a:gd name="T0" fmla="*/ 354 w 504"/>
                    <a:gd name="T1" fmla="*/ 6 h 486"/>
                    <a:gd name="T2" fmla="*/ 360 w 504"/>
                    <a:gd name="T3" fmla="*/ 30 h 486"/>
                    <a:gd name="T4" fmla="*/ 336 w 504"/>
                    <a:gd name="T5" fmla="*/ 42 h 486"/>
                    <a:gd name="T6" fmla="*/ 324 w 504"/>
                    <a:gd name="T7" fmla="*/ 66 h 486"/>
                    <a:gd name="T8" fmla="*/ 324 w 504"/>
                    <a:gd name="T9" fmla="*/ 108 h 486"/>
                    <a:gd name="T10" fmla="*/ 312 w 504"/>
                    <a:gd name="T11" fmla="*/ 168 h 486"/>
                    <a:gd name="T12" fmla="*/ 318 w 504"/>
                    <a:gd name="T13" fmla="*/ 210 h 486"/>
                    <a:gd name="T14" fmla="*/ 348 w 504"/>
                    <a:gd name="T15" fmla="*/ 234 h 486"/>
                    <a:gd name="T16" fmla="*/ 342 w 504"/>
                    <a:gd name="T17" fmla="*/ 276 h 486"/>
                    <a:gd name="T18" fmla="*/ 360 w 504"/>
                    <a:gd name="T19" fmla="*/ 294 h 486"/>
                    <a:gd name="T20" fmla="*/ 396 w 504"/>
                    <a:gd name="T21" fmla="*/ 324 h 486"/>
                    <a:gd name="T22" fmla="*/ 390 w 504"/>
                    <a:gd name="T23" fmla="*/ 366 h 486"/>
                    <a:gd name="T24" fmla="*/ 396 w 504"/>
                    <a:gd name="T25" fmla="*/ 384 h 486"/>
                    <a:gd name="T26" fmla="*/ 426 w 504"/>
                    <a:gd name="T27" fmla="*/ 384 h 486"/>
                    <a:gd name="T28" fmla="*/ 486 w 504"/>
                    <a:gd name="T29" fmla="*/ 420 h 486"/>
                    <a:gd name="T30" fmla="*/ 498 w 504"/>
                    <a:gd name="T31" fmla="*/ 450 h 486"/>
                    <a:gd name="T32" fmla="*/ 462 w 504"/>
                    <a:gd name="T33" fmla="*/ 468 h 486"/>
                    <a:gd name="T34" fmla="*/ 426 w 504"/>
                    <a:gd name="T35" fmla="*/ 468 h 486"/>
                    <a:gd name="T36" fmla="*/ 384 w 504"/>
                    <a:gd name="T37" fmla="*/ 468 h 486"/>
                    <a:gd name="T38" fmla="*/ 336 w 504"/>
                    <a:gd name="T39" fmla="*/ 486 h 486"/>
                    <a:gd name="T40" fmla="*/ 300 w 504"/>
                    <a:gd name="T41" fmla="*/ 474 h 486"/>
                    <a:gd name="T42" fmla="*/ 264 w 504"/>
                    <a:gd name="T43" fmla="*/ 462 h 486"/>
                    <a:gd name="T44" fmla="*/ 276 w 504"/>
                    <a:gd name="T45" fmla="*/ 438 h 486"/>
                    <a:gd name="T46" fmla="*/ 288 w 504"/>
                    <a:gd name="T47" fmla="*/ 414 h 486"/>
                    <a:gd name="T48" fmla="*/ 246 w 504"/>
                    <a:gd name="T49" fmla="*/ 402 h 486"/>
                    <a:gd name="T50" fmla="*/ 252 w 504"/>
                    <a:gd name="T51" fmla="*/ 384 h 486"/>
                    <a:gd name="T52" fmla="*/ 246 w 504"/>
                    <a:gd name="T53" fmla="*/ 372 h 486"/>
                    <a:gd name="T54" fmla="*/ 216 w 504"/>
                    <a:gd name="T55" fmla="*/ 378 h 486"/>
                    <a:gd name="T56" fmla="*/ 168 w 504"/>
                    <a:gd name="T57" fmla="*/ 390 h 486"/>
                    <a:gd name="T58" fmla="*/ 126 w 504"/>
                    <a:gd name="T59" fmla="*/ 366 h 486"/>
                    <a:gd name="T60" fmla="*/ 114 w 504"/>
                    <a:gd name="T61" fmla="*/ 372 h 486"/>
                    <a:gd name="T62" fmla="*/ 108 w 504"/>
                    <a:gd name="T63" fmla="*/ 402 h 486"/>
                    <a:gd name="T64" fmla="*/ 78 w 504"/>
                    <a:gd name="T65" fmla="*/ 396 h 486"/>
                    <a:gd name="T66" fmla="*/ 54 w 504"/>
                    <a:gd name="T67" fmla="*/ 372 h 486"/>
                    <a:gd name="T68" fmla="*/ 0 w 504"/>
                    <a:gd name="T69" fmla="*/ 264 h 486"/>
                    <a:gd name="T70" fmla="*/ 18 w 504"/>
                    <a:gd name="T71" fmla="*/ 240 h 486"/>
                    <a:gd name="T72" fmla="*/ 48 w 504"/>
                    <a:gd name="T73" fmla="*/ 234 h 486"/>
                    <a:gd name="T74" fmla="*/ 84 w 504"/>
                    <a:gd name="T75" fmla="*/ 228 h 486"/>
                    <a:gd name="T76" fmla="*/ 102 w 504"/>
                    <a:gd name="T77" fmla="*/ 198 h 486"/>
                    <a:gd name="T78" fmla="*/ 138 w 504"/>
                    <a:gd name="T79" fmla="*/ 186 h 486"/>
                    <a:gd name="T80" fmla="*/ 132 w 504"/>
                    <a:gd name="T81" fmla="*/ 150 h 486"/>
                    <a:gd name="T82" fmla="*/ 120 w 504"/>
                    <a:gd name="T83" fmla="*/ 96 h 486"/>
                    <a:gd name="T84" fmla="*/ 120 w 504"/>
                    <a:gd name="T85" fmla="*/ 60 h 486"/>
                    <a:gd name="T86" fmla="*/ 102 w 504"/>
                    <a:gd name="T87" fmla="*/ 42 h 486"/>
                    <a:gd name="T88" fmla="*/ 138 w 504"/>
                    <a:gd name="T89" fmla="*/ 12 h 486"/>
                    <a:gd name="T90" fmla="*/ 246 w 504"/>
                    <a:gd name="T91" fmla="*/ 6 h 4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04" h="486">
                      <a:moveTo>
                        <a:pt x="336" y="0"/>
                      </a:moveTo>
                      <a:lnTo>
                        <a:pt x="348" y="0"/>
                      </a:lnTo>
                      <a:lnTo>
                        <a:pt x="354" y="6"/>
                      </a:lnTo>
                      <a:lnTo>
                        <a:pt x="360" y="12"/>
                      </a:lnTo>
                      <a:lnTo>
                        <a:pt x="360" y="24"/>
                      </a:lnTo>
                      <a:lnTo>
                        <a:pt x="360" y="30"/>
                      </a:lnTo>
                      <a:lnTo>
                        <a:pt x="354" y="42"/>
                      </a:lnTo>
                      <a:lnTo>
                        <a:pt x="348" y="42"/>
                      </a:lnTo>
                      <a:lnTo>
                        <a:pt x="336" y="42"/>
                      </a:lnTo>
                      <a:lnTo>
                        <a:pt x="324" y="48"/>
                      </a:lnTo>
                      <a:lnTo>
                        <a:pt x="324" y="60"/>
                      </a:lnTo>
                      <a:lnTo>
                        <a:pt x="324" y="66"/>
                      </a:lnTo>
                      <a:lnTo>
                        <a:pt x="330" y="78"/>
                      </a:lnTo>
                      <a:lnTo>
                        <a:pt x="330" y="90"/>
                      </a:lnTo>
                      <a:lnTo>
                        <a:pt x="324" y="108"/>
                      </a:lnTo>
                      <a:lnTo>
                        <a:pt x="324" y="126"/>
                      </a:lnTo>
                      <a:lnTo>
                        <a:pt x="318" y="150"/>
                      </a:lnTo>
                      <a:lnTo>
                        <a:pt x="312" y="168"/>
                      </a:lnTo>
                      <a:lnTo>
                        <a:pt x="312" y="186"/>
                      </a:lnTo>
                      <a:lnTo>
                        <a:pt x="312" y="198"/>
                      </a:lnTo>
                      <a:lnTo>
                        <a:pt x="318" y="210"/>
                      </a:lnTo>
                      <a:lnTo>
                        <a:pt x="324" y="216"/>
                      </a:lnTo>
                      <a:lnTo>
                        <a:pt x="336" y="222"/>
                      </a:lnTo>
                      <a:lnTo>
                        <a:pt x="348" y="234"/>
                      </a:lnTo>
                      <a:lnTo>
                        <a:pt x="348" y="246"/>
                      </a:lnTo>
                      <a:lnTo>
                        <a:pt x="342" y="264"/>
                      </a:lnTo>
                      <a:lnTo>
                        <a:pt x="342" y="276"/>
                      </a:lnTo>
                      <a:lnTo>
                        <a:pt x="342" y="282"/>
                      </a:lnTo>
                      <a:lnTo>
                        <a:pt x="348" y="288"/>
                      </a:lnTo>
                      <a:lnTo>
                        <a:pt x="360" y="294"/>
                      </a:lnTo>
                      <a:lnTo>
                        <a:pt x="372" y="300"/>
                      </a:lnTo>
                      <a:lnTo>
                        <a:pt x="390" y="312"/>
                      </a:lnTo>
                      <a:lnTo>
                        <a:pt x="396" y="324"/>
                      </a:lnTo>
                      <a:lnTo>
                        <a:pt x="402" y="336"/>
                      </a:lnTo>
                      <a:lnTo>
                        <a:pt x="396" y="354"/>
                      </a:lnTo>
                      <a:lnTo>
                        <a:pt x="390" y="366"/>
                      </a:lnTo>
                      <a:lnTo>
                        <a:pt x="390" y="372"/>
                      </a:lnTo>
                      <a:lnTo>
                        <a:pt x="390" y="378"/>
                      </a:lnTo>
                      <a:lnTo>
                        <a:pt x="396" y="384"/>
                      </a:lnTo>
                      <a:lnTo>
                        <a:pt x="408" y="384"/>
                      </a:lnTo>
                      <a:lnTo>
                        <a:pt x="414" y="384"/>
                      </a:lnTo>
                      <a:lnTo>
                        <a:pt x="426" y="384"/>
                      </a:lnTo>
                      <a:lnTo>
                        <a:pt x="444" y="396"/>
                      </a:lnTo>
                      <a:lnTo>
                        <a:pt x="462" y="408"/>
                      </a:lnTo>
                      <a:lnTo>
                        <a:pt x="486" y="420"/>
                      </a:lnTo>
                      <a:lnTo>
                        <a:pt x="498" y="432"/>
                      </a:lnTo>
                      <a:lnTo>
                        <a:pt x="504" y="438"/>
                      </a:lnTo>
                      <a:lnTo>
                        <a:pt x="498" y="450"/>
                      </a:lnTo>
                      <a:lnTo>
                        <a:pt x="492" y="456"/>
                      </a:lnTo>
                      <a:lnTo>
                        <a:pt x="474" y="462"/>
                      </a:lnTo>
                      <a:lnTo>
                        <a:pt x="462" y="468"/>
                      </a:lnTo>
                      <a:lnTo>
                        <a:pt x="450" y="468"/>
                      </a:lnTo>
                      <a:lnTo>
                        <a:pt x="438" y="468"/>
                      </a:lnTo>
                      <a:lnTo>
                        <a:pt x="426" y="468"/>
                      </a:lnTo>
                      <a:lnTo>
                        <a:pt x="414" y="468"/>
                      </a:lnTo>
                      <a:lnTo>
                        <a:pt x="396" y="468"/>
                      </a:lnTo>
                      <a:lnTo>
                        <a:pt x="384" y="468"/>
                      </a:lnTo>
                      <a:lnTo>
                        <a:pt x="366" y="480"/>
                      </a:lnTo>
                      <a:lnTo>
                        <a:pt x="348" y="486"/>
                      </a:lnTo>
                      <a:lnTo>
                        <a:pt x="336" y="486"/>
                      </a:lnTo>
                      <a:lnTo>
                        <a:pt x="324" y="486"/>
                      </a:lnTo>
                      <a:lnTo>
                        <a:pt x="312" y="480"/>
                      </a:lnTo>
                      <a:lnTo>
                        <a:pt x="300" y="474"/>
                      </a:lnTo>
                      <a:lnTo>
                        <a:pt x="288" y="474"/>
                      </a:lnTo>
                      <a:lnTo>
                        <a:pt x="270" y="468"/>
                      </a:lnTo>
                      <a:lnTo>
                        <a:pt x="264" y="462"/>
                      </a:lnTo>
                      <a:lnTo>
                        <a:pt x="258" y="456"/>
                      </a:lnTo>
                      <a:lnTo>
                        <a:pt x="264" y="450"/>
                      </a:lnTo>
                      <a:lnTo>
                        <a:pt x="276" y="438"/>
                      </a:lnTo>
                      <a:lnTo>
                        <a:pt x="288" y="432"/>
                      </a:lnTo>
                      <a:lnTo>
                        <a:pt x="294" y="420"/>
                      </a:lnTo>
                      <a:lnTo>
                        <a:pt x="288" y="414"/>
                      </a:lnTo>
                      <a:lnTo>
                        <a:pt x="270" y="402"/>
                      </a:lnTo>
                      <a:lnTo>
                        <a:pt x="252" y="402"/>
                      </a:lnTo>
                      <a:lnTo>
                        <a:pt x="246" y="402"/>
                      </a:lnTo>
                      <a:lnTo>
                        <a:pt x="246" y="396"/>
                      </a:lnTo>
                      <a:lnTo>
                        <a:pt x="246" y="390"/>
                      </a:lnTo>
                      <a:lnTo>
                        <a:pt x="252" y="384"/>
                      </a:lnTo>
                      <a:lnTo>
                        <a:pt x="252" y="378"/>
                      </a:lnTo>
                      <a:lnTo>
                        <a:pt x="252" y="372"/>
                      </a:lnTo>
                      <a:lnTo>
                        <a:pt x="246" y="372"/>
                      </a:lnTo>
                      <a:lnTo>
                        <a:pt x="234" y="372"/>
                      </a:lnTo>
                      <a:lnTo>
                        <a:pt x="222" y="378"/>
                      </a:lnTo>
                      <a:lnTo>
                        <a:pt x="216" y="378"/>
                      </a:lnTo>
                      <a:lnTo>
                        <a:pt x="204" y="378"/>
                      </a:lnTo>
                      <a:lnTo>
                        <a:pt x="192" y="384"/>
                      </a:lnTo>
                      <a:lnTo>
                        <a:pt x="168" y="390"/>
                      </a:lnTo>
                      <a:lnTo>
                        <a:pt x="150" y="384"/>
                      </a:lnTo>
                      <a:lnTo>
                        <a:pt x="132" y="372"/>
                      </a:lnTo>
                      <a:lnTo>
                        <a:pt x="126" y="366"/>
                      </a:lnTo>
                      <a:lnTo>
                        <a:pt x="120" y="366"/>
                      </a:lnTo>
                      <a:lnTo>
                        <a:pt x="114" y="366"/>
                      </a:lnTo>
                      <a:lnTo>
                        <a:pt x="114" y="372"/>
                      </a:lnTo>
                      <a:lnTo>
                        <a:pt x="114" y="384"/>
                      </a:lnTo>
                      <a:lnTo>
                        <a:pt x="114" y="396"/>
                      </a:lnTo>
                      <a:lnTo>
                        <a:pt x="108" y="402"/>
                      </a:lnTo>
                      <a:lnTo>
                        <a:pt x="96" y="402"/>
                      </a:lnTo>
                      <a:lnTo>
                        <a:pt x="90" y="402"/>
                      </a:lnTo>
                      <a:lnTo>
                        <a:pt x="78" y="396"/>
                      </a:lnTo>
                      <a:lnTo>
                        <a:pt x="66" y="390"/>
                      </a:lnTo>
                      <a:lnTo>
                        <a:pt x="60" y="384"/>
                      </a:lnTo>
                      <a:lnTo>
                        <a:pt x="54" y="372"/>
                      </a:lnTo>
                      <a:lnTo>
                        <a:pt x="36" y="318"/>
                      </a:lnTo>
                      <a:lnTo>
                        <a:pt x="12" y="276"/>
                      </a:lnTo>
                      <a:lnTo>
                        <a:pt x="0" y="264"/>
                      </a:lnTo>
                      <a:lnTo>
                        <a:pt x="0" y="258"/>
                      </a:lnTo>
                      <a:lnTo>
                        <a:pt x="6" y="246"/>
                      </a:lnTo>
                      <a:lnTo>
                        <a:pt x="18" y="240"/>
                      </a:lnTo>
                      <a:lnTo>
                        <a:pt x="24" y="240"/>
                      </a:lnTo>
                      <a:lnTo>
                        <a:pt x="36" y="234"/>
                      </a:lnTo>
                      <a:lnTo>
                        <a:pt x="48" y="234"/>
                      </a:lnTo>
                      <a:lnTo>
                        <a:pt x="66" y="234"/>
                      </a:lnTo>
                      <a:lnTo>
                        <a:pt x="78" y="234"/>
                      </a:lnTo>
                      <a:lnTo>
                        <a:pt x="84" y="228"/>
                      </a:lnTo>
                      <a:lnTo>
                        <a:pt x="90" y="216"/>
                      </a:lnTo>
                      <a:lnTo>
                        <a:pt x="90" y="204"/>
                      </a:lnTo>
                      <a:lnTo>
                        <a:pt x="102" y="198"/>
                      </a:lnTo>
                      <a:lnTo>
                        <a:pt x="114" y="192"/>
                      </a:lnTo>
                      <a:lnTo>
                        <a:pt x="132" y="186"/>
                      </a:lnTo>
                      <a:lnTo>
                        <a:pt x="138" y="186"/>
                      </a:lnTo>
                      <a:lnTo>
                        <a:pt x="144" y="174"/>
                      </a:lnTo>
                      <a:lnTo>
                        <a:pt x="144" y="162"/>
                      </a:lnTo>
                      <a:lnTo>
                        <a:pt x="132" y="150"/>
                      </a:lnTo>
                      <a:lnTo>
                        <a:pt x="126" y="132"/>
                      </a:lnTo>
                      <a:lnTo>
                        <a:pt x="120" y="114"/>
                      </a:lnTo>
                      <a:lnTo>
                        <a:pt x="120" y="96"/>
                      </a:lnTo>
                      <a:lnTo>
                        <a:pt x="126" y="78"/>
                      </a:lnTo>
                      <a:lnTo>
                        <a:pt x="126" y="72"/>
                      </a:lnTo>
                      <a:lnTo>
                        <a:pt x="120" y="60"/>
                      </a:lnTo>
                      <a:lnTo>
                        <a:pt x="114" y="54"/>
                      </a:lnTo>
                      <a:lnTo>
                        <a:pt x="108" y="48"/>
                      </a:lnTo>
                      <a:lnTo>
                        <a:pt x="102" y="42"/>
                      </a:lnTo>
                      <a:lnTo>
                        <a:pt x="102" y="36"/>
                      </a:lnTo>
                      <a:lnTo>
                        <a:pt x="108" y="24"/>
                      </a:lnTo>
                      <a:lnTo>
                        <a:pt x="138" y="12"/>
                      </a:lnTo>
                      <a:lnTo>
                        <a:pt x="168" y="6"/>
                      </a:lnTo>
                      <a:lnTo>
                        <a:pt x="204" y="6"/>
                      </a:lnTo>
                      <a:lnTo>
                        <a:pt x="246" y="6"/>
                      </a:lnTo>
                      <a:lnTo>
                        <a:pt x="300" y="6"/>
                      </a:lnTo>
                      <a:lnTo>
                        <a:pt x="336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2" name="Freeform 183">
                  <a:extLst>
                    <a:ext uri="{FF2B5EF4-FFF2-40B4-BE49-F238E27FC236}">
                      <a16:creationId xmlns:a16="http://schemas.microsoft.com/office/drawing/2014/main" id="{9F60808A-8A25-4F5B-A09C-D55D6043B9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9" y="-5964"/>
                  <a:ext cx="174" cy="132"/>
                </a:xfrm>
                <a:custGeom>
                  <a:avLst/>
                  <a:gdLst>
                    <a:gd name="T0" fmla="*/ 102 w 174"/>
                    <a:gd name="T1" fmla="*/ 0 h 132"/>
                    <a:gd name="T2" fmla="*/ 138 w 174"/>
                    <a:gd name="T3" fmla="*/ 6 h 132"/>
                    <a:gd name="T4" fmla="*/ 162 w 174"/>
                    <a:gd name="T5" fmla="*/ 18 h 132"/>
                    <a:gd name="T6" fmla="*/ 174 w 174"/>
                    <a:gd name="T7" fmla="*/ 42 h 132"/>
                    <a:gd name="T8" fmla="*/ 174 w 174"/>
                    <a:gd name="T9" fmla="*/ 60 h 132"/>
                    <a:gd name="T10" fmla="*/ 168 w 174"/>
                    <a:gd name="T11" fmla="*/ 72 h 132"/>
                    <a:gd name="T12" fmla="*/ 162 w 174"/>
                    <a:gd name="T13" fmla="*/ 84 h 132"/>
                    <a:gd name="T14" fmla="*/ 156 w 174"/>
                    <a:gd name="T15" fmla="*/ 90 h 132"/>
                    <a:gd name="T16" fmla="*/ 150 w 174"/>
                    <a:gd name="T17" fmla="*/ 90 h 132"/>
                    <a:gd name="T18" fmla="*/ 132 w 174"/>
                    <a:gd name="T19" fmla="*/ 90 h 132"/>
                    <a:gd name="T20" fmla="*/ 120 w 174"/>
                    <a:gd name="T21" fmla="*/ 84 h 132"/>
                    <a:gd name="T22" fmla="*/ 114 w 174"/>
                    <a:gd name="T23" fmla="*/ 90 h 132"/>
                    <a:gd name="T24" fmla="*/ 108 w 174"/>
                    <a:gd name="T25" fmla="*/ 90 h 132"/>
                    <a:gd name="T26" fmla="*/ 108 w 174"/>
                    <a:gd name="T27" fmla="*/ 102 h 132"/>
                    <a:gd name="T28" fmla="*/ 102 w 174"/>
                    <a:gd name="T29" fmla="*/ 108 h 132"/>
                    <a:gd name="T30" fmla="*/ 102 w 174"/>
                    <a:gd name="T31" fmla="*/ 120 h 132"/>
                    <a:gd name="T32" fmla="*/ 96 w 174"/>
                    <a:gd name="T33" fmla="*/ 126 h 132"/>
                    <a:gd name="T34" fmla="*/ 84 w 174"/>
                    <a:gd name="T35" fmla="*/ 132 h 132"/>
                    <a:gd name="T36" fmla="*/ 72 w 174"/>
                    <a:gd name="T37" fmla="*/ 132 h 132"/>
                    <a:gd name="T38" fmla="*/ 54 w 174"/>
                    <a:gd name="T39" fmla="*/ 132 h 132"/>
                    <a:gd name="T40" fmla="*/ 36 w 174"/>
                    <a:gd name="T41" fmla="*/ 126 h 132"/>
                    <a:gd name="T42" fmla="*/ 24 w 174"/>
                    <a:gd name="T43" fmla="*/ 120 h 132"/>
                    <a:gd name="T44" fmla="*/ 12 w 174"/>
                    <a:gd name="T45" fmla="*/ 108 h 132"/>
                    <a:gd name="T46" fmla="*/ 6 w 174"/>
                    <a:gd name="T47" fmla="*/ 96 h 132"/>
                    <a:gd name="T48" fmla="*/ 0 w 174"/>
                    <a:gd name="T49" fmla="*/ 84 h 132"/>
                    <a:gd name="T50" fmla="*/ 6 w 174"/>
                    <a:gd name="T51" fmla="*/ 60 h 132"/>
                    <a:gd name="T52" fmla="*/ 18 w 174"/>
                    <a:gd name="T53" fmla="*/ 42 h 132"/>
                    <a:gd name="T54" fmla="*/ 30 w 174"/>
                    <a:gd name="T55" fmla="*/ 24 h 132"/>
                    <a:gd name="T56" fmla="*/ 54 w 174"/>
                    <a:gd name="T57" fmla="*/ 6 h 132"/>
                    <a:gd name="T58" fmla="*/ 72 w 174"/>
                    <a:gd name="T59" fmla="*/ 0 h 132"/>
                    <a:gd name="T60" fmla="*/ 102 w 174"/>
                    <a:gd name="T61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74" h="132">
                      <a:moveTo>
                        <a:pt x="102" y="0"/>
                      </a:moveTo>
                      <a:lnTo>
                        <a:pt x="138" y="6"/>
                      </a:lnTo>
                      <a:lnTo>
                        <a:pt x="162" y="18"/>
                      </a:lnTo>
                      <a:lnTo>
                        <a:pt x="174" y="42"/>
                      </a:lnTo>
                      <a:lnTo>
                        <a:pt x="174" y="60"/>
                      </a:lnTo>
                      <a:lnTo>
                        <a:pt x="168" y="72"/>
                      </a:lnTo>
                      <a:lnTo>
                        <a:pt x="162" y="84"/>
                      </a:lnTo>
                      <a:lnTo>
                        <a:pt x="156" y="90"/>
                      </a:lnTo>
                      <a:lnTo>
                        <a:pt x="150" y="90"/>
                      </a:lnTo>
                      <a:lnTo>
                        <a:pt x="132" y="90"/>
                      </a:lnTo>
                      <a:lnTo>
                        <a:pt x="120" y="84"/>
                      </a:lnTo>
                      <a:lnTo>
                        <a:pt x="114" y="90"/>
                      </a:lnTo>
                      <a:lnTo>
                        <a:pt x="108" y="90"/>
                      </a:lnTo>
                      <a:lnTo>
                        <a:pt x="108" y="102"/>
                      </a:lnTo>
                      <a:lnTo>
                        <a:pt x="102" y="108"/>
                      </a:lnTo>
                      <a:lnTo>
                        <a:pt x="102" y="120"/>
                      </a:lnTo>
                      <a:lnTo>
                        <a:pt x="96" y="126"/>
                      </a:lnTo>
                      <a:lnTo>
                        <a:pt x="84" y="132"/>
                      </a:lnTo>
                      <a:lnTo>
                        <a:pt x="72" y="132"/>
                      </a:lnTo>
                      <a:lnTo>
                        <a:pt x="54" y="132"/>
                      </a:lnTo>
                      <a:lnTo>
                        <a:pt x="36" y="126"/>
                      </a:lnTo>
                      <a:lnTo>
                        <a:pt x="24" y="120"/>
                      </a:lnTo>
                      <a:lnTo>
                        <a:pt x="12" y="108"/>
                      </a:lnTo>
                      <a:lnTo>
                        <a:pt x="6" y="96"/>
                      </a:lnTo>
                      <a:lnTo>
                        <a:pt x="0" y="84"/>
                      </a:lnTo>
                      <a:lnTo>
                        <a:pt x="6" y="60"/>
                      </a:lnTo>
                      <a:lnTo>
                        <a:pt x="18" y="42"/>
                      </a:lnTo>
                      <a:lnTo>
                        <a:pt x="30" y="24"/>
                      </a:lnTo>
                      <a:lnTo>
                        <a:pt x="54" y="6"/>
                      </a:lnTo>
                      <a:lnTo>
                        <a:pt x="72" y="0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3" name="Freeform 184">
                  <a:extLst>
                    <a:ext uri="{FF2B5EF4-FFF2-40B4-BE49-F238E27FC236}">
                      <a16:creationId xmlns:a16="http://schemas.microsoft.com/office/drawing/2014/main" id="{204EB76B-198E-4BBD-8E13-C5C144D48F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685" y="-834"/>
                  <a:ext cx="2214" cy="2178"/>
                </a:xfrm>
                <a:custGeom>
                  <a:avLst/>
                  <a:gdLst>
                    <a:gd name="T0" fmla="*/ 6 w 2214"/>
                    <a:gd name="T1" fmla="*/ 1206 h 2178"/>
                    <a:gd name="T2" fmla="*/ 0 w 2214"/>
                    <a:gd name="T3" fmla="*/ 1206 h 2178"/>
                    <a:gd name="T4" fmla="*/ 714 w 2214"/>
                    <a:gd name="T5" fmla="*/ 222 h 2178"/>
                    <a:gd name="T6" fmla="*/ 714 w 2214"/>
                    <a:gd name="T7" fmla="*/ 222 h 2178"/>
                    <a:gd name="T8" fmla="*/ 1614 w 2214"/>
                    <a:gd name="T9" fmla="*/ 0 h 2178"/>
                    <a:gd name="T10" fmla="*/ 1680 w 2214"/>
                    <a:gd name="T11" fmla="*/ 0 h 2178"/>
                    <a:gd name="T12" fmla="*/ 1698 w 2214"/>
                    <a:gd name="T13" fmla="*/ 6 h 2178"/>
                    <a:gd name="T14" fmla="*/ 1710 w 2214"/>
                    <a:gd name="T15" fmla="*/ 24 h 2178"/>
                    <a:gd name="T16" fmla="*/ 1734 w 2214"/>
                    <a:gd name="T17" fmla="*/ 30 h 2178"/>
                    <a:gd name="T18" fmla="*/ 1746 w 2214"/>
                    <a:gd name="T19" fmla="*/ 30 h 2178"/>
                    <a:gd name="T20" fmla="*/ 1746 w 2214"/>
                    <a:gd name="T21" fmla="*/ 72 h 2178"/>
                    <a:gd name="T22" fmla="*/ 1800 w 2214"/>
                    <a:gd name="T23" fmla="*/ 186 h 2178"/>
                    <a:gd name="T24" fmla="*/ 1764 w 2214"/>
                    <a:gd name="T25" fmla="*/ 318 h 2178"/>
                    <a:gd name="T26" fmla="*/ 1746 w 2214"/>
                    <a:gd name="T27" fmla="*/ 486 h 2178"/>
                    <a:gd name="T28" fmla="*/ 1830 w 2214"/>
                    <a:gd name="T29" fmla="*/ 570 h 2178"/>
                    <a:gd name="T30" fmla="*/ 1890 w 2214"/>
                    <a:gd name="T31" fmla="*/ 678 h 2178"/>
                    <a:gd name="T32" fmla="*/ 1920 w 2214"/>
                    <a:gd name="T33" fmla="*/ 774 h 2178"/>
                    <a:gd name="T34" fmla="*/ 1968 w 2214"/>
                    <a:gd name="T35" fmla="*/ 984 h 2178"/>
                    <a:gd name="T36" fmla="*/ 1980 w 2214"/>
                    <a:gd name="T37" fmla="*/ 1278 h 2178"/>
                    <a:gd name="T38" fmla="*/ 1974 w 2214"/>
                    <a:gd name="T39" fmla="*/ 1386 h 2178"/>
                    <a:gd name="T40" fmla="*/ 2016 w 2214"/>
                    <a:gd name="T41" fmla="*/ 1506 h 2178"/>
                    <a:gd name="T42" fmla="*/ 2142 w 2214"/>
                    <a:gd name="T43" fmla="*/ 1566 h 2178"/>
                    <a:gd name="T44" fmla="*/ 2214 w 2214"/>
                    <a:gd name="T45" fmla="*/ 1644 h 2178"/>
                    <a:gd name="T46" fmla="*/ 1404 w 2214"/>
                    <a:gd name="T47" fmla="*/ 2178 h 2178"/>
                    <a:gd name="T48" fmla="*/ 1284 w 2214"/>
                    <a:gd name="T49" fmla="*/ 2166 h 2178"/>
                    <a:gd name="T50" fmla="*/ 1200 w 2214"/>
                    <a:gd name="T51" fmla="*/ 2034 h 2178"/>
                    <a:gd name="T52" fmla="*/ 1056 w 2214"/>
                    <a:gd name="T53" fmla="*/ 1956 h 2178"/>
                    <a:gd name="T54" fmla="*/ 6 w 2214"/>
                    <a:gd name="T55" fmla="*/ 1206 h 2178"/>
                    <a:gd name="T56" fmla="*/ 0 w 2214"/>
                    <a:gd name="T57" fmla="*/ 1164 h 2178"/>
                    <a:gd name="T58" fmla="*/ 42 w 2214"/>
                    <a:gd name="T59" fmla="*/ 1002 h 2178"/>
                    <a:gd name="T60" fmla="*/ 192 w 2214"/>
                    <a:gd name="T61" fmla="*/ 936 h 2178"/>
                    <a:gd name="T62" fmla="*/ 378 w 2214"/>
                    <a:gd name="T63" fmla="*/ 900 h 2178"/>
                    <a:gd name="T64" fmla="*/ 486 w 2214"/>
                    <a:gd name="T65" fmla="*/ 774 h 2178"/>
                    <a:gd name="T66" fmla="*/ 546 w 2214"/>
                    <a:gd name="T67" fmla="*/ 678 h 2178"/>
                    <a:gd name="T68" fmla="*/ 660 w 2214"/>
                    <a:gd name="T69" fmla="*/ 642 h 2178"/>
                    <a:gd name="T70" fmla="*/ 792 w 2214"/>
                    <a:gd name="T71" fmla="*/ 546 h 2178"/>
                    <a:gd name="T72" fmla="*/ 762 w 2214"/>
                    <a:gd name="T73" fmla="*/ 426 h 2178"/>
                    <a:gd name="T74" fmla="*/ 714 w 2214"/>
                    <a:gd name="T75" fmla="*/ 306 h 2178"/>
                    <a:gd name="T76" fmla="*/ 732 w 2214"/>
                    <a:gd name="T77" fmla="*/ 216 h 2178"/>
                    <a:gd name="T78" fmla="*/ 768 w 2214"/>
                    <a:gd name="T79" fmla="*/ 192 h 2178"/>
                    <a:gd name="T80" fmla="*/ 798 w 2214"/>
                    <a:gd name="T81" fmla="*/ 150 h 2178"/>
                    <a:gd name="T82" fmla="*/ 822 w 2214"/>
                    <a:gd name="T83" fmla="*/ 126 h 2178"/>
                    <a:gd name="T84" fmla="*/ 852 w 2214"/>
                    <a:gd name="T85" fmla="*/ 120 h 2178"/>
                    <a:gd name="T86" fmla="*/ 894 w 2214"/>
                    <a:gd name="T87" fmla="*/ 96 h 2178"/>
                    <a:gd name="T88" fmla="*/ 1044 w 2214"/>
                    <a:gd name="T89" fmla="*/ 42 h 2178"/>
                    <a:gd name="T90" fmla="*/ 1158 w 2214"/>
                    <a:gd name="T91" fmla="*/ 42 h 2178"/>
                    <a:gd name="T92" fmla="*/ 1266 w 2214"/>
                    <a:gd name="T93" fmla="*/ 36 h 2178"/>
                    <a:gd name="T94" fmla="*/ 1332 w 2214"/>
                    <a:gd name="T95" fmla="*/ 12 h 2178"/>
                    <a:gd name="T96" fmla="*/ 1410 w 2214"/>
                    <a:gd name="T97" fmla="*/ 12 h 2178"/>
                    <a:gd name="T98" fmla="*/ 1470 w 2214"/>
                    <a:gd name="T99" fmla="*/ 30 h 2178"/>
                    <a:gd name="T100" fmla="*/ 1500 w 2214"/>
                    <a:gd name="T101" fmla="*/ 36 h 2178"/>
                    <a:gd name="T102" fmla="*/ 1524 w 2214"/>
                    <a:gd name="T103" fmla="*/ 12 h 2178"/>
                    <a:gd name="T104" fmla="*/ 1572 w 2214"/>
                    <a:gd name="T105" fmla="*/ 0 h 2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214" h="2178">
                      <a:moveTo>
                        <a:pt x="0" y="1206"/>
                      </a:moveTo>
                      <a:lnTo>
                        <a:pt x="6" y="1206"/>
                      </a:lnTo>
                      <a:lnTo>
                        <a:pt x="6" y="1212"/>
                      </a:lnTo>
                      <a:lnTo>
                        <a:pt x="0" y="1206"/>
                      </a:lnTo>
                      <a:close/>
                      <a:moveTo>
                        <a:pt x="714" y="222"/>
                      </a:moveTo>
                      <a:lnTo>
                        <a:pt x="714" y="222"/>
                      </a:lnTo>
                      <a:lnTo>
                        <a:pt x="714" y="222"/>
                      </a:lnTo>
                      <a:lnTo>
                        <a:pt x="714" y="222"/>
                      </a:lnTo>
                      <a:close/>
                      <a:moveTo>
                        <a:pt x="1572" y="0"/>
                      </a:moveTo>
                      <a:lnTo>
                        <a:pt x="1614" y="0"/>
                      </a:lnTo>
                      <a:lnTo>
                        <a:pt x="1650" y="0"/>
                      </a:lnTo>
                      <a:lnTo>
                        <a:pt x="1680" y="0"/>
                      </a:lnTo>
                      <a:lnTo>
                        <a:pt x="1692" y="0"/>
                      </a:lnTo>
                      <a:lnTo>
                        <a:pt x="1698" y="6"/>
                      </a:lnTo>
                      <a:lnTo>
                        <a:pt x="1704" y="18"/>
                      </a:lnTo>
                      <a:lnTo>
                        <a:pt x="1710" y="24"/>
                      </a:lnTo>
                      <a:lnTo>
                        <a:pt x="1722" y="30"/>
                      </a:lnTo>
                      <a:lnTo>
                        <a:pt x="1734" y="30"/>
                      </a:lnTo>
                      <a:lnTo>
                        <a:pt x="1740" y="30"/>
                      </a:lnTo>
                      <a:lnTo>
                        <a:pt x="1746" y="30"/>
                      </a:lnTo>
                      <a:lnTo>
                        <a:pt x="1746" y="30"/>
                      </a:lnTo>
                      <a:lnTo>
                        <a:pt x="1746" y="72"/>
                      </a:lnTo>
                      <a:lnTo>
                        <a:pt x="1764" y="126"/>
                      </a:lnTo>
                      <a:lnTo>
                        <a:pt x="1800" y="186"/>
                      </a:lnTo>
                      <a:lnTo>
                        <a:pt x="1794" y="258"/>
                      </a:lnTo>
                      <a:lnTo>
                        <a:pt x="1764" y="318"/>
                      </a:lnTo>
                      <a:lnTo>
                        <a:pt x="1722" y="348"/>
                      </a:lnTo>
                      <a:lnTo>
                        <a:pt x="1746" y="486"/>
                      </a:lnTo>
                      <a:lnTo>
                        <a:pt x="1788" y="528"/>
                      </a:lnTo>
                      <a:lnTo>
                        <a:pt x="1830" y="570"/>
                      </a:lnTo>
                      <a:lnTo>
                        <a:pt x="1878" y="618"/>
                      </a:lnTo>
                      <a:lnTo>
                        <a:pt x="1890" y="678"/>
                      </a:lnTo>
                      <a:lnTo>
                        <a:pt x="1908" y="714"/>
                      </a:lnTo>
                      <a:lnTo>
                        <a:pt x="1920" y="774"/>
                      </a:lnTo>
                      <a:lnTo>
                        <a:pt x="1944" y="816"/>
                      </a:lnTo>
                      <a:lnTo>
                        <a:pt x="1968" y="984"/>
                      </a:lnTo>
                      <a:lnTo>
                        <a:pt x="1980" y="1146"/>
                      </a:lnTo>
                      <a:lnTo>
                        <a:pt x="1980" y="1278"/>
                      </a:lnTo>
                      <a:lnTo>
                        <a:pt x="1956" y="1338"/>
                      </a:lnTo>
                      <a:lnTo>
                        <a:pt x="1974" y="1386"/>
                      </a:lnTo>
                      <a:lnTo>
                        <a:pt x="2046" y="1470"/>
                      </a:lnTo>
                      <a:lnTo>
                        <a:pt x="2016" y="1506"/>
                      </a:lnTo>
                      <a:lnTo>
                        <a:pt x="2064" y="1542"/>
                      </a:lnTo>
                      <a:lnTo>
                        <a:pt x="2142" y="1566"/>
                      </a:lnTo>
                      <a:lnTo>
                        <a:pt x="2196" y="1596"/>
                      </a:lnTo>
                      <a:lnTo>
                        <a:pt x="2214" y="1644"/>
                      </a:lnTo>
                      <a:lnTo>
                        <a:pt x="1548" y="2148"/>
                      </a:lnTo>
                      <a:lnTo>
                        <a:pt x="1404" y="2178"/>
                      </a:lnTo>
                      <a:lnTo>
                        <a:pt x="1344" y="2166"/>
                      </a:lnTo>
                      <a:lnTo>
                        <a:pt x="1284" y="2166"/>
                      </a:lnTo>
                      <a:lnTo>
                        <a:pt x="1284" y="2112"/>
                      </a:lnTo>
                      <a:lnTo>
                        <a:pt x="1200" y="2034"/>
                      </a:lnTo>
                      <a:lnTo>
                        <a:pt x="1080" y="2010"/>
                      </a:lnTo>
                      <a:lnTo>
                        <a:pt x="1056" y="1956"/>
                      </a:lnTo>
                      <a:lnTo>
                        <a:pt x="396" y="1488"/>
                      </a:lnTo>
                      <a:lnTo>
                        <a:pt x="6" y="1206"/>
                      </a:lnTo>
                      <a:lnTo>
                        <a:pt x="6" y="1164"/>
                      </a:lnTo>
                      <a:lnTo>
                        <a:pt x="0" y="1164"/>
                      </a:lnTo>
                      <a:lnTo>
                        <a:pt x="12" y="1002"/>
                      </a:lnTo>
                      <a:lnTo>
                        <a:pt x="42" y="1002"/>
                      </a:lnTo>
                      <a:lnTo>
                        <a:pt x="78" y="990"/>
                      </a:lnTo>
                      <a:lnTo>
                        <a:pt x="192" y="936"/>
                      </a:lnTo>
                      <a:lnTo>
                        <a:pt x="306" y="936"/>
                      </a:lnTo>
                      <a:lnTo>
                        <a:pt x="378" y="900"/>
                      </a:lnTo>
                      <a:lnTo>
                        <a:pt x="408" y="834"/>
                      </a:lnTo>
                      <a:lnTo>
                        <a:pt x="486" y="774"/>
                      </a:lnTo>
                      <a:lnTo>
                        <a:pt x="528" y="762"/>
                      </a:lnTo>
                      <a:lnTo>
                        <a:pt x="546" y="678"/>
                      </a:lnTo>
                      <a:lnTo>
                        <a:pt x="594" y="642"/>
                      </a:lnTo>
                      <a:lnTo>
                        <a:pt x="660" y="642"/>
                      </a:lnTo>
                      <a:lnTo>
                        <a:pt x="792" y="630"/>
                      </a:lnTo>
                      <a:lnTo>
                        <a:pt x="792" y="546"/>
                      </a:lnTo>
                      <a:lnTo>
                        <a:pt x="756" y="486"/>
                      </a:lnTo>
                      <a:lnTo>
                        <a:pt x="762" y="426"/>
                      </a:lnTo>
                      <a:lnTo>
                        <a:pt x="726" y="366"/>
                      </a:lnTo>
                      <a:lnTo>
                        <a:pt x="714" y="306"/>
                      </a:lnTo>
                      <a:lnTo>
                        <a:pt x="714" y="222"/>
                      </a:lnTo>
                      <a:lnTo>
                        <a:pt x="732" y="216"/>
                      </a:lnTo>
                      <a:lnTo>
                        <a:pt x="750" y="204"/>
                      </a:lnTo>
                      <a:lnTo>
                        <a:pt x="768" y="192"/>
                      </a:lnTo>
                      <a:lnTo>
                        <a:pt x="786" y="174"/>
                      </a:lnTo>
                      <a:lnTo>
                        <a:pt x="798" y="150"/>
                      </a:lnTo>
                      <a:lnTo>
                        <a:pt x="810" y="138"/>
                      </a:lnTo>
                      <a:lnTo>
                        <a:pt x="822" y="126"/>
                      </a:lnTo>
                      <a:lnTo>
                        <a:pt x="834" y="120"/>
                      </a:lnTo>
                      <a:lnTo>
                        <a:pt x="852" y="120"/>
                      </a:lnTo>
                      <a:lnTo>
                        <a:pt x="870" y="108"/>
                      </a:lnTo>
                      <a:lnTo>
                        <a:pt x="894" y="96"/>
                      </a:lnTo>
                      <a:lnTo>
                        <a:pt x="966" y="66"/>
                      </a:lnTo>
                      <a:lnTo>
                        <a:pt x="1044" y="42"/>
                      </a:lnTo>
                      <a:lnTo>
                        <a:pt x="1104" y="36"/>
                      </a:lnTo>
                      <a:lnTo>
                        <a:pt x="1158" y="42"/>
                      </a:lnTo>
                      <a:lnTo>
                        <a:pt x="1218" y="42"/>
                      </a:lnTo>
                      <a:lnTo>
                        <a:pt x="1266" y="36"/>
                      </a:lnTo>
                      <a:lnTo>
                        <a:pt x="1302" y="30"/>
                      </a:lnTo>
                      <a:lnTo>
                        <a:pt x="1332" y="12"/>
                      </a:lnTo>
                      <a:lnTo>
                        <a:pt x="1368" y="6"/>
                      </a:lnTo>
                      <a:lnTo>
                        <a:pt x="1410" y="12"/>
                      </a:lnTo>
                      <a:lnTo>
                        <a:pt x="1452" y="24"/>
                      </a:lnTo>
                      <a:lnTo>
                        <a:pt x="1470" y="30"/>
                      </a:lnTo>
                      <a:lnTo>
                        <a:pt x="1488" y="36"/>
                      </a:lnTo>
                      <a:lnTo>
                        <a:pt x="1500" y="36"/>
                      </a:lnTo>
                      <a:lnTo>
                        <a:pt x="1512" y="30"/>
                      </a:lnTo>
                      <a:lnTo>
                        <a:pt x="1524" y="12"/>
                      </a:lnTo>
                      <a:lnTo>
                        <a:pt x="1542" y="0"/>
                      </a:lnTo>
                      <a:lnTo>
                        <a:pt x="157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4" name="Freeform 185">
                  <a:extLst>
                    <a:ext uri="{FF2B5EF4-FFF2-40B4-BE49-F238E27FC236}">
                      <a16:creationId xmlns:a16="http://schemas.microsoft.com/office/drawing/2014/main" id="{846AAAC9-1C93-4F5A-9E25-270520134C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25" y="-660"/>
                  <a:ext cx="1332" cy="996"/>
                </a:xfrm>
                <a:custGeom>
                  <a:avLst/>
                  <a:gdLst>
                    <a:gd name="T0" fmla="*/ 876 w 1332"/>
                    <a:gd name="T1" fmla="*/ 6 h 996"/>
                    <a:gd name="T2" fmla="*/ 924 w 1332"/>
                    <a:gd name="T3" fmla="*/ 36 h 996"/>
                    <a:gd name="T4" fmla="*/ 954 w 1332"/>
                    <a:gd name="T5" fmla="*/ 48 h 996"/>
                    <a:gd name="T6" fmla="*/ 990 w 1332"/>
                    <a:gd name="T7" fmla="*/ 42 h 996"/>
                    <a:gd name="T8" fmla="*/ 1008 w 1332"/>
                    <a:gd name="T9" fmla="*/ 36 h 996"/>
                    <a:gd name="T10" fmla="*/ 1026 w 1332"/>
                    <a:gd name="T11" fmla="*/ 30 h 996"/>
                    <a:gd name="T12" fmla="*/ 1062 w 1332"/>
                    <a:gd name="T13" fmla="*/ 36 h 996"/>
                    <a:gd name="T14" fmla="*/ 1086 w 1332"/>
                    <a:gd name="T15" fmla="*/ 42 h 996"/>
                    <a:gd name="T16" fmla="*/ 1110 w 1332"/>
                    <a:gd name="T17" fmla="*/ 36 h 996"/>
                    <a:gd name="T18" fmla="*/ 1134 w 1332"/>
                    <a:gd name="T19" fmla="*/ 18 h 996"/>
                    <a:gd name="T20" fmla="*/ 1170 w 1332"/>
                    <a:gd name="T21" fmla="*/ 18 h 996"/>
                    <a:gd name="T22" fmla="*/ 1242 w 1332"/>
                    <a:gd name="T23" fmla="*/ 48 h 996"/>
                    <a:gd name="T24" fmla="*/ 1254 w 1332"/>
                    <a:gd name="T25" fmla="*/ 48 h 996"/>
                    <a:gd name="T26" fmla="*/ 1254 w 1332"/>
                    <a:gd name="T27" fmla="*/ 132 h 996"/>
                    <a:gd name="T28" fmla="*/ 1302 w 1332"/>
                    <a:gd name="T29" fmla="*/ 252 h 996"/>
                    <a:gd name="T30" fmla="*/ 1332 w 1332"/>
                    <a:gd name="T31" fmla="*/ 372 h 996"/>
                    <a:gd name="T32" fmla="*/ 1200 w 1332"/>
                    <a:gd name="T33" fmla="*/ 468 h 996"/>
                    <a:gd name="T34" fmla="*/ 1086 w 1332"/>
                    <a:gd name="T35" fmla="*/ 504 h 996"/>
                    <a:gd name="T36" fmla="*/ 1026 w 1332"/>
                    <a:gd name="T37" fmla="*/ 600 h 996"/>
                    <a:gd name="T38" fmla="*/ 918 w 1332"/>
                    <a:gd name="T39" fmla="*/ 726 h 996"/>
                    <a:gd name="T40" fmla="*/ 732 w 1332"/>
                    <a:gd name="T41" fmla="*/ 762 h 996"/>
                    <a:gd name="T42" fmla="*/ 582 w 1332"/>
                    <a:gd name="T43" fmla="*/ 828 h 996"/>
                    <a:gd name="T44" fmla="*/ 540 w 1332"/>
                    <a:gd name="T45" fmla="*/ 990 h 996"/>
                    <a:gd name="T46" fmla="*/ 0 w 1332"/>
                    <a:gd name="T47" fmla="*/ 996 h 996"/>
                    <a:gd name="T48" fmla="*/ 48 w 1332"/>
                    <a:gd name="T49" fmla="*/ 948 h 996"/>
                    <a:gd name="T50" fmla="*/ 150 w 1332"/>
                    <a:gd name="T51" fmla="*/ 936 h 996"/>
                    <a:gd name="T52" fmla="*/ 252 w 1332"/>
                    <a:gd name="T53" fmla="*/ 870 h 996"/>
                    <a:gd name="T54" fmla="*/ 348 w 1332"/>
                    <a:gd name="T55" fmla="*/ 810 h 996"/>
                    <a:gd name="T56" fmla="*/ 426 w 1332"/>
                    <a:gd name="T57" fmla="*/ 708 h 996"/>
                    <a:gd name="T58" fmla="*/ 420 w 1332"/>
                    <a:gd name="T59" fmla="*/ 630 h 996"/>
                    <a:gd name="T60" fmla="*/ 408 w 1332"/>
                    <a:gd name="T61" fmla="*/ 516 h 996"/>
                    <a:gd name="T62" fmla="*/ 438 w 1332"/>
                    <a:gd name="T63" fmla="*/ 414 h 996"/>
                    <a:gd name="T64" fmla="*/ 492 w 1332"/>
                    <a:gd name="T65" fmla="*/ 348 h 996"/>
                    <a:gd name="T66" fmla="*/ 534 w 1332"/>
                    <a:gd name="T67" fmla="*/ 312 h 996"/>
                    <a:gd name="T68" fmla="*/ 612 w 1332"/>
                    <a:gd name="T69" fmla="*/ 258 h 996"/>
                    <a:gd name="T70" fmla="*/ 696 w 1332"/>
                    <a:gd name="T71" fmla="*/ 210 h 996"/>
                    <a:gd name="T72" fmla="*/ 750 w 1332"/>
                    <a:gd name="T73" fmla="*/ 144 h 996"/>
                    <a:gd name="T74" fmla="*/ 786 w 1332"/>
                    <a:gd name="T75" fmla="*/ 66 h 996"/>
                    <a:gd name="T76" fmla="*/ 822 w 1332"/>
                    <a:gd name="T77" fmla="*/ 0 h 9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332" h="996">
                      <a:moveTo>
                        <a:pt x="846" y="0"/>
                      </a:moveTo>
                      <a:lnTo>
                        <a:pt x="876" y="6"/>
                      </a:lnTo>
                      <a:lnTo>
                        <a:pt x="906" y="24"/>
                      </a:lnTo>
                      <a:lnTo>
                        <a:pt x="924" y="36"/>
                      </a:lnTo>
                      <a:lnTo>
                        <a:pt x="936" y="42"/>
                      </a:lnTo>
                      <a:lnTo>
                        <a:pt x="954" y="48"/>
                      </a:lnTo>
                      <a:lnTo>
                        <a:pt x="972" y="48"/>
                      </a:lnTo>
                      <a:lnTo>
                        <a:pt x="990" y="42"/>
                      </a:lnTo>
                      <a:lnTo>
                        <a:pt x="1002" y="42"/>
                      </a:lnTo>
                      <a:lnTo>
                        <a:pt x="1008" y="36"/>
                      </a:lnTo>
                      <a:lnTo>
                        <a:pt x="1014" y="36"/>
                      </a:lnTo>
                      <a:lnTo>
                        <a:pt x="1026" y="30"/>
                      </a:lnTo>
                      <a:lnTo>
                        <a:pt x="1044" y="30"/>
                      </a:lnTo>
                      <a:lnTo>
                        <a:pt x="1062" y="36"/>
                      </a:lnTo>
                      <a:lnTo>
                        <a:pt x="1074" y="42"/>
                      </a:lnTo>
                      <a:lnTo>
                        <a:pt x="1086" y="42"/>
                      </a:lnTo>
                      <a:lnTo>
                        <a:pt x="1098" y="42"/>
                      </a:lnTo>
                      <a:lnTo>
                        <a:pt x="1110" y="36"/>
                      </a:lnTo>
                      <a:lnTo>
                        <a:pt x="1122" y="24"/>
                      </a:lnTo>
                      <a:lnTo>
                        <a:pt x="1134" y="18"/>
                      </a:lnTo>
                      <a:lnTo>
                        <a:pt x="1146" y="12"/>
                      </a:lnTo>
                      <a:lnTo>
                        <a:pt x="1170" y="18"/>
                      </a:lnTo>
                      <a:lnTo>
                        <a:pt x="1206" y="36"/>
                      </a:lnTo>
                      <a:lnTo>
                        <a:pt x="1242" y="48"/>
                      </a:lnTo>
                      <a:lnTo>
                        <a:pt x="1248" y="48"/>
                      </a:lnTo>
                      <a:lnTo>
                        <a:pt x="1254" y="48"/>
                      </a:lnTo>
                      <a:lnTo>
                        <a:pt x="1254" y="48"/>
                      </a:lnTo>
                      <a:lnTo>
                        <a:pt x="1254" y="132"/>
                      </a:lnTo>
                      <a:lnTo>
                        <a:pt x="1266" y="192"/>
                      </a:lnTo>
                      <a:lnTo>
                        <a:pt x="1302" y="252"/>
                      </a:lnTo>
                      <a:lnTo>
                        <a:pt x="1296" y="312"/>
                      </a:lnTo>
                      <a:lnTo>
                        <a:pt x="1332" y="372"/>
                      </a:lnTo>
                      <a:lnTo>
                        <a:pt x="1332" y="456"/>
                      </a:lnTo>
                      <a:lnTo>
                        <a:pt x="1200" y="468"/>
                      </a:lnTo>
                      <a:lnTo>
                        <a:pt x="1134" y="468"/>
                      </a:lnTo>
                      <a:lnTo>
                        <a:pt x="1086" y="504"/>
                      </a:lnTo>
                      <a:lnTo>
                        <a:pt x="1068" y="588"/>
                      </a:lnTo>
                      <a:lnTo>
                        <a:pt x="1026" y="600"/>
                      </a:lnTo>
                      <a:lnTo>
                        <a:pt x="948" y="660"/>
                      </a:lnTo>
                      <a:lnTo>
                        <a:pt x="918" y="726"/>
                      </a:lnTo>
                      <a:lnTo>
                        <a:pt x="846" y="762"/>
                      </a:lnTo>
                      <a:lnTo>
                        <a:pt x="732" y="762"/>
                      </a:lnTo>
                      <a:lnTo>
                        <a:pt x="618" y="816"/>
                      </a:lnTo>
                      <a:lnTo>
                        <a:pt x="582" y="828"/>
                      </a:lnTo>
                      <a:lnTo>
                        <a:pt x="552" y="828"/>
                      </a:lnTo>
                      <a:lnTo>
                        <a:pt x="540" y="990"/>
                      </a:lnTo>
                      <a:lnTo>
                        <a:pt x="546" y="990"/>
                      </a:lnTo>
                      <a:lnTo>
                        <a:pt x="0" y="996"/>
                      </a:lnTo>
                      <a:lnTo>
                        <a:pt x="18" y="960"/>
                      </a:lnTo>
                      <a:lnTo>
                        <a:pt x="48" y="948"/>
                      </a:lnTo>
                      <a:lnTo>
                        <a:pt x="102" y="948"/>
                      </a:lnTo>
                      <a:lnTo>
                        <a:pt x="150" y="936"/>
                      </a:lnTo>
                      <a:lnTo>
                        <a:pt x="204" y="906"/>
                      </a:lnTo>
                      <a:lnTo>
                        <a:pt x="252" y="870"/>
                      </a:lnTo>
                      <a:lnTo>
                        <a:pt x="300" y="846"/>
                      </a:lnTo>
                      <a:lnTo>
                        <a:pt x="348" y="810"/>
                      </a:lnTo>
                      <a:lnTo>
                        <a:pt x="396" y="768"/>
                      </a:lnTo>
                      <a:lnTo>
                        <a:pt x="426" y="708"/>
                      </a:lnTo>
                      <a:lnTo>
                        <a:pt x="426" y="672"/>
                      </a:lnTo>
                      <a:lnTo>
                        <a:pt x="420" y="630"/>
                      </a:lnTo>
                      <a:lnTo>
                        <a:pt x="408" y="582"/>
                      </a:lnTo>
                      <a:lnTo>
                        <a:pt x="408" y="516"/>
                      </a:lnTo>
                      <a:lnTo>
                        <a:pt x="414" y="462"/>
                      </a:lnTo>
                      <a:lnTo>
                        <a:pt x="438" y="414"/>
                      </a:lnTo>
                      <a:lnTo>
                        <a:pt x="468" y="378"/>
                      </a:lnTo>
                      <a:lnTo>
                        <a:pt x="492" y="348"/>
                      </a:lnTo>
                      <a:lnTo>
                        <a:pt x="510" y="330"/>
                      </a:lnTo>
                      <a:lnTo>
                        <a:pt x="534" y="312"/>
                      </a:lnTo>
                      <a:lnTo>
                        <a:pt x="570" y="288"/>
                      </a:lnTo>
                      <a:lnTo>
                        <a:pt x="612" y="258"/>
                      </a:lnTo>
                      <a:lnTo>
                        <a:pt x="654" y="234"/>
                      </a:lnTo>
                      <a:lnTo>
                        <a:pt x="696" y="210"/>
                      </a:lnTo>
                      <a:lnTo>
                        <a:pt x="726" y="180"/>
                      </a:lnTo>
                      <a:lnTo>
                        <a:pt x="750" y="144"/>
                      </a:lnTo>
                      <a:lnTo>
                        <a:pt x="774" y="108"/>
                      </a:lnTo>
                      <a:lnTo>
                        <a:pt x="786" y="66"/>
                      </a:lnTo>
                      <a:lnTo>
                        <a:pt x="804" y="24"/>
                      </a:lnTo>
                      <a:lnTo>
                        <a:pt x="822" y="0"/>
                      </a:lnTo>
                      <a:lnTo>
                        <a:pt x="84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5" name="Freeform 186">
                  <a:extLst>
                    <a:ext uri="{FF2B5EF4-FFF2-40B4-BE49-F238E27FC236}">
                      <a16:creationId xmlns:a16="http://schemas.microsoft.com/office/drawing/2014/main" id="{01B8EEC7-308D-439F-8332-0BA38053651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" y="-882"/>
                  <a:ext cx="450" cy="864"/>
                </a:xfrm>
                <a:custGeom>
                  <a:avLst/>
                  <a:gdLst>
                    <a:gd name="T0" fmla="*/ 24 w 450"/>
                    <a:gd name="T1" fmla="*/ 78 h 864"/>
                    <a:gd name="T2" fmla="*/ 24 w 450"/>
                    <a:gd name="T3" fmla="*/ 78 h 864"/>
                    <a:gd name="T4" fmla="*/ 210 w 450"/>
                    <a:gd name="T5" fmla="*/ 6 h 864"/>
                    <a:gd name="T6" fmla="*/ 240 w 450"/>
                    <a:gd name="T7" fmla="*/ 36 h 864"/>
                    <a:gd name="T8" fmla="*/ 258 w 450"/>
                    <a:gd name="T9" fmla="*/ 48 h 864"/>
                    <a:gd name="T10" fmla="*/ 276 w 450"/>
                    <a:gd name="T11" fmla="*/ 42 h 864"/>
                    <a:gd name="T12" fmla="*/ 294 w 450"/>
                    <a:gd name="T13" fmla="*/ 18 h 864"/>
                    <a:gd name="T14" fmla="*/ 312 w 450"/>
                    <a:gd name="T15" fmla="*/ 12 h 864"/>
                    <a:gd name="T16" fmla="*/ 330 w 450"/>
                    <a:gd name="T17" fmla="*/ 18 h 864"/>
                    <a:gd name="T18" fmla="*/ 342 w 450"/>
                    <a:gd name="T19" fmla="*/ 36 h 864"/>
                    <a:gd name="T20" fmla="*/ 288 w 450"/>
                    <a:gd name="T21" fmla="*/ 132 h 864"/>
                    <a:gd name="T22" fmla="*/ 276 w 450"/>
                    <a:gd name="T23" fmla="*/ 162 h 864"/>
                    <a:gd name="T24" fmla="*/ 288 w 450"/>
                    <a:gd name="T25" fmla="*/ 192 h 864"/>
                    <a:gd name="T26" fmla="*/ 306 w 450"/>
                    <a:gd name="T27" fmla="*/ 216 h 864"/>
                    <a:gd name="T28" fmla="*/ 336 w 450"/>
                    <a:gd name="T29" fmla="*/ 222 h 864"/>
                    <a:gd name="T30" fmla="*/ 354 w 450"/>
                    <a:gd name="T31" fmla="*/ 240 h 864"/>
                    <a:gd name="T32" fmla="*/ 360 w 450"/>
                    <a:gd name="T33" fmla="*/ 276 h 864"/>
                    <a:gd name="T34" fmla="*/ 336 w 450"/>
                    <a:gd name="T35" fmla="*/ 348 h 864"/>
                    <a:gd name="T36" fmla="*/ 276 w 450"/>
                    <a:gd name="T37" fmla="*/ 408 h 864"/>
                    <a:gd name="T38" fmla="*/ 318 w 450"/>
                    <a:gd name="T39" fmla="*/ 456 h 864"/>
                    <a:gd name="T40" fmla="*/ 414 w 450"/>
                    <a:gd name="T41" fmla="*/ 510 h 864"/>
                    <a:gd name="T42" fmla="*/ 450 w 450"/>
                    <a:gd name="T43" fmla="*/ 534 h 864"/>
                    <a:gd name="T44" fmla="*/ 402 w 450"/>
                    <a:gd name="T45" fmla="*/ 606 h 864"/>
                    <a:gd name="T46" fmla="*/ 294 w 450"/>
                    <a:gd name="T47" fmla="*/ 690 h 864"/>
                    <a:gd name="T48" fmla="*/ 222 w 450"/>
                    <a:gd name="T49" fmla="*/ 864 h 864"/>
                    <a:gd name="T50" fmla="*/ 186 w 450"/>
                    <a:gd name="T51" fmla="*/ 762 h 864"/>
                    <a:gd name="T52" fmla="*/ 156 w 450"/>
                    <a:gd name="T53" fmla="*/ 666 h 864"/>
                    <a:gd name="T54" fmla="*/ 66 w 450"/>
                    <a:gd name="T55" fmla="*/ 576 h 864"/>
                    <a:gd name="T56" fmla="*/ 0 w 450"/>
                    <a:gd name="T57" fmla="*/ 396 h 864"/>
                    <a:gd name="T58" fmla="*/ 72 w 450"/>
                    <a:gd name="T59" fmla="*/ 306 h 864"/>
                    <a:gd name="T60" fmla="*/ 42 w 450"/>
                    <a:gd name="T61" fmla="*/ 174 h 864"/>
                    <a:gd name="T62" fmla="*/ 24 w 450"/>
                    <a:gd name="T63" fmla="*/ 78 h 864"/>
                    <a:gd name="T64" fmla="*/ 72 w 450"/>
                    <a:gd name="T65" fmla="*/ 54 h 864"/>
                    <a:gd name="T66" fmla="*/ 126 w 450"/>
                    <a:gd name="T67" fmla="*/ 6 h 8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50" h="864">
                      <a:moveTo>
                        <a:pt x="24" y="78"/>
                      </a:moveTo>
                      <a:lnTo>
                        <a:pt x="24" y="78"/>
                      </a:lnTo>
                      <a:lnTo>
                        <a:pt x="24" y="78"/>
                      </a:lnTo>
                      <a:lnTo>
                        <a:pt x="24" y="78"/>
                      </a:lnTo>
                      <a:close/>
                      <a:moveTo>
                        <a:pt x="168" y="0"/>
                      </a:moveTo>
                      <a:lnTo>
                        <a:pt x="210" y="6"/>
                      </a:lnTo>
                      <a:lnTo>
                        <a:pt x="228" y="24"/>
                      </a:lnTo>
                      <a:lnTo>
                        <a:pt x="240" y="36"/>
                      </a:lnTo>
                      <a:lnTo>
                        <a:pt x="246" y="42"/>
                      </a:lnTo>
                      <a:lnTo>
                        <a:pt x="258" y="48"/>
                      </a:lnTo>
                      <a:lnTo>
                        <a:pt x="270" y="48"/>
                      </a:lnTo>
                      <a:lnTo>
                        <a:pt x="276" y="42"/>
                      </a:lnTo>
                      <a:lnTo>
                        <a:pt x="288" y="30"/>
                      </a:lnTo>
                      <a:lnTo>
                        <a:pt x="294" y="18"/>
                      </a:lnTo>
                      <a:lnTo>
                        <a:pt x="300" y="12"/>
                      </a:lnTo>
                      <a:lnTo>
                        <a:pt x="312" y="12"/>
                      </a:lnTo>
                      <a:lnTo>
                        <a:pt x="324" y="12"/>
                      </a:lnTo>
                      <a:lnTo>
                        <a:pt x="330" y="18"/>
                      </a:lnTo>
                      <a:lnTo>
                        <a:pt x="336" y="24"/>
                      </a:lnTo>
                      <a:lnTo>
                        <a:pt x="342" y="36"/>
                      </a:lnTo>
                      <a:lnTo>
                        <a:pt x="324" y="78"/>
                      </a:lnTo>
                      <a:lnTo>
                        <a:pt x="288" y="132"/>
                      </a:lnTo>
                      <a:lnTo>
                        <a:pt x="282" y="150"/>
                      </a:lnTo>
                      <a:lnTo>
                        <a:pt x="276" y="162"/>
                      </a:lnTo>
                      <a:lnTo>
                        <a:pt x="282" y="180"/>
                      </a:lnTo>
                      <a:lnTo>
                        <a:pt x="288" y="192"/>
                      </a:lnTo>
                      <a:lnTo>
                        <a:pt x="294" y="204"/>
                      </a:lnTo>
                      <a:lnTo>
                        <a:pt x="306" y="216"/>
                      </a:lnTo>
                      <a:lnTo>
                        <a:pt x="324" y="216"/>
                      </a:lnTo>
                      <a:lnTo>
                        <a:pt x="336" y="222"/>
                      </a:lnTo>
                      <a:lnTo>
                        <a:pt x="348" y="228"/>
                      </a:lnTo>
                      <a:lnTo>
                        <a:pt x="354" y="240"/>
                      </a:lnTo>
                      <a:lnTo>
                        <a:pt x="360" y="252"/>
                      </a:lnTo>
                      <a:lnTo>
                        <a:pt x="360" y="276"/>
                      </a:lnTo>
                      <a:lnTo>
                        <a:pt x="360" y="318"/>
                      </a:lnTo>
                      <a:lnTo>
                        <a:pt x="336" y="348"/>
                      </a:lnTo>
                      <a:lnTo>
                        <a:pt x="294" y="384"/>
                      </a:lnTo>
                      <a:lnTo>
                        <a:pt x="276" y="408"/>
                      </a:lnTo>
                      <a:lnTo>
                        <a:pt x="288" y="432"/>
                      </a:lnTo>
                      <a:lnTo>
                        <a:pt x="318" y="456"/>
                      </a:lnTo>
                      <a:lnTo>
                        <a:pt x="366" y="480"/>
                      </a:lnTo>
                      <a:lnTo>
                        <a:pt x="414" y="510"/>
                      </a:lnTo>
                      <a:lnTo>
                        <a:pt x="432" y="528"/>
                      </a:lnTo>
                      <a:lnTo>
                        <a:pt x="450" y="534"/>
                      </a:lnTo>
                      <a:lnTo>
                        <a:pt x="450" y="534"/>
                      </a:lnTo>
                      <a:lnTo>
                        <a:pt x="402" y="606"/>
                      </a:lnTo>
                      <a:lnTo>
                        <a:pt x="354" y="672"/>
                      </a:lnTo>
                      <a:lnTo>
                        <a:pt x="294" y="690"/>
                      </a:lnTo>
                      <a:lnTo>
                        <a:pt x="282" y="810"/>
                      </a:lnTo>
                      <a:lnTo>
                        <a:pt x="222" y="864"/>
                      </a:lnTo>
                      <a:lnTo>
                        <a:pt x="198" y="822"/>
                      </a:lnTo>
                      <a:lnTo>
                        <a:pt x="186" y="762"/>
                      </a:lnTo>
                      <a:lnTo>
                        <a:pt x="168" y="726"/>
                      </a:lnTo>
                      <a:lnTo>
                        <a:pt x="156" y="666"/>
                      </a:lnTo>
                      <a:lnTo>
                        <a:pt x="108" y="618"/>
                      </a:lnTo>
                      <a:lnTo>
                        <a:pt x="66" y="576"/>
                      </a:lnTo>
                      <a:lnTo>
                        <a:pt x="24" y="534"/>
                      </a:lnTo>
                      <a:lnTo>
                        <a:pt x="0" y="396"/>
                      </a:lnTo>
                      <a:lnTo>
                        <a:pt x="42" y="366"/>
                      </a:lnTo>
                      <a:lnTo>
                        <a:pt x="72" y="306"/>
                      </a:lnTo>
                      <a:lnTo>
                        <a:pt x="78" y="234"/>
                      </a:lnTo>
                      <a:lnTo>
                        <a:pt x="42" y="174"/>
                      </a:lnTo>
                      <a:lnTo>
                        <a:pt x="24" y="120"/>
                      </a:lnTo>
                      <a:lnTo>
                        <a:pt x="24" y="78"/>
                      </a:lnTo>
                      <a:lnTo>
                        <a:pt x="48" y="72"/>
                      </a:lnTo>
                      <a:lnTo>
                        <a:pt x="72" y="54"/>
                      </a:lnTo>
                      <a:lnTo>
                        <a:pt x="96" y="24"/>
                      </a:lnTo>
                      <a:lnTo>
                        <a:pt x="126" y="6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6" name="Freeform 187">
                  <a:extLst>
                    <a:ext uri="{FF2B5EF4-FFF2-40B4-BE49-F238E27FC236}">
                      <a16:creationId xmlns:a16="http://schemas.microsoft.com/office/drawing/2014/main" id="{297BB426-D22E-4B9F-94E1-6856C51B70E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669" y="330"/>
                  <a:ext cx="990" cy="780"/>
                </a:xfrm>
                <a:custGeom>
                  <a:avLst/>
                  <a:gdLst>
                    <a:gd name="T0" fmla="*/ 0 w 990"/>
                    <a:gd name="T1" fmla="*/ 762 h 780"/>
                    <a:gd name="T2" fmla="*/ 0 w 990"/>
                    <a:gd name="T3" fmla="*/ 762 h 780"/>
                    <a:gd name="T4" fmla="*/ 0 w 990"/>
                    <a:gd name="T5" fmla="*/ 762 h 780"/>
                    <a:gd name="T6" fmla="*/ 0 w 990"/>
                    <a:gd name="T7" fmla="*/ 762 h 780"/>
                    <a:gd name="T8" fmla="*/ 990 w 990"/>
                    <a:gd name="T9" fmla="*/ 0 h 780"/>
                    <a:gd name="T10" fmla="*/ 990 w 990"/>
                    <a:gd name="T11" fmla="*/ 42 h 780"/>
                    <a:gd name="T12" fmla="*/ 978 w 990"/>
                    <a:gd name="T13" fmla="*/ 240 h 780"/>
                    <a:gd name="T14" fmla="*/ 588 w 990"/>
                    <a:gd name="T15" fmla="*/ 240 h 780"/>
                    <a:gd name="T16" fmla="*/ 570 w 990"/>
                    <a:gd name="T17" fmla="*/ 534 h 780"/>
                    <a:gd name="T18" fmla="*/ 498 w 990"/>
                    <a:gd name="T19" fmla="*/ 558 h 780"/>
                    <a:gd name="T20" fmla="*/ 468 w 990"/>
                    <a:gd name="T21" fmla="*/ 618 h 780"/>
                    <a:gd name="T22" fmla="*/ 468 w 990"/>
                    <a:gd name="T23" fmla="*/ 762 h 780"/>
                    <a:gd name="T24" fmla="*/ 450 w 990"/>
                    <a:gd name="T25" fmla="*/ 780 h 780"/>
                    <a:gd name="T26" fmla="*/ 0 w 990"/>
                    <a:gd name="T27" fmla="*/ 762 h 780"/>
                    <a:gd name="T28" fmla="*/ 0 w 990"/>
                    <a:gd name="T29" fmla="*/ 732 h 780"/>
                    <a:gd name="T30" fmla="*/ 18 w 990"/>
                    <a:gd name="T31" fmla="*/ 702 h 780"/>
                    <a:gd name="T32" fmla="*/ 48 w 990"/>
                    <a:gd name="T33" fmla="*/ 666 h 780"/>
                    <a:gd name="T34" fmla="*/ 78 w 990"/>
                    <a:gd name="T35" fmla="*/ 618 h 780"/>
                    <a:gd name="T36" fmla="*/ 108 w 990"/>
                    <a:gd name="T37" fmla="*/ 570 h 780"/>
                    <a:gd name="T38" fmla="*/ 126 w 990"/>
                    <a:gd name="T39" fmla="*/ 522 h 780"/>
                    <a:gd name="T40" fmla="*/ 132 w 990"/>
                    <a:gd name="T41" fmla="*/ 474 h 780"/>
                    <a:gd name="T42" fmla="*/ 138 w 990"/>
                    <a:gd name="T43" fmla="*/ 456 h 780"/>
                    <a:gd name="T44" fmla="*/ 138 w 990"/>
                    <a:gd name="T45" fmla="*/ 438 h 780"/>
                    <a:gd name="T46" fmla="*/ 150 w 990"/>
                    <a:gd name="T47" fmla="*/ 426 h 780"/>
                    <a:gd name="T48" fmla="*/ 162 w 990"/>
                    <a:gd name="T49" fmla="*/ 420 h 780"/>
                    <a:gd name="T50" fmla="*/ 174 w 990"/>
                    <a:gd name="T51" fmla="*/ 414 h 780"/>
                    <a:gd name="T52" fmla="*/ 186 w 990"/>
                    <a:gd name="T53" fmla="*/ 402 h 780"/>
                    <a:gd name="T54" fmla="*/ 204 w 990"/>
                    <a:gd name="T55" fmla="*/ 396 h 780"/>
                    <a:gd name="T56" fmla="*/ 240 w 990"/>
                    <a:gd name="T57" fmla="*/ 378 h 780"/>
                    <a:gd name="T58" fmla="*/ 264 w 990"/>
                    <a:gd name="T59" fmla="*/ 348 h 780"/>
                    <a:gd name="T60" fmla="*/ 270 w 990"/>
                    <a:gd name="T61" fmla="*/ 300 h 780"/>
                    <a:gd name="T62" fmla="*/ 276 w 990"/>
                    <a:gd name="T63" fmla="*/ 246 h 780"/>
                    <a:gd name="T64" fmla="*/ 294 w 990"/>
                    <a:gd name="T65" fmla="*/ 210 h 780"/>
                    <a:gd name="T66" fmla="*/ 318 w 990"/>
                    <a:gd name="T67" fmla="*/ 186 h 780"/>
                    <a:gd name="T68" fmla="*/ 348 w 990"/>
                    <a:gd name="T69" fmla="*/ 156 h 780"/>
                    <a:gd name="T70" fmla="*/ 384 w 990"/>
                    <a:gd name="T71" fmla="*/ 114 h 780"/>
                    <a:gd name="T72" fmla="*/ 420 w 990"/>
                    <a:gd name="T73" fmla="*/ 66 h 780"/>
                    <a:gd name="T74" fmla="*/ 444 w 990"/>
                    <a:gd name="T75" fmla="*/ 18 h 780"/>
                    <a:gd name="T76" fmla="*/ 444 w 990"/>
                    <a:gd name="T77" fmla="*/ 12 h 780"/>
                    <a:gd name="T78" fmla="*/ 444 w 990"/>
                    <a:gd name="T79" fmla="*/ 6 h 780"/>
                    <a:gd name="T80" fmla="*/ 990 w 990"/>
                    <a:gd name="T81" fmla="*/ 0 h 7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990" h="780">
                      <a:moveTo>
                        <a:pt x="0" y="762"/>
                      </a:moveTo>
                      <a:lnTo>
                        <a:pt x="0" y="762"/>
                      </a:lnTo>
                      <a:lnTo>
                        <a:pt x="0" y="762"/>
                      </a:lnTo>
                      <a:lnTo>
                        <a:pt x="0" y="762"/>
                      </a:lnTo>
                      <a:close/>
                      <a:moveTo>
                        <a:pt x="990" y="0"/>
                      </a:moveTo>
                      <a:lnTo>
                        <a:pt x="990" y="42"/>
                      </a:lnTo>
                      <a:lnTo>
                        <a:pt x="978" y="240"/>
                      </a:lnTo>
                      <a:lnTo>
                        <a:pt x="588" y="240"/>
                      </a:lnTo>
                      <a:lnTo>
                        <a:pt x="570" y="534"/>
                      </a:lnTo>
                      <a:lnTo>
                        <a:pt x="498" y="558"/>
                      </a:lnTo>
                      <a:lnTo>
                        <a:pt x="468" y="618"/>
                      </a:lnTo>
                      <a:lnTo>
                        <a:pt x="468" y="762"/>
                      </a:lnTo>
                      <a:lnTo>
                        <a:pt x="450" y="780"/>
                      </a:lnTo>
                      <a:lnTo>
                        <a:pt x="0" y="762"/>
                      </a:lnTo>
                      <a:lnTo>
                        <a:pt x="0" y="732"/>
                      </a:lnTo>
                      <a:lnTo>
                        <a:pt x="18" y="702"/>
                      </a:lnTo>
                      <a:lnTo>
                        <a:pt x="48" y="666"/>
                      </a:lnTo>
                      <a:lnTo>
                        <a:pt x="78" y="618"/>
                      </a:lnTo>
                      <a:lnTo>
                        <a:pt x="108" y="570"/>
                      </a:lnTo>
                      <a:lnTo>
                        <a:pt x="126" y="522"/>
                      </a:lnTo>
                      <a:lnTo>
                        <a:pt x="132" y="474"/>
                      </a:lnTo>
                      <a:lnTo>
                        <a:pt x="138" y="456"/>
                      </a:lnTo>
                      <a:lnTo>
                        <a:pt x="138" y="438"/>
                      </a:lnTo>
                      <a:lnTo>
                        <a:pt x="150" y="426"/>
                      </a:lnTo>
                      <a:lnTo>
                        <a:pt x="162" y="420"/>
                      </a:lnTo>
                      <a:lnTo>
                        <a:pt x="174" y="414"/>
                      </a:lnTo>
                      <a:lnTo>
                        <a:pt x="186" y="402"/>
                      </a:lnTo>
                      <a:lnTo>
                        <a:pt x="204" y="396"/>
                      </a:lnTo>
                      <a:lnTo>
                        <a:pt x="240" y="378"/>
                      </a:lnTo>
                      <a:lnTo>
                        <a:pt x="264" y="348"/>
                      </a:lnTo>
                      <a:lnTo>
                        <a:pt x="270" y="300"/>
                      </a:lnTo>
                      <a:lnTo>
                        <a:pt x="276" y="246"/>
                      </a:lnTo>
                      <a:lnTo>
                        <a:pt x="294" y="210"/>
                      </a:lnTo>
                      <a:lnTo>
                        <a:pt x="318" y="186"/>
                      </a:lnTo>
                      <a:lnTo>
                        <a:pt x="348" y="156"/>
                      </a:lnTo>
                      <a:lnTo>
                        <a:pt x="384" y="114"/>
                      </a:lnTo>
                      <a:lnTo>
                        <a:pt x="420" y="66"/>
                      </a:lnTo>
                      <a:lnTo>
                        <a:pt x="444" y="18"/>
                      </a:lnTo>
                      <a:lnTo>
                        <a:pt x="444" y="12"/>
                      </a:lnTo>
                      <a:lnTo>
                        <a:pt x="444" y="6"/>
                      </a:lnTo>
                      <a:lnTo>
                        <a:pt x="99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7" name="Freeform 188">
                  <a:extLst>
                    <a:ext uri="{FF2B5EF4-FFF2-40B4-BE49-F238E27FC236}">
                      <a16:creationId xmlns:a16="http://schemas.microsoft.com/office/drawing/2014/main" id="{50C25A4E-B487-4835-999E-311BB97BEB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39" y="1944"/>
                  <a:ext cx="330" cy="114"/>
                </a:xfrm>
                <a:custGeom>
                  <a:avLst/>
                  <a:gdLst>
                    <a:gd name="T0" fmla="*/ 66 w 330"/>
                    <a:gd name="T1" fmla="*/ 0 h 114"/>
                    <a:gd name="T2" fmla="*/ 120 w 330"/>
                    <a:gd name="T3" fmla="*/ 0 h 114"/>
                    <a:gd name="T4" fmla="*/ 162 w 330"/>
                    <a:gd name="T5" fmla="*/ 6 h 114"/>
                    <a:gd name="T6" fmla="*/ 228 w 330"/>
                    <a:gd name="T7" fmla="*/ 12 h 114"/>
                    <a:gd name="T8" fmla="*/ 300 w 330"/>
                    <a:gd name="T9" fmla="*/ 30 h 114"/>
                    <a:gd name="T10" fmla="*/ 330 w 330"/>
                    <a:gd name="T11" fmla="*/ 60 h 114"/>
                    <a:gd name="T12" fmla="*/ 300 w 330"/>
                    <a:gd name="T13" fmla="*/ 90 h 114"/>
                    <a:gd name="T14" fmla="*/ 240 w 330"/>
                    <a:gd name="T15" fmla="*/ 96 h 114"/>
                    <a:gd name="T16" fmla="*/ 150 w 330"/>
                    <a:gd name="T17" fmla="*/ 96 h 114"/>
                    <a:gd name="T18" fmla="*/ 84 w 330"/>
                    <a:gd name="T19" fmla="*/ 114 h 114"/>
                    <a:gd name="T20" fmla="*/ 18 w 330"/>
                    <a:gd name="T21" fmla="*/ 114 h 114"/>
                    <a:gd name="T22" fmla="*/ 12 w 330"/>
                    <a:gd name="T23" fmla="*/ 114 h 114"/>
                    <a:gd name="T24" fmla="*/ 6 w 330"/>
                    <a:gd name="T25" fmla="*/ 108 h 114"/>
                    <a:gd name="T26" fmla="*/ 0 w 330"/>
                    <a:gd name="T27" fmla="*/ 96 h 114"/>
                    <a:gd name="T28" fmla="*/ 0 w 330"/>
                    <a:gd name="T29" fmla="*/ 90 h 114"/>
                    <a:gd name="T30" fmla="*/ 6 w 330"/>
                    <a:gd name="T31" fmla="*/ 84 h 114"/>
                    <a:gd name="T32" fmla="*/ 18 w 330"/>
                    <a:gd name="T33" fmla="*/ 84 h 114"/>
                    <a:gd name="T34" fmla="*/ 36 w 330"/>
                    <a:gd name="T35" fmla="*/ 78 h 114"/>
                    <a:gd name="T36" fmla="*/ 54 w 330"/>
                    <a:gd name="T37" fmla="*/ 78 h 114"/>
                    <a:gd name="T38" fmla="*/ 72 w 330"/>
                    <a:gd name="T39" fmla="*/ 72 h 114"/>
                    <a:gd name="T40" fmla="*/ 84 w 330"/>
                    <a:gd name="T41" fmla="*/ 66 h 114"/>
                    <a:gd name="T42" fmla="*/ 90 w 330"/>
                    <a:gd name="T43" fmla="*/ 60 h 114"/>
                    <a:gd name="T44" fmla="*/ 96 w 330"/>
                    <a:gd name="T45" fmla="*/ 48 h 114"/>
                    <a:gd name="T46" fmla="*/ 90 w 330"/>
                    <a:gd name="T47" fmla="*/ 42 h 114"/>
                    <a:gd name="T48" fmla="*/ 78 w 330"/>
                    <a:gd name="T49" fmla="*/ 36 h 114"/>
                    <a:gd name="T50" fmla="*/ 66 w 330"/>
                    <a:gd name="T51" fmla="*/ 36 h 114"/>
                    <a:gd name="T52" fmla="*/ 48 w 330"/>
                    <a:gd name="T53" fmla="*/ 30 h 114"/>
                    <a:gd name="T54" fmla="*/ 36 w 330"/>
                    <a:gd name="T55" fmla="*/ 30 h 114"/>
                    <a:gd name="T56" fmla="*/ 24 w 330"/>
                    <a:gd name="T57" fmla="*/ 24 h 114"/>
                    <a:gd name="T58" fmla="*/ 24 w 330"/>
                    <a:gd name="T59" fmla="*/ 18 h 114"/>
                    <a:gd name="T60" fmla="*/ 18 w 330"/>
                    <a:gd name="T61" fmla="*/ 6 h 114"/>
                    <a:gd name="T62" fmla="*/ 18 w 330"/>
                    <a:gd name="T63" fmla="*/ 6 h 114"/>
                    <a:gd name="T64" fmla="*/ 66 w 330"/>
                    <a:gd name="T65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30" h="114">
                      <a:moveTo>
                        <a:pt x="66" y="0"/>
                      </a:moveTo>
                      <a:lnTo>
                        <a:pt x="120" y="0"/>
                      </a:lnTo>
                      <a:lnTo>
                        <a:pt x="162" y="6"/>
                      </a:lnTo>
                      <a:lnTo>
                        <a:pt x="228" y="12"/>
                      </a:lnTo>
                      <a:lnTo>
                        <a:pt x="300" y="30"/>
                      </a:lnTo>
                      <a:lnTo>
                        <a:pt x="330" y="60"/>
                      </a:lnTo>
                      <a:lnTo>
                        <a:pt x="300" y="90"/>
                      </a:lnTo>
                      <a:lnTo>
                        <a:pt x="240" y="96"/>
                      </a:lnTo>
                      <a:lnTo>
                        <a:pt x="150" y="96"/>
                      </a:lnTo>
                      <a:lnTo>
                        <a:pt x="84" y="114"/>
                      </a:lnTo>
                      <a:lnTo>
                        <a:pt x="18" y="114"/>
                      </a:lnTo>
                      <a:lnTo>
                        <a:pt x="12" y="114"/>
                      </a:lnTo>
                      <a:lnTo>
                        <a:pt x="6" y="108"/>
                      </a:lnTo>
                      <a:lnTo>
                        <a:pt x="0" y="96"/>
                      </a:lnTo>
                      <a:lnTo>
                        <a:pt x="0" y="90"/>
                      </a:lnTo>
                      <a:lnTo>
                        <a:pt x="6" y="84"/>
                      </a:lnTo>
                      <a:lnTo>
                        <a:pt x="18" y="84"/>
                      </a:lnTo>
                      <a:lnTo>
                        <a:pt x="36" y="78"/>
                      </a:lnTo>
                      <a:lnTo>
                        <a:pt x="54" y="78"/>
                      </a:lnTo>
                      <a:lnTo>
                        <a:pt x="72" y="72"/>
                      </a:lnTo>
                      <a:lnTo>
                        <a:pt x="84" y="66"/>
                      </a:lnTo>
                      <a:lnTo>
                        <a:pt x="90" y="60"/>
                      </a:lnTo>
                      <a:lnTo>
                        <a:pt x="96" y="48"/>
                      </a:lnTo>
                      <a:lnTo>
                        <a:pt x="90" y="42"/>
                      </a:lnTo>
                      <a:lnTo>
                        <a:pt x="78" y="36"/>
                      </a:lnTo>
                      <a:lnTo>
                        <a:pt x="66" y="36"/>
                      </a:lnTo>
                      <a:lnTo>
                        <a:pt x="48" y="30"/>
                      </a:lnTo>
                      <a:lnTo>
                        <a:pt x="36" y="30"/>
                      </a:lnTo>
                      <a:lnTo>
                        <a:pt x="24" y="24"/>
                      </a:lnTo>
                      <a:lnTo>
                        <a:pt x="24" y="18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8" name="Freeform 189">
                  <a:extLst>
                    <a:ext uri="{FF2B5EF4-FFF2-40B4-BE49-F238E27FC236}">
                      <a16:creationId xmlns:a16="http://schemas.microsoft.com/office/drawing/2014/main" id="{28AC2B65-85A5-4CDA-AEB2-D420A316F5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69" y="372"/>
                  <a:ext cx="1380" cy="1458"/>
                </a:xfrm>
                <a:custGeom>
                  <a:avLst/>
                  <a:gdLst>
                    <a:gd name="T0" fmla="*/ 984 w 1380"/>
                    <a:gd name="T1" fmla="*/ 0 h 1458"/>
                    <a:gd name="T2" fmla="*/ 1380 w 1380"/>
                    <a:gd name="T3" fmla="*/ 282 h 1458"/>
                    <a:gd name="T4" fmla="*/ 1380 w 1380"/>
                    <a:gd name="T5" fmla="*/ 282 h 1458"/>
                    <a:gd name="T6" fmla="*/ 1164 w 1380"/>
                    <a:gd name="T7" fmla="*/ 288 h 1458"/>
                    <a:gd name="T8" fmla="*/ 1272 w 1380"/>
                    <a:gd name="T9" fmla="*/ 1164 h 1458"/>
                    <a:gd name="T10" fmla="*/ 1290 w 1380"/>
                    <a:gd name="T11" fmla="*/ 1260 h 1458"/>
                    <a:gd name="T12" fmla="*/ 1320 w 1380"/>
                    <a:gd name="T13" fmla="*/ 1320 h 1458"/>
                    <a:gd name="T14" fmla="*/ 1320 w 1380"/>
                    <a:gd name="T15" fmla="*/ 1362 h 1458"/>
                    <a:gd name="T16" fmla="*/ 1278 w 1380"/>
                    <a:gd name="T17" fmla="*/ 1392 h 1458"/>
                    <a:gd name="T18" fmla="*/ 858 w 1380"/>
                    <a:gd name="T19" fmla="*/ 1392 h 1458"/>
                    <a:gd name="T20" fmla="*/ 804 w 1380"/>
                    <a:gd name="T21" fmla="*/ 1404 h 1458"/>
                    <a:gd name="T22" fmla="*/ 684 w 1380"/>
                    <a:gd name="T23" fmla="*/ 1416 h 1458"/>
                    <a:gd name="T24" fmla="*/ 618 w 1380"/>
                    <a:gd name="T25" fmla="*/ 1392 h 1458"/>
                    <a:gd name="T26" fmla="*/ 552 w 1380"/>
                    <a:gd name="T27" fmla="*/ 1428 h 1458"/>
                    <a:gd name="T28" fmla="*/ 522 w 1380"/>
                    <a:gd name="T29" fmla="*/ 1458 h 1458"/>
                    <a:gd name="T30" fmla="*/ 480 w 1380"/>
                    <a:gd name="T31" fmla="*/ 1428 h 1458"/>
                    <a:gd name="T32" fmla="*/ 444 w 1380"/>
                    <a:gd name="T33" fmla="*/ 1398 h 1458"/>
                    <a:gd name="T34" fmla="*/ 432 w 1380"/>
                    <a:gd name="T35" fmla="*/ 1344 h 1458"/>
                    <a:gd name="T36" fmla="*/ 390 w 1380"/>
                    <a:gd name="T37" fmla="*/ 1308 h 1458"/>
                    <a:gd name="T38" fmla="*/ 342 w 1380"/>
                    <a:gd name="T39" fmla="*/ 1296 h 1458"/>
                    <a:gd name="T40" fmla="*/ 300 w 1380"/>
                    <a:gd name="T41" fmla="*/ 1260 h 1458"/>
                    <a:gd name="T42" fmla="*/ 246 w 1380"/>
                    <a:gd name="T43" fmla="*/ 1248 h 1458"/>
                    <a:gd name="T44" fmla="*/ 168 w 1380"/>
                    <a:gd name="T45" fmla="*/ 1260 h 1458"/>
                    <a:gd name="T46" fmla="*/ 84 w 1380"/>
                    <a:gd name="T47" fmla="*/ 1314 h 1458"/>
                    <a:gd name="T48" fmla="*/ 78 w 1380"/>
                    <a:gd name="T49" fmla="*/ 1296 h 1458"/>
                    <a:gd name="T50" fmla="*/ 78 w 1380"/>
                    <a:gd name="T51" fmla="*/ 1278 h 1458"/>
                    <a:gd name="T52" fmla="*/ 84 w 1380"/>
                    <a:gd name="T53" fmla="*/ 1218 h 1458"/>
                    <a:gd name="T54" fmla="*/ 120 w 1380"/>
                    <a:gd name="T55" fmla="*/ 1140 h 1458"/>
                    <a:gd name="T56" fmla="*/ 132 w 1380"/>
                    <a:gd name="T57" fmla="*/ 1086 h 1458"/>
                    <a:gd name="T58" fmla="*/ 120 w 1380"/>
                    <a:gd name="T59" fmla="*/ 1032 h 1458"/>
                    <a:gd name="T60" fmla="*/ 96 w 1380"/>
                    <a:gd name="T61" fmla="*/ 972 h 1458"/>
                    <a:gd name="T62" fmla="*/ 78 w 1380"/>
                    <a:gd name="T63" fmla="*/ 936 h 1458"/>
                    <a:gd name="T64" fmla="*/ 72 w 1380"/>
                    <a:gd name="T65" fmla="*/ 918 h 1458"/>
                    <a:gd name="T66" fmla="*/ 72 w 1380"/>
                    <a:gd name="T67" fmla="*/ 894 h 1458"/>
                    <a:gd name="T68" fmla="*/ 90 w 1380"/>
                    <a:gd name="T69" fmla="*/ 864 h 1458"/>
                    <a:gd name="T70" fmla="*/ 96 w 1380"/>
                    <a:gd name="T71" fmla="*/ 846 h 1458"/>
                    <a:gd name="T72" fmla="*/ 96 w 1380"/>
                    <a:gd name="T73" fmla="*/ 834 h 1458"/>
                    <a:gd name="T74" fmla="*/ 90 w 1380"/>
                    <a:gd name="T75" fmla="*/ 816 h 1458"/>
                    <a:gd name="T76" fmla="*/ 78 w 1380"/>
                    <a:gd name="T77" fmla="*/ 804 h 1458"/>
                    <a:gd name="T78" fmla="*/ 66 w 1380"/>
                    <a:gd name="T79" fmla="*/ 798 h 1458"/>
                    <a:gd name="T80" fmla="*/ 48 w 1380"/>
                    <a:gd name="T81" fmla="*/ 792 h 1458"/>
                    <a:gd name="T82" fmla="*/ 36 w 1380"/>
                    <a:gd name="T83" fmla="*/ 792 h 1458"/>
                    <a:gd name="T84" fmla="*/ 18 w 1380"/>
                    <a:gd name="T85" fmla="*/ 792 h 1458"/>
                    <a:gd name="T86" fmla="*/ 12 w 1380"/>
                    <a:gd name="T87" fmla="*/ 792 h 1458"/>
                    <a:gd name="T88" fmla="*/ 6 w 1380"/>
                    <a:gd name="T89" fmla="*/ 786 h 1458"/>
                    <a:gd name="T90" fmla="*/ 6 w 1380"/>
                    <a:gd name="T91" fmla="*/ 780 h 1458"/>
                    <a:gd name="T92" fmla="*/ 6 w 1380"/>
                    <a:gd name="T93" fmla="*/ 768 h 1458"/>
                    <a:gd name="T94" fmla="*/ 0 w 1380"/>
                    <a:gd name="T95" fmla="*/ 750 h 1458"/>
                    <a:gd name="T96" fmla="*/ 0 w 1380"/>
                    <a:gd name="T97" fmla="*/ 732 h 1458"/>
                    <a:gd name="T98" fmla="*/ 0 w 1380"/>
                    <a:gd name="T99" fmla="*/ 720 h 1458"/>
                    <a:gd name="T100" fmla="*/ 0 w 1380"/>
                    <a:gd name="T101" fmla="*/ 720 h 1458"/>
                    <a:gd name="T102" fmla="*/ 450 w 1380"/>
                    <a:gd name="T103" fmla="*/ 738 h 1458"/>
                    <a:gd name="T104" fmla="*/ 468 w 1380"/>
                    <a:gd name="T105" fmla="*/ 720 h 1458"/>
                    <a:gd name="T106" fmla="*/ 468 w 1380"/>
                    <a:gd name="T107" fmla="*/ 576 h 1458"/>
                    <a:gd name="T108" fmla="*/ 498 w 1380"/>
                    <a:gd name="T109" fmla="*/ 516 h 1458"/>
                    <a:gd name="T110" fmla="*/ 570 w 1380"/>
                    <a:gd name="T111" fmla="*/ 492 h 1458"/>
                    <a:gd name="T112" fmla="*/ 588 w 1380"/>
                    <a:gd name="T113" fmla="*/ 198 h 1458"/>
                    <a:gd name="T114" fmla="*/ 978 w 1380"/>
                    <a:gd name="T115" fmla="*/ 198 h 1458"/>
                    <a:gd name="T116" fmla="*/ 990 w 1380"/>
                    <a:gd name="T117" fmla="*/ 0 h 1458"/>
                    <a:gd name="T118" fmla="*/ 984 w 1380"/>
                    <a:gd name="T119" fmla="*/ 0 h 14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380" h="1458">
                      <a:moveTo>
                        <a:pt x="984" y="0"/>
                      </a:moveTo>
                      <a:lnTo>
                        <a:pt x="1380" y="282"/>
                      </a:lnTo>
                      <a:lnTo>
                        <a:pt x="1380" y="282"/>
                      </a:lnTo>
                      <a:lnTo>
                        <a:pt x="1164" y="288"/>
                      </a:lnTo>
                      <a:lnTo>
                        <a:pt x="1272" y="1164"/>
                      </a:lnTo>
                      <a:lnTo>
                        <a:pt x="1290" y="1260"/>
                      </a:lnTo>
                      <a:lnTo>
                        <a:pt x="1320" y="1320"/>
                      </a:lnTo>
                      <a:lnTo>
                        <a:pt x="1320" y="1362"/>
                      </a:lnTo>
                      <a:lnTo>
                        <a:pt x="1278" y="1392"/>
                      </a:lnTo>
                      <a:lnTo>
                        <a:pt x="858" y="1392"/>
                      </a:lnTo>
                      <a:lnTo>
                        <a:pt x="804" y="1404"/>
                      </a:lnTo>
                      <a:lnTo>
                        <a:pt x="684" y="1416"/>
                      </a:lnTo>
                      <a:lnTo>
                        <a:pt x="618" y="1392"/>
                      </a:lnTo>
                      <a:lnTo>
                        <a:pt x="552" y="1428"/>
                      </a:lnTo>
                      <a:lnTo>
                        <a:pt x="522" y="1458"/>
                      </a:lnTo>
                      <a:lnTo>
                        <a:pt x="480" y="1428"/>
                      </a:lnTo>
                      <a:lnTo>
                        <a:pt x="444" y="1398"/>
                      </a:lnTo>
                      <a:lnTo>
                        <a:pt x="432" y="1344"/>
                      </a:lnTo>
                      <a:lnTo>
                        <a:pt x="390" y="1308"/>
                      </a:lnTo>
                      <a:lnTo>
                        <a:pt x="342" y="1296"/>
                      </a:lnTo>
                      <a:lnTo>
                        <a:pt x="300" y="1260"/>
                      </a:lnTo>
                      <a:lnTo>
                        <a:pt x="246" y="1248"/>
                      </a:lnTo>
                      <a:lnTo>
                        <a:pt x="168" y="1260"/>
                      </a:lnTo>
                      <a:lnTo>
                        <a:pt x="84" y="1314"/>
                      </a:lnTo>
                      <a:lnTo>
                        <a:pt x="78" y="1296"/>
                      </a:lnTo>
                      <a:lnTo>
                        <a:pt x="78" y="1278"/>
                      </a:lnTo>
                      <a:lnTo>
                        <a:pt x="84" y="1218"/>
                      </a:lnTo>
                      <a:lnTo>
                        <a:pt x="120" y="1140"/>
                      </a:lnTo>
                      <a:lnTo>
                        <a:pt x="132" y="1086"/>
                      </a:lnTo>
                      <a:lnTo>
                        <a:pt x="120" y="1032"/>
                      </a:lnTo>
                      <a:lnTo>
                        <a:pt x="96" y="972"/>
                      </a:lnTo>
                      <a:lnTo>
                        <a:pt x="78" y="936"/>
                      </a:lnTo>
                      <a:lnTo>
                        <a:pt x="72" y="918"/>
                      </a:lnTo>
                      <a:lnTo>
                        <a:pt x="72" y="894"/>
                      </a:lnTo>
                      <a:lnTo>
                        <a:pt x="90" y="864"/>
                      </a:lnTo>
                      <a:lnTo>
                        <a:pt x="96" y="846"/>
                      </a:lnTo>
                      <a:lnTo>
                        <a:pt x="96" y="834"/>
                      </a:lnTo>
                      <a:lnTo>
                        <a:pt x="90" y="816"/>
                      </a:lnTo>
                      <a:lnTo>
                        <a:pt x="78" y="804"/>
                      </a:lnTo>
                      <a:lnTo>
                        <a:pt x="66" y="798"/>
                      </a:lnTo>
                      <a:lnTo>
                        <a:pt x="48" y="792"/>
                      </a:lnTo>
                      <a:lnTo>
                        <a:pt x="36" y="792"/>
                      </a:lnTo>
                      <a:lnTo>
                        <a:pt x="18" y="792"/>
                      </a:lnTo>
                      <a:lnTo>
                        <a:pt x="12" y="792"/>
                      </a:lnTo>
                      <a:lnTo>
                        <a:pt x="6" y="786"/>
                      </a:lnTo>
                      <a:lnTo>
                        <a:pt x="6" y="780"/>
                      </a:lnTo>
                      <a:lnTo>
                        <a:pt x="6" y="768"/>
                      </a:lnTo>
                      <a:lnTo>
                        <a:pt x="0" y="750"/>
                      </a:lnTo>
                      <a:lnTo>
                        <a:pt x="0" y="732"/>
                      </a:lnTo>
                      <a:lnTo>
                        <a:pt x="0" y="720"/>
                      </a:lnTo>
                      <a:lnTo>
                        <a:pt x="0" y="720"/>
                      </a:lnTo>
                      <a:lnTo>
                        <a:pt x="450" y="738"/>
                      </a:lnTo>
                      <a:lnTo>
                        <a:pt x="468" y="720"/>
                      </a:lnTo>
                      <a:lnTo>
                        <a:pt x="468" y="576"/>
                      </a:lnTo>
                      <a:lnTo>
                        <a:pt x="498" y="516"/>
                      </a:lnTo>
                      <a:lnTo>
                        <a:pt x="570" y="492"/>
                      </a:lnTo>
                      <a:lnTo>
                        <a:pt x="588" y="198"/>
                      </a:lnTo>
                      <a:lnTo>
                        <a:pt x="978" y="198"/>
                      </a:lnTo>
                      <a:lnTo>
                        <a:pt x="990" y="0"/>
                      </a:lnTo>
                      <a:lnTo>
                        <a:pt x="98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29" name="Freeform 190">
                  <a:extLst>
                    <a:ext uri="{FF2B5EF4-FFF2-40B4-BE49-F238E27FC236}">
                      <a16:creationId xmlns:a16="http://schemas.microsoft.com/office/drawing/2014/main" id="{ECC40A8B-A232-46B5-AA7B-7E70698DE7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61" y="2088"/>
                  <a:ext cx="276" cy="144"/>
                </a:xfrm>
                <a:custGeom>
                  <a:avLst/>
                  <a:gdLst>
                    <a:gd name="T0" fmla="*/ 180 w 276"/>
                    <a:gd name="T1" fmla="*/ 0 h 144"/>
                    <a:gd name="T2" fmla="*/ 246 w 276"/>
                    <a:gd name="T3" fmla="*/ 6 h 144"/>
                    <a:gd name="T4" fmla="*/ 276 w 276"/>
                    <a:gd name="T5" fmla="*/ 12 h 144"/>
                    <a:gd name="T6" fmla="*/ 270 w 276"/>
                    <a:gd name="T7" fmla="*/ 54 h 144"/>
                    <a:gd name="T8" fmla="*/ 246 w 276"/>
                    <a:gd name="T9" fmla="*/ 90 h 144"/>
                    <a:gd name="T10" fmla="*/ 216 w 276"/>
                    <a:gd name="T11" fmla="*/ 126 h 144"/>
                    <a:gd name="T12" fmla="*/ 174 w 276"/>
                    <a:gd name="T13" fmla="*/ 138 h 144"/>
                    <a:gd name="T14" fmla="*/ 132 w 276"/>
                    <a:gd name="T15" fmla="*/ 144 h 144"/>
                    <a:gd name="T16" fmla="*/ 108 w 276"/>
                    <a:gd name="T17" fmla="*/ 144 h 144"/>
                    <a:gd name="T18" fmla="*/ 108 w 276"/>
                    <a:gd name="T19" fmla="*/ 138 h 144"/>
                    <a:gd name="T20" fmla="*/ 108 w 276"/>
                    <a:gd name="T21" fmla="*/ 120 h 144"/>
                    <a:gd name="T22" fmla="*/ 108 w 276"/>
                    <a:gd name="T23" fmla="*/ 114 h 144"/>
                    <a:gd name="T24" fmla="*/ 102 w 276"/>
                    <a:gd name="T25" fmla="*/ 108 h 144"/>
                    <a:gd name="T26" fmla="*/ 96 w 276"/>
                    <a:gd name="T27" fmla="*/ 102 h 144"/>
                    <a:gd name="T28" fmla="*/ 90 w 276"/>
                    <a:gd name="T29" fmla="*/ 96 h 144"/>
                    <a:gd name="T30" fmla="*/ 84 w 276"/>
                    <a:gd name="T31" fmla="*/ 90 h 144"/>
                    <a:gd name="T32" fmla="*/ 78 w 276"/>
                    <a:gd name="T33" fmla="*/ 84 h 144"/>
                    <a:gd name="T34" fmla="*/ 72 w 276"/>
                    <a:gd name="T35" fmla="*/ 72 h 144"/>
                    <a:gd name="T36" fmla="*/ 66 w 276"/>
                    <a:gd name="T37" fmla="*/ 60 h 144"/>
                    <a:gd name="T38" fmla="*/ 60 w 276"/>
                    <a:gd name="T39" fmla="*/ 54 h 144"/>
                    <a:gd name="T40" fmla="*/ 48 w 276"/>
                    <a:gd name="T41" fmla="*/ 48 h 144"/>
                    <a:gd name="T42" fmla="*/ 36 w 276"/>
                    <a:gd name="T43" fmla="*/ 48 h 144"/>
                    <a:gd name="T44" fmla="*/ 12 w 276"/>
                    <a:gd name="T45" fmla="*/ 48 h 144"/>
                    <a:gd name="T46" fmla="*/ 0 w 276"/>
                    <a:gd name="T47" fmla="*/ 48 h 144"/>
                    <a:gd name="T48" fmla="*/ 0 w 276"/>
                    <a:gd name="T49" fmla="*/ 42 h 144"/>
                    <a:gd name="T50" fmla="*/ 24 w 276"/>
                    <a:gd name="T51" fmla="*/ 18 h 144"/>
                    <a:gd name="T52" fmla="*/ 96 w 276"/>
                    <a:gd name="T53" fmla="*/ 6 h 144"/>
                    <a:gd name="T54" fmla="*/ 180 w 276"/>
                    <a:gd name="T55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6" h="144">
                      <a:moveTo>
                        <a:pt x="180" y="0"/>
                      </a:moveTo>
                      <a:lnTo>
                        <a:pt x="246" y="6"/>
                      </a:lnTo>
                      <a:lnTo>
                        <a:pt x="276" y="12"/>
                      </a:lnTo>
                      <a:lnTo>
                        <a:pt x="270" y="54"/>
                      </a:lnTo>
                      <a:lnTo>
                        <a:pt x="246" y="90"/>
                      </a:lnTo>
                      <a:lnTo>
                        <a:pt x="216" y="126"/>
                      </a:lnTo>
                      <a:lnTo>
                        <a:pt x="174" y="138"/>
                      </a:lnTo>
                      <a:lnTo>
                        <a:pt x="132" y="144"/>
                      </a:lnTo>
                      <a:lnTo>
                        <a:pt x="108" y="144"/>
                      </a:lnTo>
                      <a:lnTo>
                        <a:pt x="108" y="138"/>
                      </a:lnTo>
                      <a:lnTo>
                        <a:pt x="108" y="120"/>
                      </a:lnTo>
                      <a:lnTo>
                        <a:pt x="108" y="114"/>
                      </a:lnTo>
                      <a:lnTo>
                        <a:pt x="102" y="108"/>
                      </a:lnTo>
                      <a:lnTo>
                        <a:pt x="96" y="102"/>
                      </a:lnTo>
                      <a:lnTo>
                        <a:pt x="90" y="96"/>
                      </a:lnTo>
                      <a:lnTo>
                        <a:pt x="84" y="90"/>
                      </a:lnTo>
                      <a:lnTo>
                        <a:pt x="78" y="84"/>
                      </a:lnTo>
                      <a:lnTo>
                        <a:pt x="72" y="72"/>
                      </a:lnTo>
                      <a:lnTo>
                        <a:pt x="66" y="60"/>
                      </a:lnTo>
                      <a:lnTo>
                        <a:pt x="60" y="54"/>
                      </a:lnTo>
                      <a:lnTo>
                        <a:pt x="48" y="48"/>
                      </a:lnTo>
                      <a:lnTo>
                        <a:pt x="36" y="48"/>
                      </a:lnTo>
                      <a:lnTo>
                        <a:pt x="12" y="48"/>
                      </a:lnTo>
                      <a:lnTo>
                        <a:pt x="0" y="48"/>
                      </a:lnTo>
                      <a:lnTo>
                        <a:pt x="0" y="42"/>
                      </a:lnTo>
                      <a:lnTo>
                        <a:pt x="24" y="18"/>
                      </a:lnTo>
                      <a:lnTo>
                        <a:pt x="96" y="6"/>
                      </a:lnTo>
                      <a:lnTo>
                        <a:pt x="18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0" name="Freeform 191">
                  <a:extLst>
                    <a:ext uri="{FF2B5EF4-FFF2-40B4-BE49-F238E27FC236}">
                      <a16:creationId xmlns:a16="http://schemas.microsoft.com/office/drawing/2014/main" id="{39D8FB9F-244B-4F19-97C7-2F95D81B2D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705" y="1620"/>
                  <a:ext cx="690" cy="540"/>
                </a:xfrm>
                <a:custGeom>
                  <a:avLst/>
                  <a:gdLst>
                    <a:gd name="T0" fmla="*/ 336 w 690"/>
                    <a:gd name="T1" fmla="*/ 12 h 540"/>
                    <a:gd name="T2" fmla="*/ 426 w 690"/>
                    <a:gd name="T3" fmla="*/ 60 h 540"/>
                    <a:gd name="T4" fmla="*/ 480 w 690"/>
                    <a:gd name="T5" fmla="*/ 150 h 540"/>
                    <a:gd name="T6" fmla="*/ 558 w 690"/>
                    <a:gd name="T7" fmla="*/ 210 h 540"/>
                    <a:gd name="T8" fmla="*/ 594 w 690"/>
                    <a:gd name="T9" fmla="*/ 300 h 540"/>
                    <a:gd name="T10" fmla="*/ 690 w 690"/>
                    <a:gd name="T11" fmla="*/ 468 h 540"/>
                    <a:gd name="T12" fmla="*/ 600 w 690"/>
                    <a:gd name="T13" fmla="*/ 528 h 540"/>
                    <a:gd name="T14" fmla="*/ 492 w 690"/>
                    <a:gd name="T15" fmla="*/ 462 h 540"/>
                    <a:gd name="T16" fmla="*/ 420 w 690"/>
                    <a:gd name="T17" fmla="*/ 480 h 540"/>
                    <a:gd name="T18" fmla="*/ 324 w 690"/>
                    <a:gd name="T19" fmla="*/ 468 h 540"/>
                    <a:gd name="T20" fmla="*/ 168 w 690"/>
                    <a:gd name="T21" fmla="*/ 486 h 540"/>
                    <a:gd name="T22" fmla="*/ 144 w 690"/>
                    <a:gd name="T23" fmla="*/ 516 h 540"/>
                    <a:gd name="T24" fmla="*/ 120 w 690"/>
                    <a:gd name="T25" fmla="*/ 504 h 540"/>
                    <a:gd name="T26" fmla="*/ 108 w 690"/>
                    <a:gd name="T27" fmla="*/ 486 h 540"/>
                    <a:gd name="T28" fmla="*/ 96 w 690"/>
                    <a:gd name="T29" fmla="*/ 462 h 540"/>
                    <a:gd name="T30" fmla="*/ 78 w 690"/>
                    <a:gd name="T31" fmla="*/ 438 h 540"/>
                    <a:gd name="T32" fmla="*/ 150 w 690"/>
                    <a:gd name="T33" fmla="*/ 438 h 540"/>
                    <a:gd name="T34" fmla="*/ 306 w 690"/>
                    <a:gd name="T35" fmla="*/ 420 h 540"/>
                    <a:gd name="T36" fmla="*/ 396 w 690"/>
                    <a:gd name="T37" fmla="*/ 384 h 540"/>
                    <a:gd name="T38" fmla="*/ 294 w 690"/>
                    <a:gd name="T39" fmla="*/ 336 h 540"/>
                    <a:gd name="T40" fmla="*/ 186 w 690"/>
                    <a:gd name="T41" fmla="*/ 324 h 540"/>
                    <a:gd name="T42" fmla="*/ 84 w 690"/>
                    <a:gd name="T43" fmla="*/ 330 h 540"/>
                    <a:gd name="T44" fmla="*/ 66 w 690"/>
                    <a:gd name="T45" fmla="*/ 306 h 540"/>
                    <a:gd name="T46" fmla="*/ 48 w 690"/>
                    <a:gd name="T47" fmla="*/ 264 h 540"/>
                    <a:gd name="T48" fmla="*/ 24 w 690"/>
                    <a:gd name="T49" fmla="*/ 240 h 540"/>
                    <a:gd name="T50" fmla="*/ 6 w 690"/>
                    <a:gd name="T51" fmla="*/ 222 h 540"/>
                    <a:gd name="T52" fmla="*/ 6 w 690"/>
                    <a:gd name="T53" fmla="*/ 198 h 540"/>
                    <a:gd name="T54" fmla="*/ 30 w 690"/>
                    <a:gd name="T55" fmla="*/ 174 h 540"/>
                    <a:gd name="T56" fmla="*/ 66 w 690"/>
                    <a:gd name="T57" fmla="*/ 156 h 540"/>
                    <a:gd name="T58" fmla="*/ 96 w 690"/>
                    <a:gd name="T59" fmla="*/ 132 h 540"/>
                    <a:gd name="T60" fmla="*/ 114 w 690"/>
                    <a:gd name="T61" fmla="*/ 96 h 540"/>
                    <a:gd name="T62" fmla="*/ 120 w 690"/>
                    <a:gd name="T63" fmla="*/ 66 h 540"/>
                    <a:gd name="T64" fmla="*/ 282 w 690"/>
                    <a:gd name="T65" fmla="*/ 0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90" h="540">
                      <a:moveTo>
                        <a:pt x="282" y="0"/>
                      </a:moveTo>
                      <a:lnTo>
                        <a:pt x="336" y="12"/>
                      </a:lnTo>
                      <a:lnTo>
                        <a:pt x="378" y="48"/>
                      </a:lnTo>
                      <a:lnTo>
                        <a:pt x="426" y="60"/>
                      </a:lnTo>
                      <a:lnTo>
                        <a:pt x="468" y="96"/>
                      </a:lnTo>
                      <a:lnTo>
                        <a:pt x="480" y="150"/>
                      </a:lnTo>
                      <a:lnTo>
                        <a:pt x="516" y="180"/>
                      </a:lnTo>
                      <a:lnTo>
                        <a:pt x="558" y="210"/>
                      </a:lnTo>
                      <a:lnTo>
                        <a:pt x="558" y="210"/>
                      </a:lnTo>
                      <a:lnTo>
                        <a:pt x="594" y="300"/>
                      </a:lnTo>
                      <a:lnTo>
                        <a:pt x="630" y="414"/>
                      </a:lnTo>
                      <a:lnTo>
                        <a:pt x="690" y="468"/>
                      </a:lnTo>
                      <a:lnTo>
                        <a:pt x="690" y="540"/>
                      </a:lnTo>
                      <a:lnTo>
                        <a:pt x="600" y="528"/>
                      </a:lnTo>
                      <a:lnTo>
                        <a:pt x="546" y="510"/>
                      </a:lnTo>
                      <a:lnTo>
                        <a:pt x="492" y="462"/>
                      </a:lnTo>
                      <a:lnTo>
                        <a:pt x="420" y="480"/>
                      </a:lnTo>
                      <a:lnTo>
                        <a:pt x="420" y="480"/>
                      </a:lnTo>
                      <a:lnTo>
                        <a:pt x="390" y="474"/>
                      </a:lnTo>
                      <a:lnTo>
                        <a:pt x="324" y="468"/>
                      </a:lnTo>
                      <a:lnTo>
                        <a:pt x="240" y="474"/>
                      </a:lnTo>
                      <a:lnTo>
                        <a:pt x="168" y="486"/>
                      </a:lnTo>
                      <a:lnTo>
                        <a:pt x="144" y="510"/>
                      </a:lnTo>
                      <a:lnTo>
                        <a:pt x="144" y="516"/>
                      </a:lnTo>
                      <a:lnTo>
                        <a:pt x="132" y="510"/>
                      </a:lnTo>
                      <a:lnTo>
                        <a:pt x="120" y="504"/>
                      </a:lnTo>
                      <a:lnTo>
                        <a:pt x="114" y="498"/>
                      </a:lnTo>
                      <a:lnTo>
                        <a:pt x="108" y="486"/>
                      </a:lnTo>
                      <a:lnTo>
                        <a:pt x="102" y="474"/>
                      </a:lnTo>
                      <a:lnTo>
                        <a:pt x="96" y="462"/>
                      </a:lnTo>
                      <a:lnTo>
                        <a:pt x="90" y="450"/>
                      </a:lnTo>
                      <a:lnTo>
                        <a:pt x="78" y="438"/>
                      </a:lnTo>
                      <a:lnTo>
                        <a:pt x="84" y="438"/>
                      </a:lnTo>
                      <a:lnTo>
                        <a:pt x="150" y="438"/>
                      </a:lnTo>
                      <a:lnTo>
                        <a:pt x="216" y="420"/>
                      </a:lnTo>
                      <a:lnTo>
                        <a:pt x="306" y="420"/>
                      </a:lnTo>
                      <a:lnTo>
                        <a:pt x="366" y="414"/>
                      </a:lnTo>
                      <a:lnTo>
                        <a:pt x="396" y="384"/>
                      </a:lnTo>
                      <a:lnTo>
                        <a:pt x="366" y="354"/>
                      </a:lnTo>
                      <a:lnTo>
                        <a:pt x="294" y="336"/>
                      </a:lnTo>
                      <a:lnTo>
                        <a:pt x="228" y="330"/>
                      </a:lnTo>
                      <a:lnTo>
                        <a:pt x="186" y="324"/>
                      </a:lnTo>
                      <a:lnTo>
                        <a:pt x="132" y="324"/>
                      </a:lnTo>
                      <a:lnTo>
                        <a:pt x="84" y="330"/>
                      </a:lnTo>
                      <a:lnTo>
                        <a:pt x="84" y="330"/>
                      </a:lnTo>
                      <a:lnTo>
                        <a:pt x="66" y="306"/>
                      </a:lnTo>
                      <a:lnTo>
                        <a:pt x="54" y="276"/>
                      </a:lnTo>
                      <a:lnTo>
                        <a:pt x="48" y="264"/>
                      </a:lnTo>
                      <a:lnTo>
                        <a:pt x="36" y="252"/>
                      </a:lnTo>
                      <a:lnTo>
                        <a:pt x="24" y="240"/>
                      </a:lnTo>
                      <a:lnTo>
                        <a:pt x="12" y="234"/>
                      </a:lnTo>
                      <a:lnTo>
                        <a:pt x="6" y="222"/>
                      </a:lnTo>
                      <a:lnTo>
                        <a:pt x="0" y="204"/>
                      </a:lnTo>
                      <a:lnTo>
                        <a:pt x="6" y="198"/>
                      </a:lnTo>
                      <a:lnTo>
                        <a:pt x="12" y="186"/>
                      </a:lnTo>
                      <a:lnTo>
                        <a:pt x="30" y="174"/>
                      </a:lnTo>
                      <a:lnTo>
                        <a:pt x="48" y="168"/>
                      </a:lnTo>
                      <a:lnTo>
                        <a:pt x="66" y="156"/>
                      </a:lnTo>
                      <a:lnTo>
                        <a:pt x="84" y="144"/>
                      </a:lnTo>
                      <a:lnTo>
                        <a:pt x="96" y="132"/>
                      </a:lnTo>
                      <a:lnTo>
                        <a:pt x="108" y="114"/>
                      </a:lnTo>
                      <a:lnTo>
                        <a:pt x="114" y="96"/>
                      </a:lnTo>
                      <a:lnTo>
                        <a:pt x="114" y="84"/>
                      </a:lnTo>
                      <a:lnTo>
                        <a:pt x="120" y="66"/>
                      </a:lnTo>
                      <a:lnTo>
                        <a:pt x="204" y="12"/>
                      </a:lnTo>
                      <a:lnTo>
                        <a:pt x="28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1" name="Freeform 192">
                  <a:extLst>
                    <a:ext uri="{FF2B5EF4-FFF2-40B4-BE49-F238E27FC236}">
                      <a16:creationId xmlns:a16="http://schemas.microsoft.com/office/drawing/2014/main" id="{D10C36A2-99D0-4F0C-8B78-3FBA79B1E1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55" y="2400"/>
                  <a:ext cx="336" cy="348"/>
                </a:xfrm>
                <a:custGeom>
                  <a:avLst/>
                  <a:gdLst>
                    <a:gd name="T0" fmla="*/ 222 w 336"/>
                    <a:gd name="T1" fmla="*/ 0 h 348"/>
                    <a:gd name="T2" fmla="*/ 264 w 336"/>
                    <a:gd name="T3" fmla="*/ 24 h 348"/>
                    <a:gd name="T4" fmla="*/ 288 w 336"/>
                    <a:gd name="T5" fmla="*/ 78 h 348"/>
                    <a:gd name="T6" fmla="*/ 306 w 336"/>
                    <a:gd name="T7" fmla="*/ 162 h 348"/>
                    <a:gd name="T8" fmla="*/ 336 w 336"/>
                    <a:gd name="T9" fmla="*/ 204 h 348"/>
                    <a:gd name="T10" fmla="*/ 324 w 336"/>
                    <a:gd name="T11" fmla="*/ 258 h 348"/>
                    <a:gd name="T12" fmla="*/ 288 w 336"/>
                    <a:gd name="T13" fmla="*/ 294 h 348"/>
                    <a:gd name="T14" fmla="*/ 210 w 336"/>
                    <a:gd name="T15" fmla="*/ 348 h 348"/>
                    <a:gd name="T16" fmla="*/ 210 w 336"/>
                    <a:gd name="T17" fmla="*/ 348 h 348"/>
                    <a:gd name="T18" fmla="*/ 204 w 336"/>
                    <a:gd name="T19" fmla="*/ 342 h 348"/>
                    <a:gd name="T20" fmla="*/ 204 w 336"/>
                    <a:gd name="T21" fmla="*/ 330 h 348"/>
                    <a:gd name="T22" fmla="*/ 204 w 336"/>
                    <a:gd name="T23" fmla="*/ 318 h 348"/>
                    <a:gd name="T24" fmla="*/ 210 w 336"/>
                    <a:gd name="T25" fmla="*/ 306 h 348"/>
                    <a:gd name="T26" fmla="*/ 204 w 336"/>
                    <a:gd name="T27" fmla="*/ 300 h 348"/>
                    <a:gd name="T28" fmla="*/ 198 w 336"/>
                    <a:gd name="T29" fmla="*/ 300 h 348"/>
                    <a:gd name="T30" fmla="*/ 192 w 336"/>
                    <a:gd name="T31" fmla="*/ 300 h 348"/>
                    <a:gd name="T32" fmla="*/ 180 w 336"/>
                    <a:gd name="T33" fmla="*/ 300 h 348"/>
                    <a:gd name="T34" fmla="*/ 168 w 336"/>
                    <a:gd name="T35" fmla="*/ 306 h 348"/>
                    <a:gd name="T36" fmla="*/ 156 w 336"/>
                    <a:gd name="T37" fmla="*/ 306 h 348"/>
                    <a:gd name="T38" fmla="*/ 138 w 336"/>
                    <a:gd name="T39" fmla="*/ 306 h 348"/>
                    <a:gd name="T40" fmla="*/ 126 w 336"/>
                    <a:gd name="T41" fmla="*/ 312 h 348"/>
                    <a:gd name="T42" fmla="*/ 114 w 336"/>
                    <a:gd name="T43" fmla="*/ 312 h 348"/>
                    <a:gd name="T44" fmla="*/ 108 w 336"/>
                    <a:gd name="T45" fmla="*/ 306 h 348"/>
                    <a:gd name="T46" fmla="*/ 102 w 336"/>
                    <a:gd name="T47" fmla="*/ 300 h 348"/>
                    <a:gd name="T48" fmla="*/ 90 w 336"/>
                    <a:gd name="T49" fmla="*/ 294 h 348"/>
                    <a:gd name="T50" fmla="*/ 84 w 336"/>
                    <a:gd name="T51" fmla="*/ 276 h 348"/>
                    <a:gd name="T52" fmla="*/ 78 w 336"/>
                    <a:gd name="T53" fmla="*/ 252 h 348"/>
                    <a:gd name="T54" fmla="*/ 60 w 336"/>
                    <a:gd name="T55" fmla="*/ 216 h 348"/>
                    <a:gd name="T56" fmla="*/ 30 w 336"/>
                    <a:gd name="T57" fmla="*/ 174 h 348"/>
                    <a:gd name="T58" fmla="*/ 0 w 336"/>
                    <a:gd name="T59" fmla="*/ 126 h 348"/>
                    <a:gd name="T60" fmla="*/ 0 w 336"/>
                    <a:gd name="T61" fmla="*/ 126 h 348"/>
                    <a:gd name="T62" fmla="*/ 48 w 336"/>
                    <a:gd name="T63" fmla="*/ 84 h 348"/>
                    <a:gd name="T64" fmla="*/ 90 w 336"/>
                    <a:gd name="T65" fmla="*/ 42 h 348"/>
                    <a:gd name="T66" fmla="*/ 144 w 336"/>
                    <a:gd name="T67" fmla="*/ 12 h 348"/>
                    <a:gd name="T68" fmla="*/ 222 w 336"/>
                    <a:gd name="T69" fmla="*/ 0 h 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36" h="348">
                      <a:moveTo>
                        <a:pt x="222" y="0"/>
                      </a:moveTo>
                      <a:lnTo>
                        <a:pt x="264" y="24"/>
                      </a:lnTo>
                      <a:lnTo>
                        <a:pt x="288" y="78"/>
                      </a:lnTo>
                      <a:lnTo>
                        <a:pt x="306" y="162"/>
                      </a:lnTo>
                      <a:lnTo>
                        <a:pt x="336" y="204"/>
                      </a:lnTo>
                      <a:lnTo>
                        <a:pt x="324" y="258"/>
                      </a:lnTo>
                      <a:lnTo>
                        <a:pt x="288" y="294"/>
                      </a:lnTo>
                      <a:lnTo>
                        <a:pt x="210" y="348"/>
                      </a:lnTo>
                      <a:lnTo>
                        <a:pt x="210" y="348"/>
                      </a:lnTo>
                      <a:lnTo>
                        <a:pt x="204" y="342"/>
                      </a:lnTo>
                      <a:lnTo>
                        <a:pt x="204" y="330"/>
                      </a:lnTo>
                      <a:lnTo>
                        <a:pt x="204" y="318"/>
                      </a:lnTo>
                      <a:lnTo>
                        <a:pt x="210" y="306"/>
                      </a:lnTo>
                      <a:lnTo>
                        <a:pt x="204" y="300"/>
                      </a:lnTo>
                      <a:lnTo>
                        <a:pt x="198" y="300"/>
                      </a:lnTo>
                      <a:lnTo>
                        <a:pt x="192" y="300"/>
                      </a:lnTo>
                      <a:lnTo>
                        <a:pt x="180" y="300"/>
                      </a:lnTo>
                      <a:lnTo>
                        <a:pt x="168" y="306"/>
                      </a:lnTo>
                      <a:lnTo>
                        <a:pt x="156" y="306"/>
                      </a:lnTo>
                      <a:lnTo>
                        <a:pt x="138" y="306"/>
                      </a:lnTo>
                      <a:lnTo>
                        <a:pt x="126" y="312"/>
                      </a:lnTo>
                      <a:lnTo>
                        <a:pt x="114" y="312"/>
                      </a:lnTo>
                      <a:lnTo>
                        <a:pt x="108" y="306"/>
                      </a:lnTo>
                      <a:lnTo>
                        <a:pt x="102" y="300"/>
                      </a:lnTo>
                      <a:lnTo>
                        <a:pt x="90" y="294"/>
                      </a:lnTo>
                      <a:lnTo>
                        <a:pt x="84" y="276"/>
                      </a:lnTo>
                      <a:lnTo>
                        <a:pt x="78" y="252"/>
                      </a:lnTo>
                      <a:lnTo>
                        <a:pt x="60" y="216"/>
                      </a:lnTo>
                      <a:lnTo>
                        <a:pt x="30" y="174"/>
                      </a:lnTo>
                      <a:lnTo>
                        <a:pt x="0" y="126"/>
                      </a:lnTo>
                      <a:lnTo>
                        <a:pt x="0" y="126"/>
                      </a:lnTo>
                      <a:lnTo>
                        <a:pt x="48" y="84"/>
                      </a:lnTo>
                      <a:lnTo>
                        <a:pt x="90" y="42"/>
                      </a:lnTo>
                      <a:lnTo>
                        <a:pt x="144" y="12"/>
                      </a:lnTo>
                      <a:lnTo>
                        <a:pt x="22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2" name="Freeform 193">
                  <a:extLst>
                    <a:ext uri="{FF2B5EF4-FFF2-40B4-BE49-F238E27FC236}">
                      <a16:creationId xmlns:a16="http://schemas.microsoft.com/office/drawing/2014/main" id="{B178F511-C2B3-43A0-AAEE-670E583B95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59" y="2082"/>
                  <a:ext cx="816" cy="600"/>
                </a:xfrm>
                <a:custGeom>
                  <a:avLst/>
                  <a:gdLst>
                    <a:gd name="T0" fmla="*/ 246 w 816"/>
                    <a:gd name="T1" fmla="*/ 0 h 600"/>
                    <a:gd name="T2" fmla="*/ 300 w 816"/>
                    <a:gd name="T3" fmla="*/ 48 h 600"/>
                    <a:gd name="T4" fmla="*/ 354 w 816"/>
                    <a:gd name="T5" fmla="*/ 66 h 600"/>
                    <a:gd name="T6" fmla="*/ 444 w 816"/>
                    <a:gd name="T7" fmla="*/ 78 h 600"/>
                    <a:gd name="T8" fmla="*/ 444 w 816"/>
                    <a:gd name="T9" fmla="*/ 78 h 600"/>
                    <a:gd name="T10" fmla="*/ 498 w 816"/>
                    <a:gd name="T11" fmla="*/ 114 h 600"/>
                    <a:gd name="T12" fmla="*/ 612 w 816"/>
                    <a:gd name="T13" fmla="*/ 78 h 600"/>
                    <a:gd name="T14" fmla="*/ 696 w 816"/>
                    <a:gd name="T15" fmla="*/ 60 h 600"/>
                    <a:gd name="T16" fmla="*/ 738 w 816"/>
                    <a:gd name="T17" fmla="*/ 162 h 600"/>
                    <a:gd name="T18" fmla="*/ 786 w 816"/>
                    <a:gd name="T19" fmla="*/ 276 h 600"/>
                    <a:gd name="T20" fmla="*/ 804 w 816"/>
                    <a:gd name="T21" fmla="*/ 372 h 600"/>
                    <a:gd name="T22" fmla="*/ 816 w 816"/>
                    <a:gd name="T23" fmla="*/ 444 h 600"/>
                    <a:gd name="T24" fmla="*/ 780 w 816"/>
                    <a:gd name="T25" fmla="*/ 540 h 600"/>
                    <a:gd name="T26" fmla="*/ 738 w 816"/>
                    <a:gd name="T27" fmla="*/ 600 h 600"/>
                    <a:gd name="T28" fmla="*/ 666 w 816"/>
                    <a:gd name="T29" fmla="*/ 588 h 600"/>
                    <a:gd name="T30" fmla="*/ 642 w 816"/>
                    <a:gd name="T31" fmla="*/ 528 h 600"/>
                    <a:gd name="T32" fmla="*/ 612 w 816"/>
                    <a:gd name="T33" fmla="*/ 498 h 600"/>
                    <a:gd name="T34" fmla="*/ 540 w 816"/>
                    <a:gd name="T35" fmla="*/ 522 h 600"/>
                    <a:gd name="T36" fmla="*/ 510 w 816"/>
                    <a:gd name="T37" fmla="*/ 480 h 600"/>
                    <a:gd name="T38" fmla="*/ 492 w 816"/>
                    <a:gd name="T39" fmla="*/ 396 h 600"/>
                    <a:gd name="T40" fmla="*/ 468 w 816"/>
                    <a:gd name="T41" fmla="*/ 342 h 600"/>
                    <a:gd name="T42" fmla="*/ 426 w 816"/>
                    <a:gd name="T43" fmla="*/ 318 h 600"/>
                    <a:gd name="T44" fmla="*/ 348 w 816"/>
                    <a:gd name="T45" fmla="*/ 330 h 600"/>
                    <a:gd name="T46" fmla="*/ 294 w 816"/>
                    <a:gd name="T47" fmla="*/ 360 h 600"/>
                    <a:gd name="T48" fmla="*/ 252 w 816"/>
                    <a:gd name="T49" fmla="*/ 402 h 600"/>
                    <a:gd name="T50" fmla="*/ 204 w 816"/>
                    <a:gd name="T51" fmla="*/ 444 h 600"/>
                    <a:gd name="T52" fmla="*/ 204 w 816"/>
                    <a:gd name="T53" fmla="*/ 444 h 600"/>
                    <a:gd name="T54" fmla="*/ 162 w 816"/>
                    <a:gd name="T55" fmla="*/ 384 h 600"/>
                    <a:gd name="T56" fmla="*/ 138 w 816"/>
                    <a:gd name="T57" fmla="*/ 336 h 600"/>
                    <a:gd name="T58" fmla="*/ 102 w 816"/>
                    <a:gd name="T59" fmla="*/ 282 h 600"/>
                    <a:gd name="T60" fmla="*/ 66 w 816"/>
                    <a:gd name="T61" fmla="*/ 240 h 600"/>
                    <a:gd name="T62" fmla="*/ 30 w 816"/>
                    <a:gd name="T63" fmla="*/ 216 h 600"/>
                    <a:gd name="T64" fmla="*/ 12 w 816"/>
                    <a:gd name="T65" fmla="*/ 210 h 600"/>
                    <a:gd name="T66" fmla="*/ 0 w 816"/>
                    <a:gd name="T67" fmla="*/ 198 h 600"/>
                    <a:gd name="T68" fmla="*/ 0 w 816"/>
                    <a:gd name="T69" fmla="*/ 186 h 600"/>
                    <a:gd name="T70" fmla="*/ 0 w 816"/>
                    <a:gd name="T71" fmla="*/ 168 h 600"/>
                    <a:gd name="T72" fmla="*/ 6 w 816"/>
                    <a:gd name="T73" fmla="*/ 150 h 600"/>
                    <a:gd name="T74" fmla="*/ 30 w 816"/>
                    <a:gd name="T75" fmla="*/ 150 h 600"/>
                    <a:gd name="T76" fmla="*/ 72 w 816"/>
                    <a:gd name="T77" fmla="*/ 144 h 600"/>
                    <a:gd name="T78" fmla="*/ 114 w 816"/>
                    <a:gd name="T79" fmla="*/ 132 h 600"/>
                    <a:gd name="T80" fmla="*/ 144 w 816"/>
                    <a:gd name="T81" fmla="*/ 96 h 600"/>
                    <a:gd name="T82" fmla="*/ 168 w 816"/>
                    <a:gd name="T83" fmla="*/ 54 h 600"/>
                    <a:gd name="T84" fmla="*/ 174 w 816"/>
                    <a:gd name="T85" fmla="*/ 18 h 600"/>
                    <a:gd name="T86" fmla="*/ 174 w 816"/>
                    <a:gd name="T87" fmla="*/ 18 h 600"/>
                    <a:gd name="T88" fmla="*/ 246 w 816"/>
                    <a:gd name="T89" fmla="*/ 0 h 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816" h="600">
                      <a:moveTo>
                        <a:pt x="246" y="0"/>
                      </a:moveTo>
                      <a:lnTo>
                        <a:pt x="300" y="48"/>
                      </a:lnTo>
                      <a:lnTo>
                        <a:pt x="354" y="66"/>
                      </a:lnTo>
                      <a:lnTo>
                        <a:pt x="444" y="78"/>
                      </a:lnTo>
                      <a:lnTo>
                        <a:pt x="444" y="78"/>
                      </a:lnTo>
                      <a:lnTo>
                        <a:pt x="498" y="114"/>
                      </a:lnTo>
                      <a:lnTo>
                        <a:pt x="612" y="78"/>
                      </a:lnTo>
                      <a:lnTo>
                        <a:pt x="696" y="60"/>
                      </a:lnTo>
                      <a:lnTo>
                        <a:pt x="738" y="162"/>
                      </a:lnTo>
                      <a:lnTo>
                        <a:pt x="786" y="276"/>
                      </a:lnTo>
                      <a:lnTo>
                        <a:pt x="804" y="372"/>
                      </a:lnTo>
                      <a:lnTo>
                        <a:pt x="816" y="444"/>
                      </a:lnTo>
                      <a:lnTo>
                        <a:pt x="780" y="540"/>
                      </a:lnTo>
                      <a:lnTo>
                        <a:pt x="738" y="600"/>
                      </a:lnTo>
                      <a:lnTo>
                        <a:pt x="666" y="588"/>
                      </a:lnTo>
                      <a:lnTo>
                        <a:pt x="642" y="528"/>
                      </a:lnTo>
                      <a:lnTo>
                        <a:pt x="612" y="498"/>
                      </a:lnTo>
                      <a:lnTo>
                        <a:pt x="540" y="522"/>
                      </a:lnTo>
                      <a:lnTo>
                        <a:pt x="510" y="480"/>
                      </a:lnTo>
                      <a:lnTo>
                        <a:pt x="492" y="396"/>
                      </a:lnTo>
                      <a:lnTo>
                        <a:pt x="468" y="342"/>
                      </a:lnTo>
                      <a:lnTo>
                        <a:pt x="426" y="318"/>
                      </a:lnTo>
                      <a:lnTo>
                        <a:pt x="348" y="330"/>
                      </a:lnTo>
                      <a:lnTo>
                        <a:pt x="294" y="360"/>
                      </a:lnTo>
                      <a:lnTo>
                        <a:pt x="252" y="402"/>
                      </a:lnTo>
                      <a:lnTo>
                        <a:pt x="204" y="444"/>
                      </a:lnTo>
                      <a:lnTo>
                        <a:pt x="204" y="444"/>
                      </a:lnTo>
                      <a:lnTo>
                        <a:pt x="162" y="384"/>
                      </a:lnTo>
                      <a:lnTo>
                        <a:pt x="138" y="336"/>
                      </a:lnTo>
                      <a:lnTo>
                        <a:pt x="102" y="282"/>
                      </a:lnTo>
                      <a:lnTo>
                        <a:pt x="66" y="240"/>
                      </a:lnTo>
                      <a:lnTo>
                        <a:pt x="30" y="216"/>
                      </a:lnTo>
                      <a:lnTo>
                        <a:pt x="12" y="210"/>
                      </a:lnTo>
                      <a:lnTo>
                        <a:pt x="0" y="198"/>
                      </a:lnTo>
                      <a:lnTo>
                        <a:pt x="0" y="186"/>
                      </a:lnTo>
                      <a:lnTo>
                        <a:pt x="0" y="168"/>
                      </a:lnTo>
                      <a:lnTo>
                        <a:pt x="6" y="150"/>
                      </a:lnTo>
                      <a:lnTo>
                        <a:pt x="30" y="150"/>
                      </a:lnTo>
                      <a:lnTo>
                        <a:pt x="72" y="144"/>
                      </a:lnTo>
                      <a:lnTo>
                        <a:pt x="114" y="132"/>
                      </a:lnTo>
                      <a:lnTo>
                        <a:pt x="144" y="96"/>
                      </a:lnTo>
                      <a:lnTo>
                        <a:pt x="168" y="54"/>
                      </a:lnTo>
                      <a:lnTo>
                        <a:pt x="174" y="18"/>
                      </a:lnTo>
                      <a:lnTo>
                        <a:pt x="174" y="18"/>
                      </a:lnTo>
                      <a:lnTo>
                        <a:pt x="24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3" name="Freeform 194">
                  <a:extLst>
                    <a:ext uri="{FF2B5EF4-FFF2-40B4-BE49-F238E27FC236}">
                      <a16:creationId xmlns:a16="http://schemas.microsoft.com/office/drawing/2014/main" id="{E3918FBE-245D-4F9D-8623-9F51034A9D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7" y="2274"/>
                  <a:ext cx="132" cy="594"/>
                </a:xfrm>
                <a:custGeom>
                  <a:avLst/>
                  <a:gdLst>
                    <a:gd name="T0" fmla="*/ 6 w 132"/>
                    <a:gd name="T1" fmla="*/ 24 h 594"/>
                    <a:gd name="T2" fmla="*/ 6 w 132"/>
                    <a:gd name="T3" fmla="*/ 24 h 594"/>
                    <a:gd name="T4" fmla="*/ 0 w 132"/>
                    <a:gd name="T5" fmla="*/ 24 h 594"/>
                    <a:gd name="T6" fmla="*/ 6 w 132"/>
                    <a:gd name="T7" fmla="*/ 24 h 594"/>
                    <a:gd name="T8" fmla="*/ 48 w 132"/>
                    <a:gd name="T9" fmla="*/ 0 h 594"/>
                    <a:gd name="T10" fmla="*/ 48 w 132"/>
                    <a:gd name="T11" fmla="*/ 6 h 594"/>
                    <a:gd name="T12" fmla="*/ 102 w 132"/>
                    <a:gd name="T13" fmla="*/ 72 h 594"/>
                    <a:gd name="T14" fmla="*/ 102 w 132"/>
                    <a:gd name="T15" fmla="*/ 126 h 594"/>
                    <a:gd name="T16" fmla="*/ 132 w 132"/>
                    <a:gd name="T17" fmla="*/ 144 h 594"/>
                    <a:gd name="T18" fmla="*/ 132 w 132"/>
                    <a:gd name="T19" fmla="*/ 228 h 594"/>
                    <a:gd name="T20" fmla="*/ 108 w 132"/>
                    <a:gd name="T21" fmla="*/ 294 h 594"/>
                    <a:gd name="T22" fmla="*/ 132 w 132"/>
                    <a:gd name="T23" fmla="*/ 372 h 594"/>
                    <a:gd name="T24" fmla="*/ 132 w 132"/>
                    <a:gd name="T25" fmla="*/ 570 h 594"/>
                    <a:gd name="T26" fmla="*/ 126 w 132"/>
                    <a:gd name="T27" fmla="*/ 570 h 594"/>
                    <a:gd name="T28" fmla="*/ 96 w 132"/>
                    <a:gd name="T29" fmla="*/ 582 h 594"/>
                    <a:gd name="T30" fmla="*/ 66 w 132"/>
                    <a:gd name="T31" fmla="*/ 588 h 594"/>
                    <a:gd name="T32" fmla="*/ 42 w 132"/>
                    <a:gd name="T33" fmla="*/ 594 h 594"/>
                    <a:gd name="T34" fmla="*/ 30 w 132"/>
                    <a:gd name="T35" fmla="*/ 564 h 594"/>
                    <a:gd name="T36" fmla="*/ 30 w 132"/>
                    <a:gd name="T37" fmla="*/ 438 h 594"/>
                    <a:gd name="T38" fmla="*/ 18 w 132"/>
                    <a:gd name="T39" fmla="*/ 378 h 594"/>
                    <a:gd name="T40" fmla="*/ 18 w 132"/>
                    <a:gd name="T41" fmla="*/ 246 h 594"/>
                    <a:gd name="T42" fmla="*/ 6 w 132"/>
                    <a:gd name="T43" fmla="*/ 168 h 594"/>
                    <a:gd name="T44" fmla="*/ 6 w 132"/>
                    <a:gd name="T45" fmla="*/ 24 h 594"/>
                    <a:gd name="T46" fmla="*/ 30 w 132"/>
                    <a:gd name="T47" fmla="*/ 12 h 594"/>
                    <a:gd name="T48" fmla="*/ 48 w 132"/>
                    <a:gd name="T49" fmla="*/ 0 h 5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2" h="594">
                      <a:moveTo>
                        <a:pt x="6" y="24"/>
                      </a:moveTo>
                      <a:lnTo>
                        <a:pt x="6" y="24"/>
                      </a:lnTo>
                      <a:lnTo>
                        <a:pt x="0" y="24"/>
                      </a:lnTo>
                      <a:lnTo>
                        <a:pt x="6" y="24"/>
                      </a:lnTo>
                      <a:close/>
                      <a:moveTo>
                        <a:pt x="48" y="0"/>
                      </a:moveTo>
                      <a:lnTo>
                        <a:pt x="48" y="6"/>
                      </a:lnTo>
                      <a:lnTo>
                        <a:pt x="102" y="72"/>
                      </a:lnTo>
                      <a:lnTo>
                        <a:pt x="102" y="126"/>
                      </a:lnTo>
                      <a:lnTo>
                        <a:pt x="132" y="144"/>
                      </a:lnTo>
                      <a:lnTo>
                        <a:pt x="132" y="228"/>
                      </a:lnTo>
                      <a:lnTo>
                        <a:pt x="108" y="294"/>
                      </a:lnTo>
                      <a:lnTo>
                        <a:pt x="132" y="372"/>
                      </a:lnTo>
                      <a:lnTo>
                        <a:pt x="132" y="570"/>
                      </a:lnTo>
                      <a:lnTo>
                        <a:pt x="126" y="570"/>
                      </a:lnTo>
                      <a:lnTo>
                        <a:pt x="96" y="582"/>
                      </a:lnTo>
                      <a:lnTo>
                        <a:pt x="66" y="588"/>
                      </a:lnTo>
                      <a:lnTo>
                        <a:pt x="42" y="594"/>
                      </a:lnTo>
                      <a:lnTo>
                        <a:pt x="30" y="564"/>
                      </a:lnTo>
                      <a:lnTo>
                        <a:pt x="30" y="438"/>
                      </a:lnTo>
                      <a:lnTo>
                        <a:pt x="18" y="378"/>
                      </a:lnTo>
                      <a:lnTo>
                        <a:pt x="18" y="246"/>
                      </a:lnTo>
                      <a:lnTo>
                        <a:pt x="6" y="168"/>
                      </a:lnTo>
                      <a:lnTo>
                        <a:pt x="6" y="24"/>
                      </a:lnTo>
                      <a:lnTo>
                        <a:pt x="30" y="12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4" name="Freeform 195">
                  <a:extLst>
                    <a:ext uri="{FF2B5EF4-FFF2-40B4-BE49-F238E27FC236}">
                      <a16:creationId xmlns:a16="http://schemas.microsoft.com/office/drawing/2014/main" id="{69BBB277-E40B-449F-97F8-6A001FB189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47" y="654"/>
                  <a:ext cx="1866" cy="1734"/>
                </a:xfrm>
                <a:custGeom>
                  <a:avLst/>
                  <a:gdLst>
                    <a:gd name="T0" fmla="*/ 858 w 1866"/>
                    <a:gd name="T1" fmla="*/ 0 h 1734"/>
                    <a:gd name="T2" fmla="*/ 1518 w 1866"/>
                    <a:gd name="T3" fmla="*/ 468 h 1734"/>
                    <a:gd name="T4" fmla="*/ 1542 w 1866"/>
                    <a:gd name="T5" fmla="*/ 522 h 1734"/>
                    <a:gd name="T6" fmla="*/ 1662 w 1866"/>
                    <a:gd name="T7" fmla="*/ 546 h 1734"/>
                    <a:gd name="T8" fmla="*/ 1746 w 1866"/>
                    <a:gd name="T9" fmla="*/ 624 h 1734"/>
                    <a:gd name="T10" fmla="*/ 1746 w 1866"/>
                    <a:gd name="T11" fmla="*/ 678 h 1734"/>
                    <a:gd name="T12" fmla="*/ 1806 w 1866"/>
                    <a:gd name="T13" fmla="*/ 678 h 1734"/>
                    <a:gd name="T14" fmla="*/ 1866 w 1866"/>
                    <a:gd name="T15" fmla="*/ 690 h 1734"/>
                    <a:gd name="T16" fmla="*/ 1860 w 1866"/>
                    <a:gd name="T17" fmla="*/ 786 h 1734"/>
                    <a:gd name="T18" fmla="*/ 1860 w 1866"/>
                    <a:gd name="T19" fmla="*/ 894 h 1734"/>
                    <a:gd name="T20" fmla="*/ 1848 w 1866"/>
                    <a:gd name="T21" fmla="*/ 996 h 1734"/>
                    <a:gd name="T22" fmla="*/ 1812 w 1866"/>
                    <a:gd name="T23" fmla="*/ 1110 h 1734"/>
                    <a:gd name="T24" fmla="*/ 1692 w 1866"/>
                    <a:gd name="T25" fmla="*/ 1110 h 1734"/>
                    <a:gd name="T26" fmla="*/ 1614 w 1866"/>
                    <a:gd name="T27" fmla="*/ 1134 h 1734"/>
                    <a:gd name="T28" fmla="*/ 1548 w 1866"/>
                    <a:gd name="T29" fmla="*/ 1122 h 1734"/>
                    <a:gd name="T30" fmla="*/ 1506 w 1866"/>
                    <a:gd name="T31" fmla="*/ 1146 h 1734"/>
                    <a:gd name="T32" fmla="*/ 1422 w 1866"/>
                    <a:gd name="T33" fmla="*/ 1176 h 1734"/>
                    <a:gd name="T34" fmla="*/ 1350 w 1866"/>
                    <a:gd name="T35" fmla="*/ 1158 h 1734"/>
                    <a:gd name="T36" fmla="*/ 1272 w 1866"/>
                    <a:gd name="T37" fmla="*/ 1176 h 1734"/>
                    <a:gd name="T38" fmla="*/ 1206 w 1866"/>
                    <a:gd name="T39" fmla="*/ 1212 h 1734"/>
                    <a:gd name="T40" fmla="*/ 1140 w 1866"/>
                    <a:gd name="T41" fmla="*/ 1242 h 1734"/>
                    <a:gd name="T42" fmla="*/ 1104 w 1866"/>
                    <a:gd name="T43" fmla="*/ 1296 h 1734"/>
                    <a:gd name="T44" fmla="*/ 1038 w 1866"/>
                    <a:gd name="T45" fmla="*/ 1314 h 1734"/>
                    <a:gd name="T46" fmla="*/ 978 w 1866"/>
                    <a:gd name="T47" fmla="*/ 1380 h 1734"/>
                    <a:gd name="T48" fmla="*/ 894 w 1866"/>
                    <a:gd name="T49" fmla="*/ 1392 h 1734"/>
                    <a:gd name="T50" fmla="*/ 870 w 1866"/>
                    <a:gd name="T51" fmla="*/ 1470 h 1734"/>
                    <a:gd name="T52" fmla="*/ 834 w 1866"/>
                    <a:gd name="T53" fmla="*/ 1488 h 1734"/>
                    <a:gd name="T54" fmla="*/ 828 w 1866"/>
                    <a:gd name="T55" fmla="*/ 1536 h 1734"/>
                    <a:gd name="T56" fmla="*/ 780 w 1866"/>
                    <a:gd name="T57" fmla="*/ 1608 h 1734"/>
                    <a:gd name="T58" fmla="*/ 762 w 1866"/>
                    <a:gd name="T59" fmla="*/ 1716 h 1734"/>
                    <a:gd name="T60" fmla="*/ 654 w 1866"/>
                    <a:gd name="T61" fmla="*/ 1734 h 1734"/>
                    <a:gd name="T62" fmla="*/ 612 w 1866"/>
                    <a:gd name="T63" fmla="*/ 1704 h 1734"/>
                    <a:gd name="T64" fmla="*/ 474 w 1866"/>
                    <a:gd name="T65" fmla="*/ 1704 h 1734"/>
                    <a:gd name="T66" fmla="*/ 474 w 1866"/>
                    <a:gd name="T67" fmla="*/ 1704 h 1734"/>
                    <a:gd name="T68" fmla="*/ 426 w 1866"/>
                    <a:gd name="T69" fmla="*/ 1590 h 1734"/>
                    <a:gd name="T70" fmla="*/ 384 w 1866"/>
                    <a:gd name="T71" fmla="*/ 1488 h 1734"/>
                    <a:gd name="T72" fmla="*/ 300 w 1866"/>
                    <a:gd name="T73" fmla="*/ 1506 h 1734"/>
                    <a:gd name="T74" fmla="*/ 186 w 1866"/>
                    <a:gd name="T75" fmla="*/ 1542 h 1734"/>
                    <a:gd name="T76" fmla="*/ 132 w 1866"/>
                    <a:gd name="T77" fmla="*/ 1506 h 1734"/>
                    <a:gd name="T78" fmla="*/ 132 w 1866"/>
                    <a:gd name="T79" fmla="*/ 1434 h 1734"/>
                    <a:gd name="T80" fmla="*/ 72 w 1866"/>
                    <a:gd name="T81" fmla="*/ 1380 h 1734"/>
                    <a:gd name="T82" fmla="*/ 36 w 1866"/>
                    <a:gd name="T83" fmla="*/ 1266 h 1734"/>
                    <a:gd name="T84" fmla="*/ 0 w 1866"/>
                    <a:gd name="T85" fmla="*/ 1176 h 1734"/>
                    <a:gd name="T86" fmla="*/ 0 w 1866"/>
                    <a:gd name="T87" fmla="*/ 1176 h 1734"/>
                    <a:gd name="T88" fmla="*/ 30 w 1866"/>
                    <a:gd name="T89" fmla="*/ 1146 h 1734"/>
                    <a:gd name="T90" fmla="*/ 96 w 1866"/>
                    <a:gd name="T91" fmla="*/ 1110 h 1734"/>
                    <a:gd name="T92" fmla="*/ 162 w 1866"/>
                    <a:gd name="T93" fmla="*/ 1134 h 1734"/>
                    <a:gd name="T94" fmla="*/ 282 w 1866"/>
                    <a:gd name="T95" fmla="*/ 1122 h 1734"/>
                    <a:gd name="T96" fmla="*/ 336 w 1866"/>
                    <a:gd name="T97" fmla="*/ 1110 h 1734"/>
                    <a:gd name="T98" fmla="*/ 756 w 1866"/>
                    <a:gd name="T99" fmla="*/ 1110 h 1734"/>
                    <a:gd name="T100" fmla="*/ 798 w 1866"/>
                    <a:gd name="T101" fmla="*/ 1080 h 1734"/>
                    <a:gd name="T102" fmla="*/ 798 w 1866"/>
                    <a:gd name="T103" fmla="*/ 1038 h 1734"/>
                    <a:gd name="T104" fmla="*/ 768 w 1866"/>
                    <a:gd name="T105" fmla="*/ 978 h 1734"/>
                    <a:gd name="T106" fmla="*/ 750 w 1866"/>
                    <a:gd name="T107" fmla="*/ 882 h 1734"/>
                    <a:gd name="T108" fmla="*/ 642 w 1866"/>
                    <a:gd name="T109" fmla="*/ 6 h 1734"/>
                    <a:gd name="T110" fmla="*/ 858 w 1866"/>
                    <a:gd name="T111" fmla="*/ 0 h 1734"/>
                    <a:gd name="T112" fmla="*/ 858 w 1866"/>
                    <a:gd name="T113" fmla="*/ 0 h 17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66" h="1734">
                      <a:moveTo>
                        <a:pt x="858" y="0"/>
                      </a:moveTo>
                      <a:lnTo>
                        <a:pt x="1518" y="468"/>
                      </a:lnTo>
                      <a:lnTo>
                        <a:pt x="1542" y="522"/>
                      </a:lnTo>
                      <a:lnTo>
                        <a:pt x="1662" y="546"/>
                      </a:lnTo>
                      <a:lnTo>
                        <a:pt x="1746" y="624"/>
                      </a:lnTo>
                      <a:lnTo>
                        <a:pt x="1746" y="678"/>
                      </a:lnTo>
                      <a:lnTo>
                        <a:pt x="1806" y="678"/>
                      </a:lnTo>
                      <a:lnTo>
                        <a:pt x="1866" y="690"/>
                      </a:lnTo>
                      <a:lnTo>
                        <a:pt x="1860" y="786"/>
                      </a:lnTo>
                      <a:lnTo>
                        <a:pt x="1860" y="894"/>
                      </a:lnTo>
                      <a:lnTo>
                        <a:pt x="1848" y="996"/>
                      </a:lnTo>
                      <a:lnTo>
                        <a:pt x="1812" y="1110"/>
                      </a:lnTo>
                      <a:lnTo>
                        <a:pt x="1692" y="1110"/>
                      </a:lnTo>
                      <a:lnTo>
                        <a:pt x="1614" y="1134"/>
                      </a:lnTo>
                      <a:lnTo>
                        <a:pt x="1548" y="1122"/>
                      </a:lnTo>
                      <a:lnTo>
                        <a:pt x="1506" y="1146"/>
                      </a:lnTo>
                      <a:lnTo>
                        <a:pt x="1422" y="1176"/>
                      </a:lnTo>
                      <a:lnTo>
                        <a:pt x="1350" y="1158"/>
                      </a:lnTo>
                      <a:lnTo>
                        <a:pt x="1272" y="1176"/>
                      </a:lnTo>
                      <a:lnTo>
                        <a:pt x="1206" y="1212"/>
                      </a:lnTo>
                      <a:lnTo>
                        <a:pt x="1140" y="1242"/>
                      </a:lnTo>
                      <a:lnTo>
                        <a:pt x="1104" y="1296"/>
                      </a:lnTo>
                      <a:lnTo>
                        <a:pt x="1038" y="1314"/>
                      </a:lnTo>
                      <a:lnTo>
                        <a:pt x="978" y="1380"/>
                      </a:lnTo>
                      <a:lnTo>
                        <a:pt x="894" y="1392"/>
                      </a:lnTo>
                      <a:lnTo>
                        <a:pt x="870" y="1470"/>
                      </a:lnTo>
                      <a:lnTo>
                        <a:pt x="834" y="1488"/>
                      </a:lnTo>
                      <a:lnTo>
                        <a:pt x="828" y="1536"/>
                      </a:lnTo>
                      <a:lnTo>
                        <a:pt x="780" y="1608"/>
                      </a:lnTo>
                      <a:lnTo>
                        <a:pt x="762" y="1716"/>
                      </a:lnTo>
                      <a:lnTo>
                        <a:pt x="654" y="1734"/>
                      </a:lnTo>
                      <a:lnTo>
                        <a:pt x="612" y="1704"/>
                      </a:lnTo>
                      <a:lnTo>
                        <a:pt x="474" y="1704"/>
                      </a:lnTo>
                      <a:lnTo>
                        <a:pt x="474" y="1704"/>
                      </a:lnTo>
                      <a:lnTo>
                        <a:pt x="426" y="1590"/>
                      </a:lnTo>
                      <a:lnTo>
                        <a:pt x="384" y="1488"/>
                      </a:lnTo>
                      <a:lnTo>
                        <a:pt x="300" y="1506"/>
                      </a:lnTo>
                      <a:lnTo>
                        <a:pt x="186" y="1542"/>
                      </a:lnTo>
                      <a:lnTo>
                        <a:pt x="132" y="1506"/>
                      </a:lnTo>
                      <a:lnTo>
                        <a:pt x="132" y="1434"/>
                      </a:lnTo>
                      <a:lnTo>
                        <a:pt x="72" y="1380"/>
                      </a:lnTo>
                      <a:lnTo>
                        <a:pt x="36" y="1266"/>
                      </a:lnTo>
                      <a:lnTo>
                        <a:pt x="0" y="1176"/>
                      </a:lnTo>
                      <a:lnTo>
                        <a:pt x="0" y="1176"/>
                      </a:lnTo>
                      <a:lnTo>
                        <a:pt x="30" y="1146"/>
                      </a:lnTo>
                      <a:lnTo>
                        <a:pt x="96" y="1110"/>
                      </a:lnTo>
                      <a:lnTo>
                        <a:pt x="162" y="1134"/>
                      </a:lnTo>
                      <a:lnTo>
                        <a:pt x="282" y="1122"/>
                      </a:lnTo>
                      <a:lnTo>
                        <a:pt x="336" y="1110"/>
                      </a:lnTo>
                      <a:lnTo>
                        <a:pt x="756" y="1110"/>
                      </a:lnTo>
                      <a:lnTo>
                        <a:pt x="798" y="1080"/>
                      </a:lnTo>
                      <a:lnTo>
                        <a:pt x="798" y="1038"/>
                      </a:lnTo>
                      <a:lnTo>
                        <a:pt x="768" y="978"/>
                      </a:lnTo>
                      <a:lnTo>
                        <a:pt x="750" y="882"/>
                      </a:lnTo>
                      <a:lnTo>
                        <a:pt x="642" y="6"/>
                      </a:lnTo>
                      <a:lnTo>
                        <a:pt x="858" y="0"/>
                      </a:lnTo>
                      <a:lnTo>
                        <a:pt x="85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5" name="Freeform 196">
                  <a:extLst>
                    <a:ext uri="{FF2B5EF4-FFF2-40B4-BE49-F238E27FC236}">
                      <a16:creationId xmlns:a16="http://schemas.microsoft.com/office/drawing/2014/main" id="{EDE770BC-6245-4C42-ABD0-133191C903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45" y="2580"/>
                  <a:ext cx="450" cy="474"/>
                </a:xfrm>
                <a:custGeom>
                  <a:avLst/>
                  <a:gdLst>
                    <a:gd name="T0" fmla="*/ 192 w 450"/>
                    <a:gd name="T1" fmla="*/ 0 h 474"/>
                    <a:gd name="T2" fmla="*/ 222 w 450"/>
                    <a:gd name="T3" fmla="*/ 30 h 474"/>
                    <a:gd name="T4" fmla="*/ 252 w 450"/>
                    <a:gd name="T5" fmla="*/ 90 h 474"/>
                    <a:gd name="T6" fmla="*/ 324 w 450"/>
                    <a:gd name="T7" fmla="*/ 102 h 474"/>
                    <a:gd name="T8" fmla="*/ 330 w 450"/>
                    <a:gd name="T9" fmla="*/ 102 h 474"/>
                    <a:gd name="T10" fmla="*/ 330 w 450"/>
                    <a:gd name="T11" fmla="*/ 186 h 474"/>
                    <a:gd name="T12" fmla="*/ 390 w 450"/>
                    <a:gd name="T13" fmla="*/ 246 h 474"/>
                    <a:gd name="T14" fmla="*/ 426 w 450"/>
                    <a:gd name="T15" fmla="*/ 276 h 474"/>
                    <a:gd name="T16" fmla="*/ 450 w 450"/>
                    <a:gd name="T17" fmla="*/ 330 h 474"/>
                    <a:gd name="T18" fmla="*/ 450 w 450"/>
                    <a:gd name="T19" fmla="*/ 396 h 474"/>
                    <a:gd name="T20" fmla="*/ 444 w 450"/>
                    <a:gd name="T21" fmla="*/ 474 h 474"/>
                    <a:gd name="T22" fmla="*/ 396 w 450"/>
                    <a:gd name="T23" fmla="*/ 468 h 474"/>
                    <a:gd name="T24" fmla="*/ 348 w 450"/>
                    <a:gd name="T25" fmla="*/ 450 h 474"/>
                    <a:gd name="T26" fmla="*/ 300 w 450"/>
                    <a:gd name="T27" fmla="*/ 420 h 474"/>
                    <a:gd name="T28" fmla="*/ 252 w 450"/>
                    <a:gd name="T29" fmla="*/ 378 h 474"/>
                    <a:gd name="T30" fmla="*/ 216 w 450"/>
                    <a:gd name="T31" fmla="*/ 348 h 474"/>
                    <a:gd name="T32" fmla="*/ 186 w 450"/>
                    <a:gd name="T33" fmla="*/ 324 h 474"/>
                    <a:gd name="T34" fmla="*/ 156 w 450"/>
                    <a:gd name="T35" fmla="*/ 294 h 474"/>
                    <a:gd name="T36" fmla="*/ 126 w 450"/>
                    <a:gd name="T37" fmla="*/ 264 h 474"/>
                    <a:gd name="T38" fmla="*/ 102 w 450"/>
                    <a:gd name="T39" fmla="*/ 234 h 474"/>
                    <a:gd name="T40" fmla="*/ 96 w 450"/>
                    <a:gd name="T41" fmla="*/ 210 h 474"/>
                    <a:gd name="T42" fmla="*/ 90 w 450"/>
                    <a:gd name="T43" fmla="*/ 198 h 474"/>
                    <a:gd name="T44" fmla="*/ 84 w 450"/>
                    <a:gd name="T45" fmla="*/ 186 h 474"/>
                    <a:gd name="T46" fmla="*/ 72 w 450"/>
                    <a:gd name="T47" fmla="*/ 174 h 474"/>
                    <a:gd name="T48" fmla="*/ 54 w 450"/>
                    <a:gd name="T49" fmla="*/ 168 h 474"/>
                    <a:gd name="T50" fmla="*/ 42 w 450"/>
                    <a:gd name="T51" fmla="*/ 174 h 474"/>
                    <a:gd name="T52" fmla="*/ 24 w 450"/>
                    <a:gd name="T53" fmla="*/ 174 h 474"/>
                    <a:gd name="T54" fmla="*/ 12 w 450"/>
                    <a:gd name="T55" fmla="*/ 174 h 474"/>
                    <a:gd name="T56" fmla="*/ 0 w 450"/>
                    <a:gd name="T57" fmla="*/ 168 h 474"/>
                    <a:gd name="T58" fmla="*/ 0 w 450"/>
                    <a:gd name="T59" fmla="*/ 168 h 474"/>
                    <a:gd name="T60" fmla="*/ 78 w 450"/>
                    <a:gd name="T61" fmla="*/ 114 h 474"/>
                    <a:gd name="T62" fmla="*/ 114 w 450"/>
                    <a:gd name="T63" fmla="*/ 78 h 474"/>
                    <a:gd name="T64" fmla="*/ 126 w 450"/>
                    <a:gd name="T65" fmla="*/ 24 h 474"/>
                    <a:gd name="T66" fmla="*/ 126 w 450"/>
                    <a:gd name="T67" fmla="*/ 24 h 474"/>
                    <a:gd name="T68" fmla="*/ 192 w 450"/>
                    <a:gd name="T69" fmla="*/ 0 h 4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50" h="474">
                      <a:moveTo>
                        <a:pt x="192" y="0"/>
                      </a:moveTo>
                      <a:lnTo>
                        <a:pt x="222" y="30"/>
                      </a:lnTo>
                      <a:lnTo>
                        <a:pt x="252" y="90"/>
                      </a:lnTo>
                      <a:lnTo>
                        <a:pt x="324" y="102"/>
                      </a:lnTo>
                      <a:lnTo>
                        <a:pt x="330" y="102"/>
                      </a:lnTo>
                      <a:lnTo>
                        <a:pt x="330" y="186"/>
                      </a:lnTo>
                      <a:lnTo>
                        <a:pt x="390" y="246"/>
                      </a:lnTo>
                      <a:lnTo>
                        <a:pt x="426" y="276"/>
                      </a:lnTo>
                      <a:lnTo>
                        <a:pt x="450" y="330"/>
                      </a:lnTo>
                      <a:lnTo>
                        <a:pt x="450" y="396"/>
                      </a:lnTo>
                      <a:lnTo>
                        <a:pt x="444" y="474"/>
                      </a:lnTo>
                      <a:lnTo>
                        <a:pt x="396" y="468"/>
                      </a:lnTo>
                      <a:lnTo>
                        <a:pt x="348" y="450"/>
                      </a:lnTo>
                      <a:lnTo>
                        <a:pt x="300" y="420"/>
                      </a:lnTo>
                      <a:lnTo>
                        <a:pt x="252" y="378"/>
                      </a:lnTo>
                      <a:lnTo>
                        <a:pt x="216" y="348"/>
                      </a:lnTo>
                      <a:lnTo>
                        <a:pt x="186" y="324"/>
                      </a:lnTo>
                      <a:lnTo>
                        <a:pt x="156" y="294"/>
                      </a:lnTo>
                      <a:lnTo>
                        <a:pt x="126" y="264"/>
                      </a:lnTo>
                      <a:lnTo>
                        <a:pt x="102" y="234"/>
                      </a:lnTo>
                      <a:lnTo>
                        <a:pt x="96" y="210"/>
                      </a:lnTo>
                      <a:lnTo>
                        <a:pt x="90" y="198"/>
                      </a:lnTo>
                      <a:lnTo>
                        <a:pt x="84" y="186"/>
                      </a:lnTo>
                      <a:lnTo>
                        <a:pt x="72" y="174"/>
                      </a:lnTo>
                      <a:lnTo>
                        <a:pt x="54" y="168"/>
                      </a:lnTo>
                      <a:lnTo>
                        <a:pt x="42" y="174"/>
                      </a:lnTo>
                      <a:lnTo>
                        <a:pt x="24" y="174"/>
                      </a:lnTo>
                      <a:lnTo>
                        <a:pt x="12" y="174"/>
                      </a:lnTo>
                      <a:lnTo>
                        <a:pt x="0" y="168"/>
                      </a:lnTo>
                      <a:lnTo>
                        <a:pt x="0" y="168"/>
                      </a:lnTo>
                      <a:lnTo>
                        <a:pt x="78" y="114"/>
                      </a:lnTo>
                      <a:lnTo>
                        <a:pt x="114" y="78"/>
                      </a:lnTo>
                      <a:lnTo>
                        <a:pt x="126" y="24"/>
                      </a:lnTo>
                      <a:lnTo>
                        <a:pt x="126" y="24"/>
                      </a:lnTo>
                      <a:lnTo>
                        <a:pt x="19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6" name="Freeform 197">
                  <a:extLst>
                    <a:ext uri="{FF2B5EF4-FFF2-40B4-BE49-F238E27FC236}">
                      <a16:creationId xmlns:a16="http://schemas.microsoft.com/office/drawing/2014/main" id="{9EB2649D-DE31-4E75-B4F7-E2603059EE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721" y="2358"/>
                  <a:ext cx="678" cy="696"/>
                </a:xfrm>
                <a:custGeom>
                  <a:avLst/>
                  <a:gdLst>
                    <a:gd name="T0" fmla="*/ 48 w 678"/>
                    <a:gd name="T1" fmla="*/ 0 h 696"/>
                    <a:gd name="T2" fmla="*/ 186 w 678"/>
                    <a:gd name="T3" fmla="*/ 0 h 696"/>
                    <a:gd name="T4" fmla="*/ 228 w 678"/>
                    <a:gd name="T5" fmla="*/ 30 h 696"/>
                    <a:gd name="T6" fmla="*/ 336 w 678"/>
                    <a:gd name="T7" fmla="*/ 18 h 696"/>
                    <a:gd name="T8" fmla="*/ 336 w 678"/>
                    <a:gd name="T9" fmla="*/ 18 h 696"/>
                    <a:gd name="T10" fmla="*/ 414 w 678"/>
                    <a:gd name="T11" fmla="*/ 72 h 696"/>
                    <a:gd name="T12" fmla="*/ 498 w 678"/>
                    <a:gd name="T13" fmla="*/ 54 h 696"/>
                    <a:gd name="T14" fmla="*/ 594 w 678"/>
                    <a:gd name="T15" fmla="*/ 54 h 696"/>
                    <a:gd name="T16" fmla="*/ 618 w 678"/>
                    <a:gd name="T17" fmla="*/ 60 h 696"/>
                    <a:gd name="T18" fmla="*/ 654 w 678"/>
                    <a:gd name="T19" fmla="*/ 132 h 696"/>
                    <a:gd name="T20" fmla="*/ 678 w 678"/>
                    <a:gd name="T21" fmla="*/ 180 h 696"/>
                    <a:gd name="T22" fmla="*/ 648 w 678"/>
                    <a:gd name="T23" fmla="*/ 246 h 696"/>
                    <a:gd name="T24" fmla="*/ 618 w 678"/>
                    <a:gd name="T25" fmla="*/ 312 h 696"/>
                    <a:gd name="T26" fmla="*/ 606 w 678"/>
                    <a:gd name="T27" fmla="*/ 390 h 696"/>
                    <a:gd name="T28" fmla="*/ 624 w 678"/>
                    <a:gd name="T29" fmla="*/ 456 h 696"/>
                    <a:gd name="T30" fmla="*/ 654 w 678"/>
                    <a:gd name="T31" fmla="*/ 522 h 696"/>
                    <a:gd name="T32" fmla="*/ 678 w 678"/>
                    <a:gd name="T33" fmla="*/ 606 h 696"/>
                    <a:gd name="T34" fmla="*/ 636 w 678"/>
                    <a:gd name="T35" fmla="*/ 594 h 696"/>
                    <a:gd name="T36" fmla="*/ 576 w 678"/>
                    <a:gd name="T37" fmla="*/ 588 h 696"/>
                    <a:gd name="T38" fmla="*/ 504 w 678"/>
                    <a:gd name="T39" fmla="*/ 582 h 696"/>
                    <a:gd name="T40" fmla="*/ 426 w 678"/>
                    <a:gd name="T41" fmla="*/ 588 h 696"/>
                    <a:gd name="T42" fmla="*/ 342 w 678"/>
                    <a:gd name="T43" fmla="*/ 612 h 696"/>
                    <a:gd name="T44" fmla="*/ 258 w 678"/>
                    <a:gd name="T45" fmla="*/ 648 h 696"/>
                    <a:gd name="T46" fmla="*/ 180 w 678"/>
                    <a:gd name="T47" fmla="*/ 678 h 696"/>
                    <a:gd name="T48" fmla="*/ 120 w 678"/>
                    <a:gd name="T49" fmla="*/ 696 h 696"/>
                    <a:gd name="T50" fmla="*/ 126 w 678"/>
                    <a:gd name="T51" fmla="*/ 618 h 696"/>
                    <a:gd name="T52" fmla="*/ 126 w 678"/>
                    <a:gd name="T53" fmla="*/ 552 h 696"/>
                    <a:gd name="T54" fmla="*/ 102 w 678"/>
                    <a:gd name="T55" fmla="*/ 498 h 696"/>
                    <a:gd name="T56" fmla="*/ 66 w 678"/>
                    <a:gd name="T57" fmla="*/ 468 h 696"/>
                    <a:gd name="T58" fmla="*/ 6 w 678"/>
                    <a:gd name="T59" fmla="*/ 408 h 696"/>
                    <a:gd name="T60" fmla="*/ 6 w 678"/>
                    <a:gd name="T61" fmla="*/ 324 h 696"/>
                    <a:gd name="T62" fmla="*/ 0 w 678"/>
                    <a:gd name="T63" fmla="*/ 324 h 696"/>
                    <a:gd name="T64" fmla="*/ 42 w 678"/>
                    <a:gd name="T65" fmla="*/ 264 h 696"/>
                    <a:gd name="T66" fmla="*/ 78 w 678"/>
                    <a:gd name="T67" fmla="*/ 168 h 696"/>
                    <a:gd name="T68" fmla="*/ 66 w 678"/>
                    <a:gd name="T69" fmla="*/ 96 h 696"/>
                    <a:gd name="T70" fmla="*/ 48 w 678"/>
                    <a:gd name="T71" fmla="*/ 0 h 696"/>
                    <a:gd name="T72" fmla="*/ 48 w 678"/>
                    <a:gd name="T73" fmla="*/ 0 h 696"/>
                    <a:gd name="T74" fmla="*/ 48 w 678"/>
                    <a:gd name="T75" fmla="*/ 0 h 696"/>
                    <a:gd name="T76" fmla="*/ 48 w 678"/>
                    <a:gd name="T77" fmla="*/ 0 h 696"/>
                    <a:gd name="T78" fmla="*/ 48 w 678"/>
                    <a:gd name="T79" fmla="*/ 0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678" h="696">
                      <a:moveTo>
                        <a:pt x="48" y="0"/>
                      </a:moveTo>
                      <a:lnTo>
                        <a:pt x="186" y="0"/>
                      </a:lnTo>
                      <a:lnTo>
                        <a:pt x="228" y="30"/>
                      </a:lnTo>
                      <a:lnTo>
                        <a:pt x="336" y="18"/>
                      </a:lnTo>
                      <a:lnTo>
                        <a:pt x="336" y="18"/>
                      </a:lnTo>
                      <a:lnTo>
                        <a:pt x="414" y="72"/>
                      </a:lnTo>
                      <a:lnTo>
                        <a:pt x="498" y="54"/>
                      </a:lnTo>
                      <a:lnTo>
                        <a:pt x="594" y="54"/>
                      </a:lnTo>
                      <a:lnTo>
                        <a:pt x="618" y="60"/>
                      </a:lnTo>
                      <a:lnTo>
                        <a:pt x="654" y="132"/>
                      </a:lnTo>
                      <a:lnTo>
                        <a:pt x="678" y="180"/>
                      </a:lnTo>
                      <a:lnTo>
                        <a:pt x="648" y="246"/>
                      </a:lnTo>
                      <a:lnTo>
                        <a:pt x="618" y="312"/>
                      </a:lnTo>
                      <a:lnTo>
                        <a:pt x="606" y="390"/>
                      </a:lnTo>
                      <a:lnTo>
                        <a:pt x="624" y="456"/>
                      </a:lnTo>
                      <a:lnTo>
                        <a:pt x="654" y="522"/>
                      </a:lnTo>
                      <a:lnTo>
                        <a:pt x="678" y="606"/>
                      </a:lnTo>
                      <a:lnTo>
                        <a:pt x="636" y="594"/>
                      </a:lnTo>
                      <a:lnTo>
                        <a:pt x="576" y="588"/>
                      </a:lnTo>
                      <a:lnTo>
                        <a:pt x="504" y="582"/>
                      </a:lnTo>
                      <a:lnTo>
                        <a:pt x="426" y="588"/>
                      </a:lnTo>
                      <a:lnTo>
                        <a:pt x="342" y="612"/>
                      </a:lnTo>
                      <a:lnTo>
                        <a:pt x="258" y="648"/>
                      </a:lnTo>
                      <a:lnTo>
                        <a:pt x="180" y="678"/>
                      </a:lnTo>
                      <a:lnTo>
                        <a:pt x="120" y="696"/>
                      </a:lnTo>
                      <a:lnTo>
                        <a:pt x="126" y="618"/>
                      </a:lnTo>
                      <a:lnTo>
                        <a:pt x="126" y="552"/>
                      </a:lnTo>
                      <a:lnTo>
                        <a:pt x="102" y="498"/>
                      </a:lnTo>
                      <a:lnTo>
                        <a:pt x="66" y="468"/>
                      </a:lnTo>
                      <a:lnTo>
                        <a:pt x="6" y="408"/>
                      </a:lnTo>
                      <a:lnTo>
                        <a:pt x="6" y="324"/>
                      </a:lnTo>
                      <a:lnTo>
                        <a:pt x="0" y="324"/>
                      </a:lnTo>
                      <a:lnTo>
                        <a:pt x="42" y="264"/>
                      </a:lnTo>
                      <a:lnTo>
                        <a:pt x="78" y="168"/>
                      </a:lnTo>
                      <a:lnTo>
                        <a:pt x="66" y="96"/>
                      </a:lnTo>
                      <a:lnTo>
                        <a:pt x="48" y="0"/>
                      </a:lnTo>
                      <a:close/>
                      <a:moveTo>
                        <a:pt x="48" y="0"/>
                      </a:moveTo>
                      <a:lnTo>
                        <a:pt x="48" y="0"/>
                      </a:lnTo>
                      <a:lnTo>
                        <a:pt x="48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7" name="Freeform 198">
                  <a:extLst>
                    <a:ext uri="{FF2B5EF4-FFF2-40B4-BE49-F238E27FC236}">
                      <a16:creationId xmlns:a16="http://schemas.microsoft.com/office/drawing/2014/main" id="{4BA18156-D044-48D7-91E0-011B779567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" y="2130"/>
                  <a:ext cx="330" cy="714"/>
                </a:xfrm>
                <a:custGeom>
                  <a:avLst/>
                  <a:gdLst>
                    <a:gd name="T0" fmla="*/ 258 w 330"/>
                    <a:gd name="T1" fmla="*/ 0 h 714"/>
                    <a:gd name="T2" fmla="*/ 300 w 330"/>
                    <a:gd name="T3" fmla="*/ 24 h 714"/>
                    <a:gd name="T4" fmla="*/ 300 w 330"/>
                    <a:gd name="T5" fmla="*/ 72 h 714"/>
                    <a:gd name="T6" fmla="*/ 324 w 330"/>
                    <a:gd name="T7" fmla="*/ 114 h 714"/>
                    <a:gd name="T8" fmla="*/ 330 w 330"/>
                    <a:gd name="T9" fmla="*/ 186 h 714"/>
                    <a:gd name="T10" fmla="*/ 324 w 330"/>
                    <a:gd name="T11" fmla="*/ 252 h 714"/>
                    <a:gd name="T12" fmla="*/ 276 w 330"/>
                    <a:gd name="T13" fmla="*/ 312 h 714"/>
                    <a:gd name="T14" fmla="*/ 240 w 330"/>
                    <a:gd name="T15" fmla="*/ 372 h 714"/>
                    <a:gd name="T16" fmla="*/ 222 w 330"/>
                    <a:gd name="T17" fmla="*/ 414 h 714"/>
                    <a:gd name="T18" fmla="*/ 198 w 330"/>
                    <a:gd name="T19" fmla="*/ 480 h 714"/>
                    <a:gd name="T20" fmla="*/ 210 w 330"/>
                    <a:gd name="T21" fmla="*/ 540 h 714"/>
                    <a:gd name="T22" fmla="*/ 210 w 330"/>
                    <a:gd name="T23" fmla="*/ 588 h 714"/>
                    <a:gd name="T24" fmla="*/ 198 w 330"/>
                    <a:gd name="T25" fmla="*/ 684 h 714"/>
                    <a:gd name="T26" fmla="*/ 198 w 330"/>
                    <a:gd name="T27" fmla="*/ 690 h 714"/>
                    <a:gd name="T28" fmla="*/ 138 w 330"/>
                    <a:gd name="T29" fmla="*/ 702 h 714"/>
                    <a:gd name="T30" fmla="*/ 78 w 330"/>
                    <a:gd name="T31" fmla="*/ 714 h 714"/>
                    <a:gd name="T32" fmla="*/ 84 w 330"/>
                    <a:gd name="T33" fmla="*/ 714 h 714"/>
                    <a:gd name="T34" fmla="*/ 84 w 330"/>
                    <a:gd name="T35" fmla="*/ 516 h 714"/>
                    <a:gd name="T36" fmla="*/ 60 w 330"/>
                    <a:gd name="T37" fmla="*/ 438 h 714"/>
                    <a:gd name="T38" fmla="*/ 84 w 330"/>
                    <a:gd name="T39" fmla="*/ 372 h 714"/>
                    <a:gd name="T40" fmla="*/ 84 w 330"/>
                    <a:gd name="T41" fmla="*/ 288 h 714"/>
                    <a:gd name="T42" fmla="*/ 54 w 330"/>
                    <a:gd name="T43" fmla="*/ 270 h 714"/>
                    <a:gd name="T44" fmla="*/ 54 w 330"/>
                    <a:gd name="T45" fmla="*/ 216 h 714"/>
                    <a:gd name="T46" fmla="*/ 0 w 330"/>
                    <a:gd name="T47" fmla="*/ 150 h 714"/>
                    <a:gd name="T48" fmla="*/ 0 w 330"/>
                    <a:gd name="T49" fmla="*/ 144 h 714"/>
                    <a:gd name="T50" fmla="*/ 36 w 330"/>
                    <a:gd name="T51" fmla="*/ 96 h 714"/>
                    <a:gd name="T52" fmla="*/ 108 w 330"/>
                    <a:gd name="T53" fmla="*/ 102 h 714"/>
                    <a:gd name="T54" fmla="*/ 168 w 330"/>
                    <a:gd name="T55" fmla="*/ 84 h 714"/>
                    <a:gd name="T56" fmla="*/ 198 w 330"/>
                    <a:gd name="T57" fmla="*/ 12 h 714"/>
                    <a:gd name="T58" fmla="*/ 198 w 330"/>
                    <a:gd name="T59" fmla="*/ 12 h 714"/>
                    <a:gd name="T60" fmla="*/ 258 w 330"/>
                    <a:gd name="T61" fmla="*/ 0 h 7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330" h="714">
                      <a:moveTo>
                        <a:pt x="258" y="0"/>
                      </a:moveTo>
                      <a:lnTo>
                        <a:pt x="300" y="24"/>
                      </a:lnTo>
                      <a:lnTo>
                        <a:pt x="300" y="72"/>
                      </a:lnTo>
                      <a:lnTo>
                        <a:pt x="324" y="114"/>
                      </a:lnTo>
                      <a:lnTo>
                        <a:pt x="330" y="186"/>
                      </a:lnTo>
                      <a:lnTo>
                        <a:pt x="324" y="252"/>
                      </a:lnTo>
                      <a:lnTo>
                        <a:pt x="276" y="312"/>
                      </a:lnTo>
                      <a:lnTo>
                        <a:pt x="240" y="372"/>
                      </a:lnTo>
                      <a:lnTo>
                        <a:pt x="222" y="414"/>
                      </a:lnTo>
                      <a:lnTo>
                        <a:pt x="198" y="480"/>
                      </a:lnTo>
                      <a:lnTo>
                        <a:pt x="210" y="540"/>
                      </a:lnTo>
                      <a:lnTo>
                        <a:pt x="210" y="588"/>
                      </a:lnTo>
                      <a:lnTo>
                        <a:pt x="198" y="684"/>
                      </a:lnTo>
                      <a:lnTo>
                        <a:pt x="198" y="690"/>
                      </a:lnTo>
                      <a:lnTo>
                        <a:pt x="138" y="702"/>
                      </a:lnTo>
                      <a:lnTo>
                        <a:pt x="78" y="714"/>
                      </a:lnTo>
                      <a:lnTo>
                        <a:pt x="84" y="714"/>
                      </a:lnTo>
                      <a:lnTo>
                        <a:pt x="84" y="516"/>
                      </a:lnTo>
                      <a:lnTo>
                        <a:pt x="60" y="438"/>
                      </a:lnTo>
                      <a:lnTo>
                        <a:pt x="84" y="372"/>
                      </a:lnTo>
                      <a:lnTo>
                        <a:pt x="84" y="288"/>
                      </a:lnTo>
                      <a:lnTo>
                        <a:pt x="54" y="270"/>
                      </a:lnTo>
                      <a:lnTo>
                        <a:pt x="54" y="216"/>
                      </a:lnTo>
                      <a:lnTo>
                        <a:pt x="0" y="150"/>
                      </a:lnTo>
                      <a:lnTo>
                        <a:pt x="0" y="144"/>
                      </a:lnTo>
                      <a:lnTo>
                        <a:pt x="36" y="96"/>
                      </a:lnTo>
                      <a:lnTo>
                        <a:pt x="108" y="102"/>
                      </a:lnTo>
                      <a:lnTo>
                        <a:pt x="168" y="84"/>
                      </a:lnTo>
                      <a:lnTo>
                        <a:pt x="198" y="12"/>
                      </a:lnTo>
                      <a:lnTo>
                        <a:pt x="198" y="12"/>
                      </a:lnTo>
                      <a:lnTo>
                        <a:pt x="25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8" name="Freeform 199">
                  <a:extLst>
                    <a:ext uri="{FF2B5EF4-FFF2-40B4-BE49-F238E27FC236}">
                      <a16:creationId xmlns:a16="http://schemas.microsoft.com/office/drawing/2014/main" id="{1602A47A-DD91-493E-A059-2662171A56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85" y="1812"/>
                  <a:ext cx="918" cy="618"/>
                </a:xfrm>
                <a:custGeom>
                  <a:avLst/>
                  <a:gdLst>
                    <a:gd name="T0" fmla="*/ 588 w 918"/>
                    <a:gd name="T1" fmla="*/ 0 h 618"/>
                    <a:gd name="T2" fmla="*/ 660 w 918"/>
                    <a:gd name="T3" fmla="*/ 18 h 618"/>
                    <a:gd name="T4" fmla="*/ 666 w 918"/>
                    <a:gd name="T5" fmla="*/ 102 h 618"/>
                    <a:gd name="T6" fmla="*/ 690 w 918"/>
                    <a:gd name="T7" fmla="*/ 150 h 618"/>
                    <a:gd name="T8" fmla="*/ 738 w 918"/>
                    <a:gd name="T9" fmla="*/ 186 h 618"/>
                    <a:gd name="T10" fmla="*/ 780 w 918"/>
                    <a:gd name="T11" fmla="*/ 264 h 618"/>
                    <a:gd name="T12" fmla="*/ 840 w 918"/>
                    <a:gd name="T13" fmla="*/ 264 h 618"/>
                    <a:gd name="T14" fmla="*/ 864 w 918"/>
                    <a:gd name="T15" fmla="*/ 288 h 618"/>
                    <a:gd name="T16" fmla="*/ 918 w 918"/>
                    <a:gd name="T17" fmla="*/ 330 h 618"/>
                    <a:gd name="T18" fmla="*/ 888 w 918"/>
                    <a:gd name="T19" fmla="*/ 402 h 618"/>
                    <a:gd name="T20" fmla="*/ 828 w 918"/>
                    <a:gd name="T21" fmla="*/ 420 h 618"/>
                    <a:gd name="T22" fmla="*/ 756 w 918"/>
                    <a:gd name="T23" fmla="*/ 414 h 618"/>
                    <a:gd name="T24" fmla="*/ 720 w 918"/>
                    <a:gd name="T25" fmla="*/ 462 h 618"/>
                    <a:gd name="T26" fmla="*/ 702 w 918"/>
                    <a:gd name="T27" fmla="*/ 474 h 618"/>
                    <a:gd name="T28" fmla="*/ 672 w 918"/>
                    <a:gd name="T29" fmla="*/ 486 h 618"/>
                    <a:gd name="T30" fmla="*/ 648 w 918"/>
                    <a:gd name="T31" fmla="*/ 474 h 618"/>
                    <a:gd name="T32" fmla="*/ 588 w 918"/>
                    <a:gd name="T33" fmla="*/ 480 h 618"/>
                    <a:gd name="T34" fmla="*/ 540 w 918"/>
                    <a:gd name="T35" fmla="*/ 456 h 618"/>
                    <a:gd name="T36" fmla="*/ 444 w 918"/>
                    <a:gd name="T37" fmla="*/ 450 h 618"/>
                    <a:gd name="T38" fmla="*/ 384 w 918"/>
                    <a:gd name="T39" fmla="*/ 468 h 618"/>
                    <a:gd name="T40" fmla="*/ 306 w 918"/>
                    <a:gd name="T41" fmla="*/ 456 h 618"/>
                    <a:gd name="T42" fmla="*/ 276 w 918"/>
                    <a:gd name="T43" fmla="*/ 516 h 618"/>
                    <a:gd name="T44" fmla="*/ 282 w 918"/>
                    <a:gd name="T45" fmla="*/ 606 h 618"/>
                    <a:gd name="T46" fmla="*/ 258 w 918"/>
                    <a:gd name="T47" fmla="*/ 600 h 618"/>
                    <a:gd name="T48" fmla="*/ 162 w 918"/>
                    <a:gd name="T49" fmla="*/ 600 h 618"/>
                    <a:gd name="T50" fmla="*/ 78 w 918"/>
                    <a:gd name="T51" fmla="*/ 618 h 618"/>
                    <a:gd name="T52" fmla="*/ 0 w 918"/>
                    <a:gd name="T53" fmla="*/ 564 h 618"/>
                    <a:gd name="T54" fmla="*/ 0 w 918"/>
                    <a:gd name="T55" fmla="*/ 564 h 618"/>
                    <a:gd name="T56" fmla="*/ 18 w 918"/>
                    <a:gd name="T57" fmla="*/ 450 h 618"/>
                    <a:gd name="T58" fmla="*/ 66 w 918"/>
                    <a:gd name="T59" fmla="*/ 384 h 618"/>
                    <a:gd name="T60" fmla="*/ 72 w 918"/>
                    <a:gd name="T61" fmla="*/ 330 h 618"/>
                    <a:gd name="T62" fmla="*/ 108 w 918"/>
                    <a:gd name="T63" fmla="*/ 312 h 618"/>
                    <a:gd name="T64" fmla="*/ 132 w 918"/>
                    <a:gd name="T65" fmla="*/ 234 h 618"/>
                    <a:gd name="T66" fmla="*/ 216 w 918"/>
                    <a:gd name="T67" fmla="*/ 222 h 618"/>
                    <a:gd name="T68" fmla="*/ 276 w 918"/>
                    <a:gd name="T69" fmla="*/ 156 h 618"/>
                    <a:gd name="T70" fmla="*/ 342 w 918"/>
                    <a:gd name="T71" fmla="*/ 138 h 618"/>
                    <a:gd name="T72" fmla="*/ 378 w 918"/>
                    <a:gd name="T73" fmla="*/ 84 h 618"/>
                    <a:gd name="T74" fmla="*/ 444 w 918"/>
                    <a:gd name="T75" fmla="*/ 54 h 618"/>
                    <a:gd name="T76" fmla="*/ 510 w 918"/>
                    <a:gd name="T77" fmla="*/ 18 h 618"/>
                    <a:gd name="T78" fmla="*/ 588 w 918"/>
                    <a:gd name="T79" fmla="*/ 0 h 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918" h="618">
                      <a:moveTo>
                        <a:pt x="588" y="0"/>
                      </a:moveTo>
                      <a:lnTo>
                        <a:pt x="660" y="18"/>
                      </a:lnTo>
                      <a:lnTo>
                        <a:pt x="666" y="102"/>
                      </a:lnTo>
                      <a:lnTo>
                        <a:pt x="690" y="150"/>
                      </a:lnTo>
                      <a:lnTo>
                        <a:pt x="738" y="186"/>
                      </a:lnTo>
                      <a:lnTo>
                        <a:pt x="780" y="264"/>
                      </a:lnTo>
                      <a:lnTo>
                        <a:pt x="840" y="264"/>
                      </a:lnTo>
                      <a:lnTo>
                        <a:pt x="864" y="288"/>
                      </a:lnTo>
                      <a:lnTo>
                        <a:pt x="918" y="330"/>
                      </a:lnTo>
                      <a:lnTo>
                        <a:pt x="888" y="402"/>
                      </a:lnTo>
                      <a:lnTo>
                        <a:pt x="828" y="420"/>
                      </a:lnTo>
                      <a:lnTo>
                        <a:pt x="756" y="414"/>
                      </a:lnTo>
                      <a:lnTo>
                        <a:pt x="720" y="462"/>
                      </a:lnTo>
                      <a:lnTo>
                        <a:pt x="702" y="474"/>
                      </a:lnTo>
                      <a:lnTo>
                        <a:pt x="672" y="486"/>
                      </a:lnTo>
                      <a:lnTo>
                        <a:pt x="648" y="474"/>
                      </a:lnTo>
                      <a:lnTo>
                        <a:pt x="588" y="480"/>
                      </a:lnTo>
                      <a:lnTo>
                        <a:pt x="540" y="456"/>
                      </a:lnTo>
                      <a:lnTo>
                        <a:pt x="444" y="450"/>
                      </a:lnTo>
                      <a:lnTo>
                        <a:pt x="384" y="468"/>
                      </a:lnTo>
                      <a:lnTo>
                        <a:pt x="306" y="456"/>
                      </a:lnTo>
                      <a:lnTo>
                        <a:pt x="276" y="516"/>
                      </a:lnTo>
                      <a:lnTo>
                        <a:pt x="282" y="606"/>
                      </a:lnTo>
                      <a:lnTo>
                        <a:pt x="258" y="600"/>
                      </a:lnTo>
                      <a:lnTo>
                        <a:pt x="162" y="600"/>
                      </a:lnTo>
                      <a:lnTo>
                        <a:pt x="78" y="618"/>
                      </a:lnTo>
                      <a:lnTo>
                        <a:pt x="0" y="564"/>
                      </a:lnTo>
                      <a:lnTo>
                        <a:pt x="0" y="564"/>
                      </a:lnTo>
                      <a:lnTo>
                        <a:pt x="18" y="450"/>
                      </a:lnTo>
                      <a:lnTo>
                        <a:pt x="66" y="384"/>
                      </a:lnTo>
                      <a:lnTo>
                        <a:pt x="72" y="330"/>
                      </a:lnTo>
                      <a:lnTo>
                        <a:pt x="108" y="312"/>
                      </a:lnTo>
                      <a:lnTo>
                        <a:pt x="132" y="234"/>
                      </a:lnTo>
                      <a:lnTo>
                        <a:pt x="216" y="222"/>
                      </a:lnTo>
                      <a:lnTo>
                        <a:pt x="276" y="156"/>
                      </a:lnTo>
                      <a:lnTo>
                        <a:pt x="342" y="138"/>
                      </a:lnTo>
                      <a:lnTo>
                        <a:pt x="378" y="84"/>
                      </a:lnTo>
                      <a:lnTo>
                        <a:pt x="444" y="54"/>
                      </a:lnTo>
                      <a:lnTo>
                        <a:pt x="510" y="18"/>
                      </a:lnTo>
                      <a:lnTo>
                        <a:pt x="588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39" name="Freeform 200">
                  <a:extLst>
                    <a:ext uri="{FF2B5EF4-FFF2-40B4-BE49-F238E27FC236}">
                      <a16:creationId xmlns:a16="http://schemas.microsoft.com/office/drawing/2014/main" id="{3F36E847-184E-482E-A7A1-9BEE2AC72D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95" y="3282"/>
                  <a:ext cx="234" cy="138"/>
                </a:xfrm>
                <a:custGeom>
                  <a:avLst/>
                  <a:gdLst>
                    <a:gd name="T0" fmla="*/ 234 w 234"/>
                    <a:gd name="T1" fmla="*/ 12 h 138"/>
                    <a:gd name="T2" fmla="*/ 234 w 234"/>
                    <a:gd name="T3" fmla="*/ 18 h 138"/>
                    <a:gd name="T4" fmla="*/ 234 w 234"/>
                    <a:gd name="T5" fmla="*/ 18 h 138"/>
                    <a:gd name="T6" fmla="*/ 234 w 234"/>
                    <a:gd name="T7" fmla="*/ 12 h 138"/>
                    <a:gd name="T8" fmla="*/ 132 w 234"/>
                    <a:gd name="T9" fmla="*/ 0 h 138"/>
                    <a:gd name="T10" fmla="*/ 234 w 234"/>
                    <a:gd name="T11" fmla="*/ 18 h 138"/>
                    <a:gd name="T12" fmla="*/ 222 w 234"/>
                    <a:gd name="T13" fmla="*/ 138 h 138"/>
                    <a:gd name="T14" fmla="*/ 102 w 234"/>
                    <a:gd name="T15" fmla="*/ 132 h 138"/>
                    <a:gd name="T16" fmla="*/ 6 w 234"/>
                    <a:gd name="T17" fmla="*/ 132 h 138"/>
                    <a:gd name="T18" fmla="*/ 0 w 234"/>
                    <a:gd name="T19" fmla="*/ 132 h 138"/>
                    <a:gd name="T20" fmla="*/ 6 w 234"/>
                    <a:gd name="T21" fmla="*/ 108 h 138"/>
                    <a:gd name="T22" fmla="*/ 12 w 234"/>
                    <a:gd name="T23" fmla="*/ 96 h 138"/>
                    <a:gd name="T24" fmla="*/ 18 w 234"/>
                    <a:gd name="T25" fmla="*/ 84 h 138"/>
                    <a:gd name="T26" fmla="*/ 30 w 234"/>
                    <a:gd name="T27" fmla="*/ 72 h 138"/>
                    <a:gd name="T28" fmla="*/ 42 w 234"/>
                    <a:gd name="T29" fmla="*/ 60 h 138"/>
                    <a:gd name="T30" fmla="*/ 48 w 234"/>
                    <a:gd name="T31" fmla="*/ 54 h 138"/>
                    <a:gd name="T32" fmla="*/ 54 w 234"/>
                    <a:gd name="T33" fmla="*/ 42 h 138"/>
                    <a:gd name="T34" fmla="*/ 54 w 234"/>
                    <a:gd name="T35" fmla="*/ 24 h 138"/>
                    <a:gd name="T36" fmla="*/ 60 w 234"/>
                    <a:gd name="T37" fmla="*/ 12 h 138"/>
                    <a:gd name="T38" fmla="*/ 132 w 234"/>
                    <a:gd name="T39" fmla="*/ 0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34" h="138">
                      <a:moveTo>
                        <a:pt x="234" y="12"/>
                      </a:moveTo>
                      <a:lnTo>
                        <a:pt x="234" y="18"/>
                      </a:lnTo>
                      <a:lnTo>
                        <a:pt x="234" y="18"/>
                      </a:lnTo>
                      <a:lnTo>
                        <a:pt x="234" y="12"/>
                      </a:lnTo>
                      <a:close/>
                      <a:moveTo>
                        <a:pt x="132" y="0"/>
                      </a:moveTo>
                      <a:lnTo>
                        <a:pt x="234" y="18"/>
                      </a:lnTo>
                      <a:lnTo>
                        <a:pt x="222" y="138"/>
                      </a:lnTo>
                      <a:lnTo>
                        <a:pt x="102" y="132"/>
                      </a:lnTo>
                      <a:lnTo>
                        <a:pt x="6" y="132"/>
                      </a:lnTo>
                      <a:lnTo>
                        <a:pt x="0" y="132"/>
                      </a:lnTo>
                      <a:lnTo>
                        <a:pt x="6" y="108"/>
                      </a:lnTo>
                      <a:lnTo>
                        <a:pt x="12" y="96"/>
                      </a:lnTo>
                      <a:lnTo>
                        <a:pt x="18" y="84"/>
                      </a:lnTo>
                      <a:lnTo>
                        <a:pt x="30" y="72"/>
                      </a:lnTo>
                      <a:lnTo>
                        <a:pt x="42" y="60"/>
                      </a:lnTo>
                      <a:lnTo>
                        <a:pt x="48" y="54"/>
                      </a:lnTo>
                      <a:lnTo>
                        <a:pt x="54" y="42"/>
                      </a:lnTo>
                      <a:lnTo>
                        <a:pt x="54" y="24"/>
                      </a:lnTo>
                      <a:lnTo>
                        <a:pt x="60" y="12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40" name="Freeform 201">
                  <a:extLst>
                    <a:ext uri="{FF2B5EF4-FFF2-40B4-BE49-F238E27FC236}">
                      <a16:creationId xmlns:a16="http://schemas.microsoft.com/office/drawing/2014/main" id="{BC08739A-A22A-46E2-A33A-6AEF5CD5B3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5" y="2262"/>
                  <a:ext cx="444" cy="714"/>
                </a:xfrm>
                <a:custGeom>
                  <a:avLst/>
                  <a:gdLst>
                    <a:gd name="T0" fmla="*/ 174 w 444"/>
                    <a:gd name="T1" fmla="*/ 0 h 714"/>
                    <a:gd name="T2" fmla="*/ 270 w 444"/>
                    <a:gd name="T3" fmla="*/ 6 h 714"/>
                    <a:gd name="T4" fmla="*/ 318 w 444"/>
                    <a:gd name="T5" fmla="*/ 30 h 714"/>
                    <a:gd name="T6" fmla="*/ 378 w 444"/>
                    <a:gd name="T7" fmla="*/ 24 h 714"/>
                    <a:gd name="T8" fmla="*/ 402 w 444"/>
                    <a:gd name="T9" fmla="*/ 36 h 714"/>
                    <a:gd name="T10" fmla="*/ 408 w 444"/>
                    <a:gd name="T11" fmla="*/ 36 h 714"/>
                    <a:gd name="T12" fmla="*/ 408 w 444"/>
                    <a:gd name="T13" fmla="*/ 180 h 714"/>
                    <a:gd name="T14" fmla="*/ 420 w 444"/>
                    <a:gd name="T15" fmla="*/ 258 h 714"/>
                    <a:gd name="T16" fmla="*/ 420 w 444"/>
                    <a:gd name="T17" fmla="*/ 390 h 714"/>
                    <a:gd name="T18" fmla="*/ 432 w 444"/>
                    <a:gd name="T19" fmla="*/ 450 h 714"/>
                    <a:gd name="T20" fmla="*/ 432 w 444"/>
                    <a:gd name="T21" fmla="*/ 576 h 714"/>
                    <a:gd name="T22" fmla="*/ 444 w 444"/>
                    <a:gd name="T23" fmla="*/ 606 h 714"/>
                    <a:gd name="T24" fmla="*/ 432 w 444"/>
                    <a:gd name="T25" fmla="*/ 606 h 714"/>
                    <a:gd name="T26" fmla="*/ 426 w 444"/>
                    <a:gd name="T27" fmla="*/ 606 h 714"/>
                    <a:gd name="T28" fmla="*/ 384 w 444"/>
                    <a:gd name="T29" fmla="*/ 618 h 714"/>
                    <a:gd name="T30" fmla="*/ 336 w 444"/>
                    <a:gd name="T31" fmla="*/ 636 h 714"/>
                    <a:gd name="T32" fmla="*/ 282 w 444"/>
                    <a:gd name="T33" fmla="*/ 660 h 714"/>
                    <a:gd name="T34" fmla="*/ 216 w 444"/>
                    <a:gd name="T35" fmla="*/ 696 h 714"/>
                    <a:gd name="T36" fmla="*/ 162 w 444"/>
                    <a:gd name="T37" fmla="*/ 714 h 714"/>
                    <a:gd name="T38" fmla="*/ 108 w 444"/>
                    <a:gd name="T39" fmla="*/ 714 h 714"/>
                    <a:gd name="T40" fmla="*/ 90 w 444"/>
                    <a:gd name="T41" fmla="*/ 708 h 714"/>
                    <a:gd name="T42" fmla="*/ 72 w 444"/>
                    <a:gd name="T43" fmla="*/ 702 h 714"/>
                    <a:gd name="T44" fmla="*/ 72 w 444"/>
                    <a:gd name="T45" fmla="*/ 702 h 714"/>
                    <a:gd name="T46" fmla="*/ 48 w 444"/>
                    <a:gd name="T47" fmla="*/ 618 h 714"/>
                    <a:gd name="T48" fmla="*/ 18 w 444"/>
                    <a:gd name="T49" fmla="*/ 552 h 714"/>
                    <a:gd name="T50" fmla="*/ 0 w 444"/>
                    <a:gd name="T51" fmla="*/ 486 h 714"/>
                    <a:gd name="T52" fmla="*/ 12 w 444"/>
                    <a:gd name="T53" fmla="*/ 408 h 714"/>
                    <a:gd name="T54" fmla="*/ 42 w 444"/>
                    <a:gd name="T55" fmla="*/ 342 h 714"/>
                    <a:gd name="T56" fmla="*/ 72 w 444"/>
                    <a:gd name="T57" fmla="*/ 276 h 714"/>
                    <a:gd name="T58" fmla="*/ 48 w 444"/>
                    <a:gd name="T59" fmla="*/ 228 h 714"/>
                    <a:gd name="T60" fmla="*/ 12 w 444"/>
                    <a:gd name="T61" fmla="*/ 156 h 714"/>
                    <a:gd name="T62" fmla="*/ 6 w 444"/>
                    <a:gd name="T63" fmla="*/ 66 h 714"/>
                    <a:gd name="T64" fmla="*/ 36 w 444"/>
                    <a:gd name="T65" fmla="*/ 6 h 714"/>
                    <a:gd name="T66" fmla="*/ 114 w 444"/>
                    <a:gd name="T67" fmla="*/ 18 h 714"/>
                    <a:gd name="T68" fmla="*/ 174 w 444"/>
                    <a:gd name="T69" fmla="*/ 0 h 7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44" h="714">
                      <a:moveTo>
                        <a:pt x="174" y="0"/>
                      </a:moveTo>
                      <a:lnTo>
                        <a:pt x="270" y="6"/>
                      </a:lnTo>
                      <a:lnTo>
                        <a:pt x="318" y="30"/>
                      </a:lnTo>
                      <a:lnTo>
                        <a:pt x="378" y="24"/>
                      </a:lnTo>
                      <a:lnTo>
                        <a:pt x="402" y="36"/>
                      </a:lnTo>
                      <a:lnTo>
                        <a:pt x="408" y="36"/>
                      </a:lnTo>
                      <a:lnTo>
                        <a:pt x="408" y="180"/>
                      </a:lnTo>
                      <a:lnTo>
                        <a:pt x="420" y="258"/>
                      </a:lnTo>
                      <a:lnTo>
                        <a:pt x="420" y="390"/>
                      </a:lnTo>
                      <a:lnTo>
                        <a:pt x="432" y="450"/>
                      </a:lnTo>
                      <a:lnTo>
                        <a:pt x="432" y="576"/>
                      </a:lnTo>
                      <a:lnTo>
                        <a:pt x="444" y="606"/>
                      </a:lnTo>
                      <a:lnTo>
                        <a:pt x="432" y="606"/>
                      </a:lnTo>
                      <a:lnTo>
                        <a:pt x="426" y="606"/>
                      </a:lnTo>
                      <a:lnTo>
                        <a:pt x="384" y="618"/>
                      </a:lnTo>
                      <a:lnTo>
                        <a:pt x="336" y="636"/>
                      </a:lnTo>
                      <a:lnTo>
                        <a:pt x="282" y="660"/>
                      </a:lnTo>
                      <a:lnTo>
                        <a:pt x="216" y="696"/>
                      </a:lnTo>
                      <a:lnTo>
                        <a:pt x="162" y="714"/>
                      </a:lnTo>
                      <a:lnTo>
                        <a:pt x="108" y="714"/>
                      </a:lnTo>
                      <a:lnTo>
                        <a:pt x="90" y="708"/>
                      </a:lnTo>
                      <a:lnTo>
                        <a:pt x="72" y="702"/>
                      </a:lnTo>
                      <a:lnTo>
                        <a:pt x="72" y="702"/>
                      </a:lnTo>
                      <a:lnTo>
                        <a:pt x="48" y="618"/>
                      </a:lnTo>
                      <a:lnTo>
                        <a:pt x="18" y="552"/>
                      </a:lnTo>
                      <a:lnTo>
                        <a:pt x="0" y="486"/>
                      </a:lnTo>
                      <a:lnTo>
                        <a:pt x="12" y="408"/>
                      </a:lnTo>
                      <a:lnTo>
                        <a:pt x="42" y="342"/>
                      </a:lnTo>
                      <a:lnTo>
                        <a:pt x="72" y="276"/>
                      </a:lnTo>
                      <a:lnTo>
                        <a:pt x="48" y="228"/>
                      </a:lnTo>
                      <a:lnTo>
                        <a:pt x="12" y="156"/>
                      </a:lnTo>
                      <a:lnTo>
                        <a:pt x="6" y="66"/>
                      </a:lnTo>
                      <a:lnTo>
                        <a:pt x="36" y="6"/>
                      </a:lnTo>
                      <a:lnTo>
                        <a:pt x="114" y="18"/>
                      </a:lnTo>
                      <a:lnTo>
                        <a:pt x="17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41" name="Freeform 202">
                  <a:extLst>
                    <a:ext uri="{FF2B5EF4-FFF2-40B4-BE49-F238E27FC236}">
                      <a16:creationId xmlns:a16="http://schemas.microsoft.com/office/drawing/2014/main" id="{7D7472CE-8D95-4CCB-97A0-31CE0ED9C7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5" y="810"/>
                  <a:ext cx="1716" cy="1344"/>
                </a:xfrm>
                <a:custGeom>
                  <a:avLst/>
                  <a:gdLst>
                    <a:gd name="T0" fmla="*/ 360 w 1716"/>
                    <a:gd name="T1" fmla="*/ 1344 h 1344"/>
                    <a:gd name="T2" fmla="*/ 354 w 1716"/>
                    <a:gd name="T3" fmla="*/ 1344 h 1344"/>
                    <a:gd name="T4" fmla="*/ 1320 w 1716"/>
                    <a:gd name="T5" fmla="*/ 18 h 1344"/>
                    <a:gd name="T6" fmla="*/ 1434 w 1716"/>
                    <a:gd name="T7" fmla="*/ 30 h 1344"/>
                    <a:gd name="T8" fmla="*/ 1602 w 1716"/>
                    <a:gd name="T9" fmla="*/ 96 h 1344"/>
                    <a:gd name="T10" fmla="*/ 1650 w 1716"/>
                    <a:gd name="T11" fmla="*/ 300 h 1344"/>
                    <a:gd name="T12" fmla="*/ 1716 w 1716"/>
                    <a:gd name="T13" fmla="*/ 438 h 1344"/>
                    <a:gd name="T14" fmla="*/ 1680 w 1716"/>
                    <a:gd name="T15" fmla="*/ 558 h 1344"/>
                    <a:gd name="T16" fmla="*/ 1668 w 1716"/>
                    <a:gd name="T17" fmla="*/ 786 h 1344"/>
                    <a:gd name="T18" fmla="*/ 1554 w 1716"/>
                    <a:gd name="T19" fmla="*/ 900 h 1344"/>
                    <a:gd name="T20" fmla="*/ 1482 w 1716"/>
                    <a:gd name="T21" fmla="*/ 1044 h 1344"/>
                    <a:gd name="T22" fmla="*/ 1392 w 1716"/>
                    <a:gd name="T23" fmla="*/ 1182 h 1344"/>
                    <a:gd name="T24" fmla="*/ 1212 w 1716"/>
                    <a:gd name="T25" fmla="*/ 1242 h 1344"/>
                    <a:gd name="T26" fmla="*/ 1098 w 1716"/>
                    <a:gd name="T27" fmla="*/ 1224 h 1344"/>
                    <a:gd name="T28" fmla="*/ 966 w 1716"/>
                    <a:gd name="T29" fmla="*/ 1290 h 1344"/>
                    <a:gd name="T30" fmla="*/ 858 w 1716"/>
                    <a:gd name="T31" fmla="*/ 1224 h 1344"/>
                    <a:gd name="T32" fmla="*/ 774 w 1716"/>
                    <a:gd name="T33" fmla="*/ 1230 h 1344"/>
                    <a:gd name="T34" fmla="*/ 672 w 1716"/>
                    <a:gd name="T35" fmla="*/ 1170 h 1344"/>
                    <a:gd name="T36" fmla="*/ 510 w 1716"/>
                    <a:gd name="T37" fmla="*/ 1164 h 1344"/>
                    <a:gd name="T38" fmla="*/ 432 w 1716"/>
                    <a:gd name="T39" fmla="*/ 1212 h 1344"/>
                    <a:gd name="T40" fmla="*/ 384 w 1716"/>
                    <a:gd name="T41" fmla="*/ 1302 h 1344"/>
                    <a:gd name="T42" fmla="*/ 318 w 1716"/>
                    <a:gd name="T43" fmla="*/ 1320 h 1344"/>
                    <a:gd name="T44" fmla="*/ 258 w 1716"/>
                    <a:gd name="T45" fmla="*/ 1332 h 1344"/>
                    <a:gd name="T46" fmla="*/ 180 w 1716"/>
                    <a:gd name="T47" fmla="*/ 1266 h 1344"/>
                    <a:gd name="T48" fmla="*/ 78 w 1716"/>
                    <a:gd name="T49" fmla="*/ 1188 h 1344"/>
                    <a:gd name="T50" fmla="*/ 6 w 1716"/>
                    <a:gd name="T51" fmla="*/ 1104 h 1344"/>
                    <a:gd name="T52" fmla="*/ 84 w 1716"/>
                    <a:gd name="T53" fmla="*/ 990 h 1344"/>
                    <a:gd name="T54" fmla="*/ 192 w 1716"/>
                    <a:gd name="T55" fmla="*/ 978 h 1344"/>
                    <a:gd name="T56" fmla="*/ 390 w 1716"/>
                    <a:gd name="T57" fmla="*/ 954 h 1344"/>
                    <a:gd name="T58" fmla="*/ 438 w 1716"/>
                    <a:gd name="T59" fmla="*/ 738 h 1344"/>
                    <a:gd name="T60" fmla="*/ 444 w 1716"/>
                    <a:gd name="T61" fmla="*/ 534 h 1344"/>
                    <a:gd name="T62" fmla="*/ 1254 w 1716"/>
                    <a:gd name="T63" fmla="*/ 0 h 13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716" h="1344">
                      <a:moveTo>
                        <a:pt x="354" y="1344"/>
                      </a:moveTo>
                      <a:lnTo>
                        <a:pt x="360" y="1344"/>
                      </a:lnTo>
                      <a:lnTo>
                        <a:pt x="354" y="1344"/>
                      </a:lnTo>
                      <a:lnTo>
                        <a:pt x="354" y="1344"/>
                      </a:lnTo>
                      <a:close/>
                      <a:moveTo>
                        <a:pt x="1254" y="0"/>
                      </a:moveTo>
                      <a:lnTo>
                        <a:pt x="1320" y="18"/>
                      </a:lnTo>
                      <a:lnTo>
                        <a:pt x="1380" y="18"/>
                      </a:lnTo>
                      <a:lnTo>
                        <a:pt x="1434" y="30"/>
                      </a:lnTo>
                      <a:lnTo>
                        <a:pt x="1530" y="138"/>
                      </a:lnTo>
                      <a:lnTo>
                        <a:pt x="1602" y="96"/>
                      </a:lnTo>
                      <a:lnTo>
                        <a:pt x="1650" y="156"/>
                      </a:lnTo>
                      <a:lnTo>
                        <a:pt x="1650" y="300"/>
                      </a:lnTo>
                      <a:lnTo>
                        <a:pt x="1692" y="348"/>
                      </a:lnTo>
                      <a:lnTo>
                        <a:pt x="1716" y="438"/>
                      </a:lnTo>
                      <a:lnTo>
                        <a:pt x="1716" y="498"/>
                      </a:lnTo>
                      <a:lnTo>
                        <a:pt x="1680" y="558"/>
                      </a:lnTo>
                      <a:lnTo>
                        <a:pt x="1680" y="690"/>
                      </a:lnTo>
                      <a:lnTo>
                        <a:pt x="1668" y="786"/>
                      </a:lnTo>
                      <a:lnTo>
                        <a:pt x="1626" y="840"/>
                      </a:lnTo>
                      <a:lnTo>
                        <a:pt x="1554" y="900"/>
                      </a:lnTo>
                      <a:lnTo>
                        <a:pt x="1470" y="954"/>
                      </a:lnTo>
                      <a:lnTo>
                        <a:pt x="1482" y="1044"/>
                      </a:lnTo>
                      <a:lnTo>
                        <a:pt x="1458" y="1152"/>
                      </a:lnTo>
                      <a:lnTo>
                        <a:pt x="1392" y="1182"/>
                      </a:lnTo>
                      <a:lnTo>
                        <a:pt x="1326" y="1212"/>
                      </a:lnTo>
                      <a:lnTo>
                        <a:pt x="1212" y="1242"/>
                      </a:lnTo>
                      <a:lnTo>
                        <a:pt x="1158" y="1224"/>
                      </a:lnTo>
                      <a:lnTo>
                        <a:pt x="1098" y="1224"/>
                      </a:lnTo>
                      <a:lnTo>
                        <a:pt x="1026" y="1278"/>
                      </a:lnTo>
                      <a:lnTo>
                        <a:pt x="966" y="1290"/>
                      </a:lnTo>
                      <a:lnTo>
                        <a:pt x="918" y="1254"/>
                      </a:lnTo>
                      <a:lnTo>
                        <a:pt x="858" y="1224"/>
                      </a:lnTo>
                      <a:lnTo>
                        <a:pt x="810" y="1212"/>
                      </a:lnTo>
                      <a:lnTo>
                        <a:pt x="774" y="1230"/>
                      </a:lnTo>
                      <a:lnTo>
                        <a:pt x="714" y="1236"/>
                      </a:lnTo>
                      <a:lnTo>
                        <a:pt x="672" y="1170"/>
                      </a:lnTo>
                      <a:lnTo>
                        <a:pt x="582" y="1164"/>
                      </a:lnTo>
                      <a:lnTo>
                        <a:pt x="510" y="1164"/>
                      </a:lnTo>
                      <a:lnTo>
                        <a:pt x="444" y="1176"/>
                      </a:lnTo>
                      <a:lnTo>
                        <a:pt x="432" y="1212"/>
                      </a:lnTo>
                      <a:lnTo>
                        <a:pt x="414" y="1284"/>
                      </a:lnTo>
                      <a:lnTo>
                        <a:pt x="384" y="1302"/>
                      </a:lnTo>
                      <a:lnTo>
                        <a:pt x="354" y="1344"/>
                      </a:lnTo>
                      <a:lnTo>
                        <a:pt x="318" y="1320"/>
                      </a:lnTo>
                      <a:lnTo>
                        <a:pt x="258" y="1332"/>
                      </a:lnTo>
                      <a:lnTo>
                        <a:pt x="258" y="1332"/>
                      </a:lnTo>
                      <a:lnTo>
                        <a:pt x="204" y="1290"/>
                      </a:lnTo>
                      <a:lnTo>
                        <a:pt x="180" y="1266"/>
                      </a:lnTo>
                      <a:lnTo>
                        <a:pt x="120" y="1266"/>
                      </a:lnTo>
                      <a:lnTo>
                        <a:pt x="78" y="1188"/>
                      </a:lnTo>
                      <a:lnTo>
                        <a:pt x="30" y="1152"/>
                      </a:lnTo>
                      <a:lnTo>
                        <a:pt x="6" y="1104"/>
                      </a:lnTo>
                      <a:lnTo>
                        <a:pt x="0" y="1020"/>
                      </a:lnTo>
                      <a:lnTo>
                        <a:pt x="84" y="990"/>
                      </a:lnTo>
                      <a:lnTo>
                        <a:pt x="126" y="966"/>
                      </a:lnTo>
                      <a:lnTo>
                        <a:pt x="192" y="978"/>
                      </a:lnTo>
                      <a:lnTo>
                        <a:pt x="270" y="954"/>
                      </a:lnTo>
                      <a:lnTo>
                        <a:pt x="390" y="954"/>
                      </a:lnTo>
                      <a:lnTo>
                        <a:pt x="426" y="840"/>
                      </a:lnTo>
                      <a:lnTo>
                        <a:pt x="438" y="738"/>
                      </a:lnTo>
                      <a:lnTo>
                        <a:pt x="438" y="630"/>
                      </a:lnTo>
                      <a:lnTo>
                        <a:pt x="444" y="534"/>
                      </a:lnTo>
                      <a:lnTo>
                        <a:pt x="588" y="504"/>
                      </a:lnTo>
                      <a:lnTo>
                        <a:pt x="125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42" name="Freeform 203">
                  <a:extLst>
                    <a:ext uri="{FF2B5EF4-FFF2-40B4-BE49-F238E27FC236}">
                      <a16:creationId xmlns:a16="http://schemas.microsoft.com/office/drawing/2014/main" id="{59C35B51-7041-4152-9CAA-E2B62F9CCA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" y="2262"/>
                  <a:ext cx="1428" cy="936"/>
                </a:xfrm>
                <a:custGeom>
                  <a:avLst/>
                  <a:gdLst>
                    <a:gd name="T0" fmla="*/ 942 w 1428"/>
                    <a:gd name="T1" fmla="*/ 48 h 936"/>
                    <a:gd name="T2" fmla="*/ 1038 w 1428"/>
                    <a:gd name="T3" fmla="*/ 102 h 936"/>
                    <a:gd name="T4" fmla="*/ 1002 w 1428"/>
                    <a:gd name="T5" fmla="*/ 210 h 936"/>
                    <a:gd name="T6" fmla="*/ 1092 w 1428"/>
                    <a:gd name="T7" fmla="*/ 294 h 936"/>
                    <a:gd name="T8" fmla="*/ 1218 w 1428"/>
                    <a:gd name="T9" fmla="*/ 384 h 936"/>
                    <a:gd name="T10" fmla="*/ 1314 w 1428"/>
                    <a:gd name="T11" fmla="*/ 504 h 936"/>
                    <a:gd name="T12" fmla="*/ 1428 w 1428"/>
                    <a:gd name="T13" fmla="*/ 654 h 936"/>
                    <a:gd name="T14" fmla="*/ 1170 w 1428"/>
                    <a:gd name="T15" fmla="*/ 666 h 936"/>
                    <a:gd name="T16" fmla="*/ 1020 w 1428"/>
                    <a:gd name="T17" fmla="*/ 684 h 936"/>
                    <a:gd name="T18" fmla="*/ 870 w 1428"/>
                    <a:gd name="T19" fmla="*/ 780 h 936"/>
                    <a:gd name="T20" fmla="*/ 798 w 1428"/>
                    <a:gd name="T21" fmla="*/ 804 h 936"/>
                    <a:gd name="T22" fmla="*/ 750 w 1428"/>
                    <a:gd name="T23" fmla="*/ 774 h 936"/>
                    <a:gd name="T24" fmla="*/ 708 w 1428"/>
                    <a:gd name="T25" fmla="*/ 762 h 936"/>
                    <a:gd name="T26" fmla="*/ 660 w 1428"/>
                    <a:gd name="T27" fmla="*/ 762 h 936"/>
                    <a:gd name="T28" fmla="*/ 618 w 1428"/>
                    <a:gd name="T29" fmla="*/ 750 h 936"/>
                    <a:gd name="T30" fmla="*/ 588 w 1428"/>
                    <a:gd name="T31" fmla="*/ 714 h 936"/>
                    <a:gd name="T32" fmla="*/ 534 w 1428"/>
                    <a:gd name="T33" fmla="*/ 684 h 936"/>
                    <a:gd name="T34" fmla="*/ 486 w 1428"/>
                    <a:gd name="T35" fmla="*/ 702 h 936"/>
                    <a:gd name="T36" fmla="*/ 480 w 1428"/>
                    <a:gd name="T37" fmla="*/ 732 h 936"/>
                    <a:gd name="T38" fmla="*/ 462 w 1428"/>
                    <a:gd name="T39" fmla="*/ 750 h 936"/>
                    <a:gd name="T40" fmla="*/ 432 w 1428"/>
                    <a:gd name="T41" fmla="*/ 756 h 936"/>
                    <a:gd name="T42" fmla="*/ 402 w 1428"/>
                    <a:gd name="T43" fmla="*/ 780 h 936"/>
                    <a:gd name="T44" fmla="*/ 408 w 1428"/>
                    <a:gd name="T45" fmla="*/ 840 h 936"/>
                    <a:gd name="T46" fmla="*/ 414 w 1428"/>
                    <a:gd name="T47" fmla="*/ 882 h 936"/>
                    <a:gd name="T48" fmla="*/ 294 w 1428"/>
                    <a:gd name="T49" fmla="*/ 858 h 936"/>
                    <a:gd name="T50" fmla="*/ 234 w 1428"/>
                    <a:gd name="T51" fmla="*/ 924 h 936"/>
                    <a:gd name="T52" fmla="*/ 96 w 1428"/>
                    <a:gd name="T53" fmla="*/ 876 h 936"/>
                    <a:gd name="T54" fmla="*/ 30 w 1428"/>
                    <a:gd name="T55" fmla="*/ 780 h 936"/>
                    <a:gd name="T56" fmla="*/ 0 w 1428"/>
                    <a:gd name="T57" fmla="*/ 672 h 936"/>
                    <a:gd name="T58" fmla="*/ 60 w 1428"/>
                    <a:gd name="T59" fmla="*/ 504 h 936"/>
                    <a:gd name="T60" fmla="*/ 120 w 1428"/>
                    <a:gd name="T61" fmla="*/ 402 h 936"/>
                    <a:gd name="T62" fmla="*/ 288 w 1428"/>
                    <a:gd name="T63" fmla="*/ 390 h 936"/>
                    <a:gd name="T64" fmla="*/ 432 w 1428"/>
                    <a:gd name="T65" fmla="*/ 330 h 936"/>
                    <a:gd name="T66" fmla="*/ 498 w 1428"/>
                    <a:gd name="T67" fmla="*/ 246 h 936"/>
                    <a:gd name="T68" fmla="*/ 648 w 1428"/>
                    <a:gd name="T69" fmla="*/ 198 h 936"/>
                    <a:gd name="T70" fmla="*/ 804 w 1428"/>
                    <a:gd name="T71" fmla="*/ 6 h 9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28" h="936">
                      <a:moveTo>
                        <a:pt x="894" y="0"/>
                      </a:moveTo>
                      <a:lnTo>
                        <a:pt x="942" y="48"/>
                      </a:lnTo>
                      <a:lnTo>
                        <a:pt x="990" y="72"/>
                      </a:lnTo>
                      <a:lnTo>
                        <a:pt x="1038" y="102"/>
                      </a:lnTo>
                      <a:lnTo>
                        <a:pt x="1008" y="162"/>
                      </a:lnTo>
                      <a:lnTo>
                        <a:pt x="1002" y="210"/>
                      </a:lnTo>
                      <a:lnTo>
                        <a:pt x="1056" y="246"/>
                      </a:lnTo>
                      <a:lnTo>
                        <a:pt x="1092" y="294"/>
                      </a:lnTo>
                      <a:lnTo>
                        <a:pt x="1152" y="330"/>
                      </a:lnTo>
                      <a:lnTo>
                        <a:pt x="1218" y="384"/>
                      </a:lnTo>
                      <a:lnTo>
                        <a:pt x="1266" y="432"/>
                      </a:lnTo>
                      <a:lnTo>
                        <a:pt x="1314" y="504"/>
                      </a:lnTo>
                      <a:lnTo>
                        <a:pt x="1368" y="534"/>
                      </a:lnTo>
                      <a:lnTo>
                        <a:pt x="1428" y="654"/>
                      </a:lnTo>
                      <a:lnTo>
                        <a:pt x="1284" y="666"/>
                      </a:lnTo>
                      <a:lnTo>
                        <a:pt x="1170" y="666"/>
                      </a:lnTo>
                      <a:lnTo>
                        <a:pt x="1122" y="684"/>
                      </a:lnTo>
                      <a:lnTo>
                        <a:pt x="1020" y="684"/>
                      </a:lnTo>
                      <a:lnTo>
                        <a:pt x="906" y="714"/>
                      </a:lnTo>
                      <a:lnTo>
                        <a:pt x="870" y="780"/>
                      </a:lnTo>
                      <a:lnTo>
                        <a:pt x="834" y="798"/>
                      </a:lnTo>
                      <a:lnTo>
                        <a:pt x="798" y="804"/>
                      </a:lnTo>
                      <a:lnTo>
                        <a:pt x="768" y="786"/>
                      </a:lnTo>
                      <a:lnTo>
                        <a:pt x="750" y="774"/>
                      </a:lnTo>
                      <a:lnTo>
                        <a:pt x="732" y="768"/>
                      </a:lnTo>
                      <a:lnTo>
                        <a:pt x="708" y="762"/>
                      </a:lnTo>
                      <a:lnTo>
                        <a:pt x="684" y="762"/>
                      </a:lnTo>
                      <a:lnTo>
                        <a:pt x="660" y="762"/>
                      </a:lnTo>
                      <a:lnTo>
                        <a:pt x="636" y="756"/>
                      </a:lnTo>
                      <a:lnTo>
                        <a:pt x="618" y="750"/>
                      </a:lnTo>
                      <a:lnTo>
                        <a:pt x="600" y="738"/>
                      </a:lnTo>
                      <a:lnTo>
                        <a:pt x="588" y="714"/>
                      </a:lnTo>
                      <a:lnTo>
                        <a:pt x="564" y="690"/>
                      </a:lnTo>
                      <a:lnTo>
                        <a:pt x="534" y="684"/>
                      </a:lnTo>
                      <a:lnTo>
                        <a:pt x="504" y="684"/>
                      </a:lnTo>
                      <a:lnTo>
                        <a:pt x="486" y="702"/>
                      </a:lnTo>
                      <a:lnTo>
                        <a:pt x="480" y="714"/>
                      </a:lnTo>
                      <a:lnTo>
                        <a:pt x="480" y="732"/>
                      </a:lnTo>
                      <a:lnTo>
                        <a:pt x="474" y="744"/>
                      </a:lnTo>
                      <a:lnTo>
                        <a:pt x="462" y="750"/>
                      </a:lnTo>
                      <a:lnTo>
                        <a:pt x="450" y="756"/>
                      </a:lnTo>
                      <a:lnTo>
                        <a:pt x="432" y="756"/>
                      </a:lnTo>
                      <a:lnTo>
                        <a:pt x="408" y="762"/>
                      </a:lnTo>
                      <a:lnTo>
                        <a:pt x="402" y="780"/>
                      </a:lnTo>
                      <a:lnTo>
                        <a:pt x="402" y="804"/>
                      </a:lnTo>
                      <a:lnTo>
                        <a:pt x="408" y="840"/>
                      </a:lnTo>
                      <a:lnTo>
                        <a:pt x="414" y="870"/>
                      </a:lnTo>
                      <a:lnTo>
                        <a:pt x="414" y="882"/>
                      </a:lnTo>
                      <a:lnTo>
                        <a:pt x="348" y="858"/>
                      </a:lnTo>
                      <a:lnTo>
                        <a:pt x="294" y="858"/>
                      </a:lnTo>
                      <a:lnTo>
                        <a:pt x="246" y="870"/>
                      </a:lnTo>
                      <a:lnTo>
                        <a:pt x="234" y="924"/>
                      </a:lnTo>
                      <a:lnTo>
                        <a:pt x="204" y="936"/>
                      </a:lnTo>
                      <a:lnTo>
                        <a:pt x="96" y="876"/>
                      </a:lnTo>
                      <a:lnTo>
                        <a:pt x="60" y="798"/>
                      </a:lnTo>
                      <a:lnTo>
                        <a:pt x="30" y="780"/>
                      </a:lnTo>
                      <a:lnTo>
                        <a:pt x="42" y="708"/>
                      </a:lnTo>
                      <a:lnTo>
                        <a:pt x="0" y="672"/>
                      </a:lnTo>
                      <a:lnTo>
                        <a:pt x="18" y="564"/>
                      </a:lnTo>
                      <a:lnTo>
                        <a:pt x="60" y="504"/>
                      </a:lnTo>
                      <a:lnTo>
                        <a:pt x="66" y="438"/>
                      </a:lnTo>
                      <a:lnTo>
                        <a:pt x="120" y="402"/>
                      </a:lnTo>
                      <a:lnTo>
                        <a:pt x="210" y="402"/>
                      </a:lnTo>
                      <a:lnTo>
                        <a:pt x="288" y="390"/>
                      </a:lnTo>
                      <a:lnTo>
                        <a:pt x="342" y="360"/>
                      </a:lnTo>
                      <a:lnTo>
                        <a:pt x="432" y="330"/>
                      </a:lnTo>
                      <a:lnTo>
                        <a:pt x="444" y="264"/>
                      </a:lnTo>
                      <a:lnTo>
                        <a:pt x="498" y="246"/>
                      </a:lnTo>
                      <a:lnTo>
                        <a:pt x="582" y="234"/>
                      </a:lnTo>
                      <a:lnTo>
                        <a:pt x="648" y="198"/>
                      </a:lnTo>
                      <a:lnTo>
                        <a:pt x="750" y="84"/>
                      </a:lnTo>
                      <a:lnTo>
                        <a:pt x="804" y="6"/>
                      </a:lnTo>
                      <a:lnTo>
                        <a:pt x="894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43" name="Freeform 204">
                  <a:extLst>
                    <a:ext uri="{FF2B5EF4-FFF2-40B4-BE49-F238E27FC236}">
                      <a16:creationId xmlns:a16="http://schemas.microsoft.com/office/drawing/2014/main" id="{718AA3E7-589B-4AA8-A833-2967136E2B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" y="1956"/>
                  <a:ext cx="1284" cy="1062"/>
                </a:xfrm>
                <a:custGeom>
                  <a:avLst/>
                  <a:gdLst>
                    <a:gd name="T0" fmla="*/ 1254 w 1284"/>
                    <a:gd name="T1" fmla="*/ 78 h 1062"/>
                    <a:gd name="T2" fmla="*/ 1254 w 1284"/>
                    <a:gd name="T3" fmla="*/ 162 h 1062"/>
                    <a:gd name="T4" fmla="*/ 1266 w 1284"/>
                    <a:gd name="T5" fmla="*/ 252 h 1062"/>
                    <a:gd name="T6" fmla="*/ 1218 w 1284"/>
                    <a:gd name="T7" fmla="*/ 366 h 1062"/>
                    <a:gd name="T8" fmla="*/ 1158 w 1284"/>
                    <a:gd name="T9" fmla="*/ 456 h 1062"/>
                    <a:gd name="T10" fmla="*/ 1146 w 1284"/>
                    <a:gd name="T11" fmla="*/ 480 h 1062"/>
                    <a:gd name="T12" fmla="*/ 1140 w 1284"/>
                    <a:gd name="T13" fmla="*/ 510 h 1062"/>
                    <a:gd name="T14" fmla="*/ 1128 w 1284"/>
                    <a:gd name="T15" fmla="*/ 534 h 1062"/>
                    <a:gd name="T16" fmla="*/ 1122 w 1284"/>
                    <a:gd name="T17" fmla="*/ 540 h 1062"/>
                    <a:gd name="T18" fmla="*/ 1110 w 1284"/>
                    <a:gd name="T19" fmla="*/ 558 h 1062"/>
                    <a:gd name="T20" fmla="*/ 1092 w 1284"/>
                    <a:gd name="T21" fmla="*/ 588 h 1062"/>
                    <a:gd name="T22" fmla="*/ 1074 w 1284"/>
                    <a:gd name="T23" fmla="*/ 612 h 1062"/>
                    <a:gd name="T24" fmla="*/ 1062 w 1284"/>
                    <a:gd name="T25" fmla="*/ 618 h 1062"/>
                    <a:gd name="T26" fmla="*/ 960 w 1284"/>
                    <a:gd name="T27" fmla="*/ 798 h 1062"/>
                    <a:gd name="T28" fmla="*/ 828 w 1284"/>
                    <a:gd name="T29" fmla="*/ 774 h 1062"/>
                    <a:gd name="T30" fmla="*/ 708 w 1284"/>
                    <a:gd name="T31" fmla="*/ 852 h 1062"/>
                    <a:gd name="T32" fmla="*/ 690 w 1284"/>
                    <a:gd name="T33" fmla="*/ 972 h 1062"/>
                    <a:gd name="T34" fmla="*/ 618 w 1284"/>
                    <a:gd name="T35" fmla="*/ 1056 h 1062"/>
                    <a:gd name="T36" fmla="*/ 540 w 1284"/>
                    <a:gd name="T37" fmla="*/ 1062 h 1062"/>
                    <a:gd name="T38" fmla="*/ 510 w 1284"/>
                    <a:gd name="T39" fmla="*/ 1056 h 1062"/>
                    <a:gd name="T40" fmla="*/ 498 w 1284"/>
                    <a:gd name="T41" fmla="*/ 1050 h 1062"/>
                    <a:gd name="T42" fmla="*/ 468 w 1284"/>
                    <a:gd name="T43" fmla="*/ 1056 h 1062"/>
                    <a:gd name="T44" fmla="*/ 390 w 1284"/>
                    <a:gd name="T45" fmla="*/ 1062 h 1062"/>
                    <a:gd name="T46" fmla="*/ 336 w 1284"/>
                    <a:gd name="T47" fmla="*/ 1008 h 1062"/>
                    <a:gd name="T48" fmla="*/ 330 w 1284"/>
                    <a:gd name="T49" fmla="*/ 984 h 1062"/>
                    <a:gd name="T50" fmla="*/ 306 w 1284"/>
                    <a:gd name="T51" fmla="*/ 972 h 1062"/>
                    <a:gd name="T52" fmla="*/ 276 w 1284"/>
                    <a:gd name="T53" fmla="*/ 966 h 1062"/>
                    <a:gd name="T54" fmla="*/ 258 w 1284"/>
                    <a:gd name="T55" fmla="*/ 954 h 1062"/>
                    <a:gd name="T56" fmla="*/ 252 w 1284"/>
                    <a:gd name="T57" fmla="*/ 924 h 1062"/>
                    <a:gd name="T58" fmla="*/ 228 w 1284"/>
                    <a:gd name="T59" fmla="*/ 894 h 1062"/>
                    <a:gd name="T60" fmla="*/ 138 w 1284"/>
                    <a:gd name="T61" fmla="*/ 852 h 1062"/>
                    <a:gd name="T62" fmla="*/ 48 w 1284"/>
                    <a:gd name="T63" fmla="*/ 852 h 1062"/>
                    <a:gd name="T64" fmla="*/ 0 w 1284"/>
                    <a:gd name="T65" fmla="*/ 858 h 1062"/>
                    <a:gd name="T66" fmla="*/ 12 w 1284"/>
                    <a:gd name="T67" fmla="*/ 756 h 1062"/>
                    <a:gd name="T68" fmla="*/ 0 w 1284"/>
                    <a:gd name="T69" fmla="*/ 648 h 1062"/>
                    <a:gd name="T70" fmla="*/ 42 w 1284"/>
                    <a:gd name="T71" fmla="*/ 540 h 1062"/>
                    <a:gd name="T72" fmla="*/ 126 w 1284"/>
                    <a:gd name="T73" fmla="*/ 420 h 1062"/>
                    <a:gd name="T74" fmla="*/ 126 w 1284"/>
                    <a:gd name="T75" fmla="*/ 282 h 1062"/>
                    <a:gd name="T76" fmla="*/ 102 w 1284"/>
                    <a:gd name="T77" fmla="*/ 192 h 1062"/>
                    <a:gd name="T78" fmla="*/ 126 w 1284"/>
                    <a:gd name="T79" fmla="*/ 150 h 1062"/>
                    <a:gd name="T80" fmla="*/ 174 w 1284"/>
                    <a:gd name="T81" fmla="*/ 60 h 1062"/>
                    <a:gd name="T82" fmla="*/ 252 w 1284"/>
                    <a:gd name="T83" fmla="*/ 12 h 1062"/>
                    <a:gd name="T84" fmla="*/ 414 w 1284"/>
                    <a:gd name="T85" fmla="*/ 18 h 1062"/>
                    <a:gd name="T86" fmla="*/ 516 w 1284"/>
                    <a:gd name="T87" fmla="*/ 78 h 1062"/>
                    <a:gd name="T88" fmla="*/ 600 w 1284"/>
                    <a:gd name="T89" fmla="*/ 72 h 1062"/>
                    <a:gd name="T90" fmla="*/ 708 w 1284"/>
                    <a:gd name="T91" fmla="*/ 138 h 1062"/>
                    <a:gd name="T92" fmla="*/ 840 w 1284"/>
                    <a:gd name="T93" fmla="*/ 72 h 1062"/>
                    <a:gd name="T94" fmla="*/ 954 w 1284"/>
                    <a:gd name="T95" fmla="*/ 90 h 1062"/>
                    <a:gd name="T96" fmla="*/ 1134 w 1284"/>
                    <a:gd name="T97" fmla="*/ 30 h 10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84" h="1062">
                      <a:moveTo>
                        <a:pt x="1200" y="0"/>
                      </a:moveTo>
                      <a:lnTo>
                        <a:pt x="1254" y="78"/>
                      </a:lnTo>
                      <a:lnTo>
                        <a:pt x="1254" y="78"/>
                      </a:lnTo>
                      <a:lnTo>
                        <a:pt x="1254" y="162"/>
                      </a:lnTo>
                      <a:lnTo>
                        <a:pt x="1284" y="204"/>
                      </a:lnTo>
                      <a:lnTo>
                        <a:pt x="1266" y="252"/>
                      </a:lnTo>
                      <a:lnTo>
                        <a:pt x="1218" y="300"/>
                      </a:lnTo>
                      <a:lnTo>
                        <a:pt x="1218" y="366"/>
                      </a:lnTo>
                      <a:lnTo>
                        <a:pt x="1158" y="450"/>
                      </a:lnTo>
                      <a:lnTo>
                        <a:pt x="1158" y="456"/>
                      </a:lnTo>
                      <a:lnTo>
                        <a:pt x="1152" y="462"/>
                      </a:lnTo>
                      <a:lnTo>
                        <a:pt x="1146" y="480"/>
                      </a:lnTo>
                      <a:lnTo>
                        <a:pt x="1146" y="492"/>
                      </a:lnTo>
                      <a:lnTo>
                        <a:pt x="1140" y="510"/>
                      </a:lnTo>
                      <a:lnTo>
                        <a:pt x="1134" y="522"/>
                      </a:lnTo>
                      <a:lnTo>
                        <a:pt x="1128" y="534"/>
                      </a:lnTo>
                      <a:lnTo>
                        <a:pt x="1128" y="540"/>
                      </a:lnTo>
                      <a:lnTo>
                        <a:pt x="1122" y="540"/>
                      </a:lnTo>
                      <a:lnTo>
                        <a:pt x="1116" y="552"/>
                      </a:lnTo>
                      <a:lnTo>
                        <a:pt x="1110" y="558"/>
                      </a:lnTo>
                      <a:lnTo>
                        <a:pt x="1098" y="570"/>
                      </a:lnTo>
                      <a:lnTo>
                        <a:pt x="1092" y="588"/>
                      </a:lnTo>
                      <a:lnTo>
                        <a:pt x="1080" y="600"/>
                      </a:lnTo>
                      <a:lnTo>
                        <a:pt x="1074" y="612"/>
                      </a:lnTo>
                      <a:lnTo>
                        <a:pt x="1068" y="618"/>
                      </a:lnTo>
                      <a:lnTo>
                        <a:pt x="1062" y="618"/>
                      </a:lnTo>
                      <a:lnTo>
                        <a:pt x="1014" y="732"/>
                      </a:lnTo>
                      <a:lnTo>
                        <a:pt x="960" y="798"/>
                      </a:lnTo>
                      <a:lnTo>
                        <a:pt x="894" y="798"/>
                      </a:lnTo>
                      <a:lnTo>
                        <a:pt x="828" y="774"/>
                      </a:lnTo>
                      <a:lnTo>
                        <a:pt x="774" y="804"/>
                      </a:lnTo>
                      <a:lnTo>
                        <a:pt x="708" y="852"/>
                      </a:lnTo>
                      <a:lnTo>
                        <a:pt x="702" y="912"/>
                      </a:lnTo>
                      <a:lnTo>
                        <a:pt x="690" y="972"/>
                      </a:lnTo>
                      <a:lnTo>
                        <a:pt x="648" y="1038"/>
                      </a:lnTo>
                      <a:lnTo>
                        <a:pt x="618" y="1056"/>
                      </a:lnTo>
                      <a:lnTo>
                        <a:pt x="576" y="1062"/>
                      </a:lnTo>
                      <a:lnTo>
                        <a:pt x="540" y="1062"/>
                      </a:lnTo>
                      <a:lnTo>
                        <a:pt x="516" y="1056"/>
                      </a:lnTo>
                      <a:lnTo>
                        <a:pt x="510" y="1056"/>
                      </a:lnTo>
                      <a:lnTo>
                        <a:pt x="504" y="1050"/>
                      </a:lnTo>
                      <a:lnTo>
                        <a:pt x="498" y="1050"/>
                      </a:lnTo>
                      <a:lnTo>
                        <a:pt x="486" y="1056"/>
                      </a:lnTo>
                      <a:lnTo>
                        <a:pt x="468" y="1056"/>
                      </a:lnTo>
                      <a:lnTo>
                        <a:pt x="444" y="1062"/>
                      </a:lnTo>
                      <a:lnTo>
                        <a:pt x="390" y="1062"/>
                      </a:lnTo>
                      <a:lnTo>
                        <a:pt x="354" y="1038"/>
                      </a:lnTo>
                      <a:lnTo>
                        <a:pt x="336" y="1008"/>
                      </a:lnTo>
                      <a:lnTo>
                        <a:pt x="336" y="996"/>
                      </a:lnTo>
                      <a:lnTo>
                        <a:pt x="330" y="984"/>
                      </a:lnTo>
                      <a:lnTo>
                        <a:pt x="318" y="978"/>
                      </a:lnTo>
                      <a:lnTo>
                        <a:pt x="306" y="972"/>
                      </a:lnTo>
                      <a:lnTo>
                        <a:pt x="288" y="972"/>
                      </a:lnTo>
                      <a:lnTo>
                        <a:pt x="276" y="966"/>
                      </a:lnTo>
                      <a:lnTo>
                        <a:pt x="264" y="960"/>
                      </a:lnTo>
                      <a:lnTo>
                        <a:pt x="258" y="954"/>
                      </a:lnTo>
                      <a:lnTo>
                        <a:pt x="252" y="936"/>
                      </a:lnTo>
                      <a:lnTo>
                        <a:pt x="252" y="924"/>
                      </a:lnTo>
                      <a:lnTo>
                        <a:pt x="240" y="906"/>
                      </a:lnTo>
                      <a:lnTo>
                        <a:pt x="228" y="894"/>
                      </a:lnTo>
                      <a:lnTo>
                        <a:pt x="192" y="870"/>
                      </a:lnTo>
                      <a:lnTo>
                        <a:pt x="138" y="852"/>
                      </a:lnTo>
                      <a:lnTo>
                        <a:pt x="66" y="846"/>
                      </a:lnTo>
                      <a:lnTo>
                        <a:pt x="48" y="852"/>
                      </a:lnTo>
                      <a:lnTo>
                        <a:pt x="24" y="852"/>
                      </a:lnTo>
                      <a:lnTo>
                        <a:pt x="0" y="858"/>
                      </a:lnTo>
                      <a:lnTo>
                        <a:pt x="0" y="852"/>
                      </a:lnTo>
                      <a:lnTo>
                        <a:pt x="12" y="756"/>
                      </a:lnTo>
                      <a:lnTo>
                        <a:pt x="12" y="708"/>
                      </a:lnTo>
                      <a:lnTo>
                        <a:pt x="0" y="648"/>
                      </a:lnTo>
                      <a:lnTo>
                        <a:pt x="24" y="582"/>
                      </a:lnTo>
                      <a:lnTo>
                        <a:pt x="42" y="540"/>
                      </a:lnTo>
                      <a:lnTo>
                        <a:pt x="78" y="480"/>
                      </a:lnTo>
                      <a:lnTo>
                        <a:pt x="126" y="420"/>
                      </a:lnTo>
                      <a:lnTo>
                        <a:pt x="132" y="354"/>
                      </a:lnTo>
                      <a:lnTo>
                        <a:pt x="126" y="282"/>
                      </a:lnTo>
                      <a:lnTo>
                        <a:pt x="102" y="240"/>
                      </a:lnTo>
                      <a:lnTo>
                        <a:pt x="102" y="192"/>
                      </a:lnTo>
                      <a:lnTo>
                        <a:pt x="96" y="192"/>
                      </a:lnTo>
                      <a:lnTo>
                        <a:pt x="126" y="150"/>
                      </a:lnTo>
                      <a:lnTo>
                        <a:pt x="156" y="132"/>
                      </a:lnTo>
                      <a:lnTo>
                        <a:pt x="174" y="60"/>
                      </a:lnTo>
                      <a:lnTo>
                        <a:pt x="186" y="24"/>
                      </a:lnTo>
                      <a:lnTo>
                        <a:pt x="252" y="12"/>
                      </a:lnTo>
                      <a:lnTo>
                        <a:pt x="324" y="12"/>
                      </a:lnTo>
                      <a:lnTo>
                        <a:pt x="414" y="18"/>
                      </a:lnTo>
                      <a:lnTo>
                        <a:pt x="456" y="84"/>
                      </a:lnTo>
                      <a:lnTo>
                        <a:pt x="516" y="78"/>
                      </a:lnTo>
                      <a:lnTo>
                        <a:pt x="552" y="60"/>
                      </a:lnTo>
                      <a:lnTo>
                        <a:pt x="600" y="72"/>
                      </a:lnTo>
                      <a:lnTo>
                        <a:pt x="660" y="102"/>
                      </a:lnTo>
                      <a:lnTo>
                        <a:pt x="708" y="138"/>
                      </a:lnTo>
                      <a:lnTo>
                        <a:pt x="768" y="126"/>
                      </a:lnTo>
                      <a:lnTo>
                        <a:pt x="840" y="72"/>
                      </a:lnTo>
                      <a:lnTo>
                        <a:pt x="900" y="72"/>
                      </a:lnTo>
                      <a:lnTo>
                        <a:pt x="954" y="90"/>
                      </a:lnTo>
                      <a:lnTo>
                        <a:pt x="1068" y="60"/>
                      </a:lnTo>
                      <a:lnTo>
                        <a:pt x="1134" y="30"/>
                      </a:lnTo>
                      <a:lnTo>
                        <a:pt x="1200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  <p:sp>
              <p:nvSpPr>
                <p:cNvPr id="1144" name="Freeform 205">
                  <a:extLst>
                    <a:ext uri="{FF2B5EF4-FFF2-40B4-BE49-F238E27FC236}">
                      <a16:creationId xmlns:a16="http://schemas.microsoft.com/office/drawing/2014/main" id="{483E9276-A584-4CCB-9DFA-09B8B98177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9" y="3282"/>
                  <a:ext cx="702" cy="690"/>
                </a:xfrm>
                <a:custGeom>
                  <a:avLst/>
                  <a:gdLst>
                    <a:gd name="T0" fmla="*/ 324 w 702"/>
                    <a:gd name="T1" fmla="*/ 18 h 690"/>
                    <a:gd name="T2" fmla="*/ 324 w 702"/>
                    <a:gd name="T3" fmla="*/ 12 h 690"/>
                    <a:gd name="T4" fmla="*/ 486 w 702"/>
                    <a:gd name="T5" fmla="*/ 18 h 690"/>
                    <a:gd name="T6" fmla="*/ 546 w 702"/>
                    <a:gd name="T7" fmla="*/ 132 h 690"/>
                    <a:gd name="T8" fmla="*/ 684 w 702"/>
                    <a:gd name="T9" fmla="*/ 120 h 690"/>
                    <a:gd name="T10" fmla="*/ 600 w 702"/>
                    <a:gd name="T11" fmla="*/ 198 h 690"/>
                    <a:gd name="T12" fmla="*/ 678 w 702"/>
                    <a:gd name="T13" fmla="*/ 312 h 690"/>
                    <a:gd name="T14" fmla="*/ 672 w 702"/>
                    <a:gd name="T15" fmla="*/ 480 h 690"/>
                    <a:gd name="T16" fmla="*/ 570 w 702"/>
                    <a:gd name="T17" fmla="*/ 558 h 690"/>
                    <a:gd name="T18" fmla="*/ 456 w 702"/>
                    <a:gd name="T19" fmla="*/ 462 h 690"/>
                    <a:gd name="T20" fmla="*/ 330 w 702"/>
                    <a:gd name="T21" fmla="*/ 552 h 690"/>
                    <a:gd name="T22" fmla="*/ 408 w 702"/>
                    <a:gd name="T23" fmla="*/ 672 h 690"/>
                    <a:gd name="T24" fmla="*/ 318 w 702"/>
                    <a:gd name="T25" fmla="*/ 654 h 690"/>
                    <a:gd name="T26" fmla="*/ 216 w 702"/>
                    <a:gd name="T27" fmla="*/ 654 h 690"/>
                    <a:gd name="T28" fmla="*/ 108 w 702"/>
                    <a:gd name="T29" fmla="*/ 570 h 690"/>
                    <a:gd name="T30" fmla="*/ 54 w 702"/>
                    <a:gd name="T31" fmla="*/ 486 h 690"/>
                    <a:gd name="T32" fmla="*/ 36 w 702"/>
                    <a:gd name="T33" fmla="*/ 462 h 690"/>
                    <a:gd name="T34" fmla="*/ 24 w 702"/>
                    <a:gd name="T35" fmla="*/ 444 h 690"/>
                    <a:gd name="T36" fmla="*/ 36 w 702"/>
                    <a:gd name="T37" fmla="*/ 432 h 690"/>
                    <a:gd name="T38" fmla="*/ 48 w 702"/>
                    <a:gd name="T39" fmla="*/ 420 h 690"/>
                    <a:gd name="T40" fmla="*/ 36 w 702"/>
                    <a:gd name="T41" fmla="*/ 408 h 690"/>
                    <a:gd name="T42" fmla="*/ 12 w 702"/>
                    <a:gd name="T43" fmla="*/ 390 h 690"/>
                    <a:gd name="T44" fmla="*/ 0 w 702"/>
                    <a:gd name="T45" fmla="*/ 360 h 690"/>
                    <a:gd name="T46" fmla="*/ 0 w 702"/>
                    <a:gd name="T47" fmla="*/ 348 h 690"/>
                    <a:gd name="T48" fmla="*/ 12 w 702"/>
                    <a:gd name="T49" fmla="*/ 342 h 690"/>
                    <a:gd name="T50" fmla="*/ 36 w 702"/>
                    <a:gd name="T51" fmla="*/ 348 h 690"/>
                    <a:gd name="T52" fmla="*/ 54 w 702"/>
                    <a:gd name="T53" fmla="*/ 348 h 690"/>
                    <a:gd name="T54" fmla="*/ 66 w 702"/>
                    <a:gd name="T55" fmla="*/ 330 h 690"/>
                    <a:gd name="T56" fmla="*/ 72 w 702"/>
                    <a:gd name="T57" fmla="*/ 294 h 690"/>
                    <a:gd name="T58" fmla="*/ 90 w 702"/>
                    <a:gd name="T59" fmla="*/ 198 h 690"/>
                    <a:gd name="T60" fmla="*/ 96 w 702"/>
                    <a:gd name="T61" fmla="*/ 132 h 690"/>
                    <a:gd name="T62" fmla="*/ 198 w 702"/>
                    <a:gd name="T63" fmla="*/ 132 h 690"/>
                    <a:gd name="T64" fmla="*/ 324 w 702"/>
                    <a:gd name="T65" fmla="*/ 18 h 6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02" h="690">
                      <a:moveTo>
                        <a:pt x="324" y="12"/>
                      </a:moveTo>
                      <a:lnTo>
                        <a:pt x="324" y="18"/>
                      </a:lnTo>
                      <a:lnTo>
                        <a:pt x="324" y="18"/>
                      </a:lnTo>
                      <a:lnTo>
                        <a:pt x="324" y="12"/>
                      </a:lnTo>
                      <a:close/>
                      <a:moveTo>
                        <a:pt x="396" y="0"/>
                      </a:moveTo>
                      <a:lnTo>
                        <a:pt x="486" y="18"/>
                      </a:lnTo>
                      <a:lnTo>
                        <a:pt x="492" y="84"/>
                      </a:lnTo>
                      <a:lnTo>
                        <a:pt x="546" y="132"/>
                      </a:lnTo>
                      <a:lnTo>
                        <a:pt x="630" y="96"/>
                      </a:lnTo>
                      <a:lnTo>
                        <a:pt x="684" y="120"/>
                      </a:lnTo>
                      <a:lnTo>
                        <a:pt x="678" y="168"/>
                      </a:lnTo>
                      <a:lnTo>
                        <a:pt x="600" y="198"/>
                      </a:lnTo>
                      <a:lnTo>
                        <a:pt x="618" y="264"/>
                      </a:lnTo>
                      <a:lnTo>
                        <a:pt x="678" y="312"/>
                      </a:lnTo>
                      <a:lnTo>
                        <a:pt x="702" y="414"/>
                      </a:lnTo>
                      <a:lnTo>
                        <a:pt x="672" y="480"/>
                      </a:lnTo>
                      <a:lnTo>
                        <a:pt x="666" y="540"/>
                      </a:lnTo>
                      <a:lnTo>
                        <a:pt x="570" y="558"/>
                      </a:lnTo>
                      <a:lnTo>
                        <a:pt x="498" y="528"/>
                      </a:lnTo>
                      <a:lnTo>
                        <a:pt x="456" y="462"/>
                      </a:lnTo>
                      <a:lnTo>
                        <a:pt x="402" y="534"/>
                      </a:lnTo>
                      <a:lnTo>
                        <a:pt x="330" y="552"/>
                      </a:lnTo>
                      <a:lnTo>
                        <a:pt x="378" y="612"/>
                      </a:lnTo>
                      <a:lnTo>
                        <a:pt x="408" y="672"/>
                      </a:lnTo>
                      <a:lnTo>
                        <a:pt x="348" y="690"/>
                      </a:lnTo>
                      <a:lnTo>
                        <a:pt x="318" y="654"/>
                      </a:lnTo>
                      <a:lnTo>
                        <a:pt x="258" y="684"/>
                      </a:lnTo>
                      <a:lnTo>
                        <a:pt x="216" y="654"/>
                      </a:lnTo>
                      <a:lnTo>
                        <a:pt x="174" y="630"/>
                      </a:lnTo>
                      <a:lnTo>
                        <a:pt x="108" y="570"/>
                      </a:lnTo>
                      <a:lnTo>
                        <a:pt x="66" y="498"/>
                      </a:lnTo>
                      <a:lnTo>
                        <a:pt x="54" y="486"/>
                      </a:lnTo>
                      <a:lnTo>
                        <a:pt x="48" y="474"/>
                      </a:lnTo>
                      <a:lnTo>
                        <a:pt x="36" y="462"/>
                      </a:lnTo>
                      <a:lnTo>
                        <a:pt x="24" y="456"/>
                      </a:lnTo>
                      <a:lnTo>
                        <a:pt x="24" y="444"/>
                      </a:lnTo>
                      <a:lnTo>
                        <a:pt x="24" y="438"/>
                      </a:lnTo>
                      <a:lnTo>
                        <a:pt x="36" y="432"/>
                      </a:lnTo>
                      <a:lnTo>
                        <a:pt x="42" y="426"/>
                      </a:lnTo>
                      <a:lnTo>
                        <a:pt x="48" y="420"/>
                      </a:lnTo>
                      <a:lnTo>
                        <a:pt x="42" y="414"/>
                      </a:lnTo>
                      <a:lnTo>
                        <a:pt x="36" y="408"/>
                      </a:lnTo>
                      <a:lnTo>
                        <a:pt x="24" y="396"/>
                      </a:lnTo>
                      <a:lnTo>
                        <a:pt x="12" y="390"/>
                      </a:lnTo>
                      <a:lnTo>
                        <a:pt x="6" y="372"/>
                      </a:lnTo>
                      <a:lnTo>
                        <a:pt x="0" y="360"/>
                      </a:lnTo>
                      <a:lnTo>
                        <a:pt x="0" y="354"/>
                      </a:lnTo>
                      <a:lnTo>
                        <a:pt x="0" y="348"/>
                      </a:lnTo>
                      <a:lnTo>
                        <a:pt x="6" y="342"/>
                      </a:lnTo>
                      <a:lnTo>
                        <a:pt x="12" y="342"/>
                      </a:lnTo>
                      <a:lnTo>
                        <a:pt x="24" y="348"/>
                      </a:lnTo>
                      <a:lnTo>
                        <a:pt x="36" y="348"/>
                      </a:lnTo>
                      <a:lnTo>
                        <a:pt x="42" y="354"/>
                      </a:lnTo>
                      <a:lnTo>
                        <a:pt x="54" y="348"/>
                      </a:lnTo>
                      <a:lnTo>
                        <a:pt x="60" y="342"/>
                      </a:lnTo>
                      <a:lnTo>
                        <a:pt x="66" y="330"/>
                      </a:lnTo>
                      <a:lnTo>
                        <a:pt x="66" y="312"/>
                      </a:lnTo>
                      <a:lnTo>
                        <a:pt x="72" y="294"/>
                      </a:lnTo>
                      <a:lnTo>
                        <a:pt x="78" y="252"/>
                      </a:lnTo>
                      <a:lnTo>
                        <a:pt x="90" y="198"/>
                      </a:lnTo>
                      <a:lnTo>
                        <a:pt x="96" y="144"/>
                      </a:lnTo>
                      <a:lnTo>
                        <a:pt x="96" y="132"/>
                      </a:lnTo>
                      <a:lnTo>
                        <a:pt x="102" y="132"/>
                      </a:lnTo>
                      <a:lnTo>
                        <a:pt x="198" y="132"/>
                      </a:lnTo>
                      <a:lnTo>
                        <a:pt x="318" y="138"/>
                      </a:lnTo>
                      <a:lnTo>
                        <a:pt x="324" y="18"/>
                      </a:lnTo>
                      <a:lnTo>
                        <a:pt x="396" y="0"/>
                      </a:lnTo>
                      <a:close/>
                    </a:path>
                  </a:pathLst>
                </a:custGeom>
                <a:solidFill>
                  <a:srgbClr val="BFEAF9">
                    <a:alpha val="90000"/>
                  </a:srgbClr>
                </a:solidFill>
                <a:ln w="3175">
                  <a:solidFill>
                    <a:schemeClr val="bg1">
                      <a:alpha val="7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384" tIns="45692" rIns="91384" bIns="4569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852">
                    <a:defRPr/>
                  </a:pPr>
                  <a:endParaRPr lang="de-DE" sz="1798">
                    <a:solidFill>
                      <a:srgbClr val="000000"/>
                    </a:solidFill>
                    <a:latin typeface="Tahoma"/>
                  </a:endParaRPr>
                </a:p>
              </p:txBody>
            </p:sp>
          </p:grpSp>
        </p:grpSp>
        <p:sp>
          <p:nvSpPr>
            <p:cNvPr id="904" name="Freeform 408">
              <a:extLst>
                <a:ext uri="{FF2B5EF4-FFF2-40B4-BE49-F238E27FC236}">
                  <a16:creationId xmlns:a16="http://schemas.microsoft.com/office/drawing/2014/main" id="{FC63A0D1-AAB1-47C5-9A8A-5F7DC5BA6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21204" y="17516551"/>
              <a:ext cx="142876" cy="171453"/>
            </a:xfrm>
            <a:custGeom>
              <a:avLst/>
              <a:gdLst>
                <a:gd name="T0" fmla="*/ 60 w 90"/>
                <a:gd name="T1" fmla="*/ 0 h 108"/>
                <a:gd name="T2" fmla="*/ 66 w 90"/>
                <a:gd name="T3" fmla="*/ 0 h 108"/>
                <a:gd name="T4" fmla="*/ 78 w 90"/>
                <a:gd name="T5" fmla="*/ 0 h 108"/>
                <a:gd name="T6" fmla="*/ 84 w 90"/>
                <a:gd name="T7" fmla="*/ 0 h 108"/>
                <a:gd name="T8" fmla="*/ 90 w 90"/>
                <a:gd name="T9" fmla="*/ 12 h 108"/>
                <a:gd name="T10" fmla="*/ 90 w 90"/>
                <a:gd name="T11" fmla="*/ 18 h 108"/>
                <a:gd name="T12" fmla="*/ 90 w 90"/>
                <a:gd name="T13" fmla="*/ 36 h 108"/>
                <a:gd name="T14" fmla="*/ 90 w 90"/>
                <a:gd name="T15" fmla="*/ 48 h 108"/>
                <a:gd name="T16" fmla="*/ 84 w 90"/>
                <a:gd name="T17" fmla="*/ 60 h 108"/>
                <a:gd name="T18" fmla="*/ 84 w 90"/>
                <a:gd name="T19" fmla="*/ 72 h 108"/>
                <a:gd name="T20" fmla="*/ 78 w 90"/>
                <a:gd name="T21" fmla="*/ 84 h 108"/>
                <a:gd name="T22" fmla="*/ 72 w 90"/>
                <a:gd name="T23" fmla="*/ 96 h 108"/>
                <a:gd name="T24" fmla="*/ 54 w 90"/>
                <a:gd name="T25" fmla="*/ 108 h 108"/>
                <a:gd name="T26" fmla="*/ 42 w 90"/>
                <a:gd name="T27" fmla="*/ 108 h 108"/>
                <a:gd name="T28" fmla="*/ 36 w 90"/>
                <a:gd name="T29" fmla="*/ 108 h 108"/>
                <a:gd name="T30" fmla="*/ 30 w 90"/>
                <a:gd name="T31" fmla="*/ 108 h 108"/>
                <a:gd name="T32" fmla="*/ 30 w 90"/>
                <a:gd name="T33" fmla="*/ 102 h 108"/>
                <a:gd name="T34" fmla="*/ 30 w 90"/>
                <a:gd name="T35" fmla="*/ 96 h 108"/>
                <a:gd name="T36" fmla="*/ 24 w 90"/>
                <a:gd name="T37" fmla="*/ 90 h 108"/>
                <a:gd name="T38" fmla="*/ 24 w 90"/>
                <a:gd name="T39" fmla="*/ 84 h 108"/>
                <a:gd name="T40" fmla="*/ 18 w 90"/>
                <a:gd name="T41" fmla="*/ 78 h 108"/>
                <a:gd name="T42" fmla="*/ 12 w 90"/>
                <a:gd name="T43" fmla="*/ 78 h 108"/>
                <a:gd name="T44" fmla="*/ 6 w 90"/>
                <a:gd name="T45" fmla="*/ 78 h 108"/>
                <a:gd name="T46" fmla="*/ 0 w 90"/>
                <a:gd name="T47" fmla="*/ 72 h 108"/>
                <a:gd name="T48" fmla="*/ 6 w 90"/>
                <a:gd name="T49" fmla="*/ 66 h 108"/>
                <a:gd name="T50" fmla="*/ 12 w 90"/>
                <a:gd name="T51" fmla="*/ 54 h 108"/>
                <a:gd name="T52" fmla="*/ 18 w 90"/>
                <a:gd name="T53" fmla="*/ 42 h 108"/>
                <a:gd name="T54" fmla="*/ 30 w 90"/>
                <a:gd name="T55" fmla="*/ 18 h 108"/>
                <a:gd name="T56" fmla="*/ 42 w 90"/>
                <a:gd name="T57" fmla="*/ 6 h 108"/>
                <a:gd name="T58" fmla="*/ 48 w 90"/>
                <a:gd name="T59" fmla="*/ 0 h 108"/>
                <a:gd name="T60" fmla="*/ 60 w 90"/>
                <a:gd name="T6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0" h="108">
                  <a:moveTo>
                    <a:pt x="60" y="0"/>
                  </a:moveTo>
                  <a:lnTo>
                    <a:pt x="66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90" y="36"/>
                  </a:lnTo>
                  <a:lnTo>
                    <a:pt x="90" y="48"/>
                  </a:lnTo>
                  <a:lnTo>
                    <a:pt x="84" y="60"/>
                  </a:lnTo>
                  <a:lnTo>
                    <a:pt x="84" y="72"/>
                  </a:lnTo>
                  <a:lnTo>
                    <a:pt x="78" y="84"/>
                  </a:lnTo>
                  <a:lnTo>
                    <a:pt x="72" y="96"/>
                  </a:lnTo>
                  <a:lnTo>
                    <a:pt x="54" y="108"/>
                  </a:lnTo>
                  <a:lnTo>
                    <a:pt x="42" y="108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0" y="96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0" y="72"/>
                  </a:lnTo>
                  <a:lnTo>
                    <a:pt x="6" y="66"/>
                  </a:lnTo>
                  <a:lnTo>
                    <a:pt x="12" y="54"/>
                  </a:lnTo>
                  <a:lnTo>
                    <a:pt x="18" y="42"/>
                  </a:lnTo>
                  <a:lnTo>
                    <a:pt x="30" y="18"/>
                  </a:lnTo>
                  <a:lnTo>
                    <a:pt x="42" y="6"/>
                  </a:lnTo>
                  <a:lnTo>
                    <a:pt x="48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05" name="Freeform 409">
              <a:extLst>
                <a:ext uri="{FF2B5EF4-FFF2-40B4-BE49-F238E27FC236}">
                  <a16:creationId xmlns:a16="http://schemas.microsoft.com/office/drawing/2014/main" id="{7B9E1A81-8A03-4D9F-A637-7919D6247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1082" y="10753776"/>
              <a:ext cx="533403" cy="581027"/>
            </a:xfrm>
            <a:custGeom>
              <a:avLst/>
              <a:gdLst>
                <a:gd name="T0" fmla="*/ 30 w 336"/>
                <a:gd name="T1" fmla="*/ 0 h 366"/>
                <a:gd name="T2" fmla="*/ 60 w 336"/>
                <a:gd name="T3" fmla="*/ 24 h 366"/>
                <a:gd name="T4" fmla="*/ 96 w 336"/>
                <a:gd name="T5" fmla="*/ 48 h 366"/>
                <a:gd name="T6" fmla="*/ 138 w 336"/>
                <a:gd name="T7" fmla="*/ 66 h 366"/>
                <a:gd name="T8" fmla="*/ 168 w 336"/>
                <a:gd name="T9" fmla="*/ 90 h 366"/>
                <a:gd name="T10" fmla="*/ 174 w 336"/>
                <a:gd name="T11" fmla="*/ 120 h 366"/>
                <a:gd name="T12" fmla="*/ 180 w 336"/>
                <a:gd name="T13" fmla="*/ 150 h 366"/>
                <a:gd name="T14" fmla="*/ 204 w 336"/>
                <a:gd name="T15" fmla="*/ 174 h 366"/>
                <a:gd name="T16" fmla="*/ 240 w 336"/>
                <a:gd name="T17" fmla="*/ 204 h 366"/>
                <a:gd name="T18" fmla="*/ 270 w 336"/>
                <a:gd name="T19" fmla="*/ 234 h 366"/>
                <a:gd name="T20" fmla="*/ 276 w 336"/>
                <a:gd name="T21" fmla="*/ 264 h 366"/>
                <a:gd name="T22" fmla="*/ 282 w 336"/>
                <a:gd name="T23" fmla="*/ 288 h 366"/>
                <a:gd name="T24" fmla="*/ 306 w 336"/>
                <a:gd name="T25" fmla="*/ 312 h 366"/>
                <a:gd name="T26" fmla="*/ 330 w 336"/>
                <a:gd name="T27" fmla="*/ 336 h 366"/>
                <a:gd name="T28" fmla="*/ 330 w 336"/>
                <a:gd name="T29" fmla="*/ 354 h 366"/>
                <a:gd name="T30" fmla="*/ 318 w 336"/>
                <a:gd name="T31" fmla="*/ 366 h 366"/>
                <a:gd name="T32" fmla="*/ 300 w 336"/>
                <a:gd name="T33" fmla="*/ 348 h 366"/>
                <a:gd name="T34" fmla="*/ 282 w 336"/>
                <a:gd name="T35" fmla="*/ 342 h 366"/>
                <a:gd name="T36" fmla="*/ 258 w 336"/>
                <a:gd name="T37" fmla="*/ 348 h 366"/>
                <a:gd name="T38" fmla="*/ 234 w 336"/>
                <a:gd name="T39" fmla="*/ 348 h 366"/>
                <a:gd name="T40" fmla="*/ 216 w 336"/>
                <a:gd name="T41" fmla="*/ 342 h 366"/>
                <a:gd name="T42" fmla="*/ 204 w 336"/>
                <a:gd name="T43" fmla="*/ 312 h 366"/>
                <a:gd name="T44" fmla="*/ 204 w 336"/>
                <a:gd name="T45" fmla="*/ 294 h 366"/>
                <a:gd name="T46" fmla="*/ 192 w 336"/>
                <a:gd name="T47" fmla="*/ 282 h 366"/>
                <a:gd name="T48" fmla="*/ 168 w 336"/>
                <a:gd name="T49" fmla="*/ 270 h 366"/>
                <a:gd name="T50" fmla="*/ 150 w 336"/>
                <a:gd name="T51" fmla="*/ 240 h 366"/>
                <a:gd name="T52" fmla="*/ 132 w 336"/>
                <a:gd name="T53" fmla="*/ 204 h 366"/>
                <a:gd name="T54" fmla="*/ 108 w 336"/>
                <a:gd name="T55" fmla="*/ 186 h 366"/>
                <a:gd name="T56" fmla="*/ 90 w 336"/>
                <a:gd name="T57" fmla="*/ 168 h 366"/>
                <a:gd name="T58" fmla="*/ 84 w 336"/>
                <a:gd name="T59" fmla="*/ 144 h 366"/>
                <a:gd name="T60" fmla="*/ 66 w 336"/>
                <a:gd name="T61" fmla="*/ 126 h 366"/>
                <a:gd name="T62" fmla="*/ 36 w 336"/>
                <a:gd name="T63" fmla="*/ 120 h 366"/>
                <a:gd name="T64" fmla="*/ 24 w 336"/>
                <a:gd name="T65" fmla="*/ 108 h 366"/>
                <a:gd name="T66" fmla="*/ 24 w 336"/>
                <a:gd name="T67" fmla="*/ 84 h 366"/>
                <a:gd name="T68" fmla="*/ 24 w 336"/>
                <a:gd name="T69" fmla="*/ 48 h 366"/>
                <a:gd name="T70" fmla="*/ 6 w 336"/>
                <a:gd name="T71" fmla="*/ 24 h 366"/>
                <a:gd name="T72" fmla="*/ 6 w 336"/>
                <a:gd name="T73" fmla="*/ 12 h 366"/>
                <a:gd name="T74" fmla="*/ 18 w 336"/>
                <a:gd name="T75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6" h="366">
                  <a:moveTo>
                    <a:pt x="18" y="0"/>
                  </a:moveTo>
                  <a:lnTo>
                    <a:pt x="30" y="0"/>
                  </a:lnTo>
                  <a:lnTo>
                    <a:pt x="48" y="6"/>
                  </a:lnTo>
                  <a:lnTo>
                    <a:pt x="60" y="24"/>
                  </a:lnTo>
                  <a:lnTo>
                    <a:pt x="78" y="36"/>
                  </a:lnTo>
                  <a:lnTo>
                    <a:pt x="96" y="48"/>
                  </a:lnTo>
                  <a:lnTo>
                    <a:pt x="120" y="54"/>
                  </a:lnTo>
                  <a:lnTo>
                    <a:pt x="138" y="66"/>
                  </a:lnTo>
                  <a:lnTo>
                    <a:pt x="156" y="72"/>
                  </a:lnTo>
                  <a:lnTo>
                    <a:pt x="168" y="90"/>
                  </a:lnTo>
                  <a:lnTo>
                    <a:pt x="174" y="102"/>
                  </a:lnTo>
                  <a:lnTo>
                    <a:pt x="174" y="120"/>
                  </a:lnTo>
                  <a:lnTo>
                    <a:pt x="174" y="138"/>
                  </a:lnTo>
                  <a:lnTo>
                    <a:pt x="180" y="150"/>
                  </a:lnTo>
                  <a:lnTo>
                    <a:pt x="192" y="162"/>
                  </a:lnTo>
                  <a:lnTo>
                    <a:pt x="204" y="174"/>
                  </a:lnTo>
                  <a:lnTo>
                    <a:pt x="222" y="192"/>
                  </a:lnTo>
                  <a:lnTo>
                    <a:pt x="240" y="204"/>
                  </a:lnTo>
                  <a:lnTo>
                    <a:pt x="258" y="216"/>
                  </a:lnTo>
                  <a:lnTo>
                    <a:pt x="270" y="234"/>
                  </a:lnTo>
                  <a:lnTo>
                    <a:pt x="276" y="252"/>
                  </a:lnTo>
                  <a:lnTo>
                    <a:pt x="276" y="264"/>
                  </a:lnTo>
                  <a:lnTo>
                    <a:pt x="282" y="276"/>
                  </a:lnTo>
                  <a:lnTo>
                    <a:pt x="282" y="288"/>
                  </a:lnTo>
                  <a:lnTo>
                    <a:pt x="294" y="300"/>
                  </a:lnTo>
                  <a:lnTo>
                    <a:pt x="306" y="312"/>
                  </a:lnTo>
                  <a:lnTo>
                    <a:pt x="324" y="324"/>
                  </a:lnTo>
                  <a:lnTo>
                    <a:pt x="330" y="336"/>
                  </a:lnTo>
                  <a:lnTo>
                    <a:pt x="336" y="348"/>
                  </a:lnTo>
                  <a:lnTo>
                    <a:pt x="330" y="354"/>
                  </a:lnTo>
                  <a:lnTo>
                    <a:pt x="324" y="360"/>
                  </a:lnTo>
                  <a:lnTo>
                    <a:pt x="318" y="366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94" y="342"/>
                  </a:lnTo>
                  <a:lnTo>
                    <a:pt x="282" y="342"/>
                  </a:lnTo>
                  <a:lnTo>
                    <a:pt x="270" y="342"/>
                  </a:lnTo>
                  <a:lnTo>
                    <a:pt x="258" y="348"/>
                  </a:lnTo>
                  <a:lnTo>
                    <a:pt x="246" y="348"/>
                  </a:lnTo>
                  <a:lnTo>
                    <a:pt x="234" y="348"/>
                  </a:lnTo>
                  <a:lnTo>
                    <a:pt x="222" y="348"/>
                  </a:lnTo>
                  <a:lnTo>
                    <a:pt x="216" y="342"/>
                  </a:lnTo>
                  <a:lnTo>
                    <a:pt x="210" y="330"/>
                  </a:lnTo>
                  <a:lnTo>
                    <a:pt x="204" y="312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04" y="288"/>
                  </a:lnTo>
                  <a:lnTo>
                    <a:pt x="192" y="282"/>
                  </a:lnTo>
                  <a:lnTo>
                    <a:pt x="180" y="276"/>
                  </a:lnTo>
                  <a:lnTo>
                    <a:pt x="168" y="270"/>
                  </a:lnTo>
                  <a:lnTo>
                    <a:pt x="162" y="258"/>
                  </a:lnTo>
                  <a:lnTo>
                    <a:pt x="150" y="240"/>
                  </a:lnTo>
                  <a:lnTo>
                    <a:pt x="138" y="222"/>
                  </a:lnTo>
                  <a:lnTo>
                    <a:pt x="132" y="204"/>
                  </a:lnTo>
                  <a:lnTo>
                    <a:pt x="120" y="198"/>
                  </a:lnTo>
                  <a:lnTo>
                    <a:pt x="108" y="186"/>
                  </a:lnTo>
                  <a:lnTo>
                    <a:pt x="96" y="180"/>
                  </a:lnTo>
                  <a:lnTo>
                    <a:pt x="90" y="168"/>
                  </a:lnTo>
                  <a:lnTo>
                    <a:pt x="84" y="156"/>
                  </a:lnTo>
                  <a:lnTo>
                    <a:pt x="84" y="144"/>
                  </a:lnTo>
                  <a:lnTo>
                    <a:pt x="78" y="132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24" y="108"/>
                  </a:lnTo>
                  <a:lnTo>
                    <a:pt x="24" y="96"/>
                  </a:lnTo>
                  <a:lnTo>
                    <a:pt x="24" y="84"/>
                  </a:lnTo>
                  <a:lnTo>
                    <a:pt x="30" y="66"/>
                  </a:lnTo>
                  <a:lnTo>
                    <a:pt x="24" y="48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06" name="Freeform 410">
              <a:extLst>
                <a:ext uri="{FF2B5EF4-FFF2-40B4-BE49-F238E27FC236}">
                  <a16:creationId xmlns:a16="http://schemas.microsoft.com/office/drawing/2014/main" id="{FA23A10F-7E7E-4C3E-B9D0-03B81448D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06905" y="9325015"/>
              <a:ext cx="85722" cy="180976"/>
            </a:xfrm>
            <a:custGeom>
              <a:avLst/>
              <a:gdLst>
                <a:gd name="T0" fmla="*/ 24 w 54"/>
                <a:gd name="T1" fmla="*/ 0 h 114"/>
                <a:gd name="T2" fmla="*/ 36 w 54"/>
                <a:gd name="T3" fmla="*/ 6 h 114"/>
                <a:gd name="T4" fmla="*/ 42 w 54"/>
                <a:gd name="T5" fmla="*/ 12 h 114"/>
                <a:gd name="T6" fmla="*/ 48 w 54"/>
                <a:gd name="T7" fmla="*/ 24 h 114"/>
                <a:gd name="T8" fmla="*/ 54 w 54"/>
                <a:gd name="T9" fmla="*/ 36 h 114"/>
                <a:gd name="T10" fmla="*/ 54 w 54"/>
                <a:gd name="T11" fmla="*/ 66 h 114"/>
                <a:gd name="T12" fmla="*/ 48 w 54"/>
                <a:gd name="T13" fmla="*/ 90 h 114"/>
                <a:gd name="T14" fmla="*/ 36 w 54"/>
                <a:gd name="T15" fmla="*/ 102 h 114"/>
                <a:gd name="T16" fmla="*/ 24 w 54"/>
                <a:gd name="T17" fmla="*/ 114 h 114"/>
                <a:gd name="T18" fmla="*/ 12 w 54"/>
                <a:gd name="T19" fmla="*/ 114 h 114"/>
                <a:gd name="T20" fmla="*/ 6 w 54"/>
                <a:gd name="T21" fmla="*/ 108 h 114"/>
                <a:gd name="T22" fmla="*/ 6 w 54"/>
                <a:gd name="T23" fmla="*/ 96 h 114"/>
                <a:gd name="T24" fmla="*/ 0 w 54"/>
                <a:gd name="T25" fmla="*/ 78 h 114"/>
                <a:gd name="T26" fmla="*/ 0 w 54"/>
                <a:gd name="T27" fmla="*/ 60 h 114"/>
                <a:gd name="T28" fmla="*/ 0 w 54"/>
                <a:gd name="T29" fmla="*/ 36 h 114"/>
                <a:gd name="T30" fmla="*/ 0 w 54"/>
                <a:gd name="T31" fmla="*/ 18 h 114"/>
                <a:gd name="T32" fmla="*/ 6 w 54"/>
                <a:gd name="T33" fmla="*/ 12 h 114"/>
                <a:gd name="T34" fmla="*/ 12 w 54"/>
                <a:gd name="T35" fmla="*/ 6 h 114"/>
                <a:gd name="T36" fmla="*/ 24 w 54"/>
                <a:gd name="T3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114">
                  <a:moveTo>
                    <a:pt x="24" y="0"/>
                  </a:moveTo>
                  <a:lnTo>
                    <a:pt x="36" y="6"/>
                  </a:lnTo>
                  <a:lnTo>
                    <a:pt x="42" y="12"/>
                  </a:lnTo>
                  <a:lnTo>
                    <a:pt x="48" y="24"/>
                  </a:lnTo>
                  <a:lnTo>
                    <a:pt x="54" y="36"/>
                  </a:lnTo>
                  <a:lnTo>
                    <a:pt x="54" y="66"/>
                  </a:lnTo>
                  <a:lnTo>
                    <a:pt x="48" y="90"/>
                  </a:lnTo>
                  <a:lnTo>
                    <a:pt x="36" y="102"/>
                  </a:lnTo>
                  <a:lnTo>
                    <a:pt x="24" y="114"/>
                  </a:lnTo>
                  <a:lnTo>
                    <a:pt x="12" y="114"/>
                  </a:lnTo>
                  <a:lnTo>
                    <a:pt x="6" y="108"/>
                  </a:lnTo>
                  <a:lnTo>
                    <a:pt x="6" y="96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36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07" name="Freeform 411">
              <a:extLst>
                <a:ext uri="{FF2B5EF4-FFF2-40B4-BE49-F238E27FC236}">
                  <a16:creationId xmlns:a16="http://schemas.microsoft.com/office/drawing/2014/main" id="{35BB30D0-08CB-4539-A689-F9487B8E2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63375" y="8867818"/>
              <a:ext cx="104776" cy="114299"/>
            </a:xfrm>
            <a:custGeom>
              <a:avLst/>
              <a:gdLst>
                <a:gd name="T0" fmla="*/ 36 w 66"/>
                <a:gd name="T1" fmla="*/ 0 h 72"/>
                <a:gd name="T2" fmla="*/ 48 w 66"/>
                <a:gd name="T3" fmla="*/ 6 h 72"/>
                <a:gd name="T4" fmla="*/ 60 w 66"/>
                <a:gd name="T5" fmla="*/ 12 h 72"/>
                <a:gd name="T6" fmla="*/ 66 w 66"/>
                <a:gd name="T7" fmla="*/ 18 h 72"/>
                <a:gd name="T8" fmla="*/ 66 w 66"/>
                <a:gd name="T9" fmla="*/ 30 h 72"/>
                <a:gd name="T10" fmla="*/ 66 w 66"/>
                <a:gd name="T11" fmla="*/ 42 h 72"/>
                <a:gd name="T12" fmla="*/ 60 w 66"/>
                <a:gd name="T13" fmla="*/ 54 h 72"/>
                <a:gd name="T14" fmla="*/ 54 w 66"/>
                <a:gd name="T15" fmla="*/ 60 h 72"/>
                <a:gd name="T16" fmla="*/ 48 w 66"/>
                <a:gd name="T17" fmla="*/ 66 h 72"/>
                <a:gd name="T18" fmla="*/ 36 w 66"/>
                <a:gd name="T19" fmla="*/ 72 h 72"/>
                <a:gd name="T20" fmla="*/ 18 w 66"/>
                <a:gd name="T21" fmla="*/ 72 h 72"/>
                <a:gd name="T22" fmla="*/ 6 w 66"/>
                <a:gd name="T23" fmla="*/ 66 h 72"/>
                <a:gd name="T24" fmla="*/ 0 w 66"/>
                <a:gd name="T25" fmla="*/ 54 h 72"/>
                <a:gd name="T26" fmla="*/ 0 w 66"/>
                <a:gd name="T27" fmla="*/ 42 h 72"/>
                <a:gd name="T28" fmla="*/ 0 w 66"/>
                <a:gd name="T29" fmla="*/ 30 h 72"/>
                <a:gd name="T30" fmla="*/ 6 w 66"/>
                <a:gd name="T31" fmla="*/ 24 h 72"/>
                <a:gd name="T32" fmla="*/ 12 w 66"/>
                <a:gd name="T33" fmla="*/ 12 h 72"/>
                <a:gd name="T34" fmla="*/ 24 w 66"/>
                <a:gd name="T35" fmla="*/ 6 h 72"/>
                <a:gd name="T36" fmla="*/ 36 w 66"/>
                <a:gd name="T3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72">
                  <a:moveTo>
                    <a:pt x="36" y="0"/>
                  </a:moveTo>
                  <a:lnTo>
                    <a:pt x="48" y="6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60" y="54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6" y="72"/>
                  </a:lnTo>
                  <a:lnTo>
                    <a:pt x="18" y="72"/>
                  </a:lnTo>
                  <a:lnTo>
                    <a:pt x="6" y="66"/>
                  </a:lnTo>
                  <a:lnTo>
                    <a:pt x="0" y="54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08" name="Freeform 412">
              <a:extLst>
                <a:ext uri="{FF2B5EF4-FFF2-40B4-BE49-F238E27FC236}">
                  <a16:creationId xmlns:a16="http://schemas.microsoft.com/office/drawing/2014/main" id="{8ECEDCE8-AD94-4764-9AF7-5957BF65C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53723" y="8162960"/>
              <a:ext cx="171452" cy="133353"/>
            </a:xfrm>
            <a:custGeom>
              <a:avLst/>
              <a:gdLst>
                <a:gd name="T0" fmla="*/ 48 w 108"/>
                <a:gd name="T1" fmla="*/ 0 h 84"/>
                <a:gd name="T2" fmla="*/ 84 w 108"/>
                <a:gd name="T3" fmla="*/ 6 h 84"/>
                <a:gd name="T4" fmla="*/ 102 w 108"/>
                <a:gd name="T5" fmla="*/ 12 h 84"/>
                <a:gd name="T6" fmla="*/ 108 w 108"/>
                <a:gd name="T7" fmla="*/ 24 h 84"/>
                <a:gd name="T8" fmla="*/ 102 w 108"/>
                <a:gd name="T9" fmla="*/ 42 h 84"/>
                <a:gd name="T10" fmla="*/ 96 w 108"/>
                <a:gd name="T11" fmla="*/ 54 h 84"/>
                <a:gd name="T12" fmla="*/ 90 w 108"/>
                <a:gd name="T13" fmla="*/ 66 h 84"/>
                <a:gd name="T14" fmla="*/ 78 w 108"/>
                <a:gd name="T15" fmla="*/ 78 h 84"/>
                <a:gd name="T16" fmla="*/ 60 w 108"/>
                <a:gd name="T17" fmla="*/ 84 h 84"/>
                <a:gd name="T18" fmla="*/ 42 w 108"/>
                <a:gd name="T19" fmla="*/ 84 h 84"/>
                <a:gd name="T20" fmla="*/ 24 w 108"/>
                <a:gd name="T21" fmla="*/ 78 h 84"/>
                <a:gd name="T22" fmla="*/ 12 w 108"/>
                <a:gd name="T23" fmla="*/ 72 h 84"/>
                <a:gd name="T24" fmla="*/ 6 w 108"/>
                <a:gd name="T25" fmla="*/ 60 h 84"/>
                <a:gd name="T26" fmla="*/ 0 w 108"/>
                <a:gd name="T27" fmla="*/ 48 h 84"/>
                <a:gd name="T28" fmla="*/ 0 w 108"/>
                <a:gd name="T29" fmla="*/ 30 h 84"/>
                <a:gd name="T30" fmla="*/ 6 w 108"/>
                <a:gd name="T31" fmla="*/ 12 h 84"/>
                <a:gd name="T32" fmla="*/ 18 w 108"/>
                <a:gd name="T33" fmla="*/ 0 h 84"/>
                <a:gd name="T34" fmla="*/ 48 w 108"/>
                <a:gd name="T3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8" h="84">
                  <a:moveTo>
                    <a:pt x="48" y="0"/>
                  </a:moveTo>
                  <a:lnTo>
                    <a:pt x="84" y="6"/>
                  </a:lnTo>
                  <a:lnTo>
                    <a:pt x="102" y="12"/>
                  </a:lnTo>
                  <a:lnTo>
                    <a:pt x="108" y="24"/>
                  </a:lnTo>
                  <a:lnTo>
                    <a:pt x="102" y="42"/>
                  </a:lnTo>
                  <a:lnTo>
                    <a:pt x="96" y="54"/>
                  </a:lnTo>
                  <a:lnTo>
                    <a:pt x="90" y="66"/>
                  </a:lnTo>
                  <a:lnTo>
                    <a:pt x="78" y="78"/>
                  </a:lnTo>
                  <a:lnTo>
                    <a:pt x="60" y="84"/>
                  </a:lnTo>
                  <a:lnTo>
                    <a:pt x="42" y="84"/>
                  </a:lnTo>
                  <a:lnTo>
                    <a:pt x="24" y="78"/>
                  </a:lnTo>
                  <a:lnTo>
                    <a:pt x="12" y="72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0" y="30"/>
                  </a:lnTo>
                  <a:lnTo>
                    <a:pt x="6" y="12"/>
                  </a:lnTo>
                  <a:lnTo>
                    <a:pt x="18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09" name="Freeform 413">
              <a:extLst>
                <a:ext uri="{FF2B5EF4-FFF2-40B4-BE49-F238E27FC236}">
                  <a16:creationId xmlns:a16="http://schemas.microsoft.com/office/drawing/2014/main" id="{BA61BCCA-1444-455B-AE91-BEAA3B79B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3903" y="7315234"/>
              <a:ext cx="171452" cy="247652"/>
            </a:xfrm>
            <a:custGeom>
              <a:avLst/>
              <a:gdLst>
                <a:gd name="T0" fmla="*/ 66 w 108"/>
                <a:gd name="T1" fmla="*/ 0 h 156"/>
                <a:gd name="T2" fmla="*/ 78 w 108"/>
                <a:gd name="T3" fmla="*/ 6 h 156"/>
                <a:gd name="T4" fmla="*/ 90 w 108"/>
                <a:gd name="T5" fmla="*/ 12 h 156"/>
                <a:gd name="T6" fmla="*/ 102 w 108"/>
                <a:gd name="T7" fmla="*/ 18 h 156"/>
                <a:gd name="T8" fmla="*/ 108 w 108"/>
                <a:gd name="T9" fmla="*/ 30 h 156"/>
                <a:gd name="T10" fmla="*/ 108 w 108"/>
                <a:gd name="T11" fmla="*/ 36 h 156"/>
                <a:gd name="T12" fmla="*/ 102 w 108"/>
                <a:gd name="T13" fmla="*/ 54 h 156"/>
                <a:gd name="T14" fmla="*/ 96 w 108"/>
                <a:gd name="T15" fmla="*/ 66 h 156"/>
                <a:gd name="T16" fmla="*/ 90 w 108"/>
                <a:gd name="T17" fmla="*/ 90 h 156"/>
                <a:gd name="T18" fmla="*/ 84 w 108"/>
                <a:gd name="T19" fmla="*/ 108 h 156"/>
                <a:gd name="T20" fmla="*/ 78 w 108"/>
                <a:gd name="T21" fmla="*/ 120 h 156"/>
                <a:gd name="T22" fmla="*/ 66 w 108"/>
                <a:gd name="T23" fmla="*/ 132 h 156"/>
                <a:gd name="T24" fmla="*/ 54 w 108"/>
                <a:gd name="T25" fmla="*/ 144 h 156"/>
                <a:gd name="T26" fmla="*/ 42 w 108"/>
                <a:gd name="T27" fmla="*/ 150 h 156"/>
                <a:gd name="T28" fmla="*/ 30 w 108"/>
                <a:gd name="T29" fmla="*/ 156 h 156"/>
                <a:gd name="T30" fmla="*/ 18 w 108"/>
                <a:gd name="T31" fmla="*/ 156 h 156"/>
                <a:gd name="T32" fmla="*/ 12 w 108"/>
                <a:gd name="T33" fmla="*/ 156 h 156"/>
                <a:gd name="T34" fmla="*/ 0 w 108"/>
                <a:gd name="T35" fmla="*/ 150 h 156"/>
                <a:gd name="T36" fmla="*/ 0 w 108"/>
                <a:gd name="T37" fmla="*/ 138 h 156"/>
                <a:gd name="T38" fmla="*/ 0 w 108"/>
                <a:gd name="T39" fmla="*/ 126 h 156"/>
                <a:gd name="T40" fmla="*/ 0 w 108"/>
                <a:gd name="T41" fmla="*/ 96 h 156"/>
                <a:gd name="T42" fmla="*/ 6 w 108"/>
                <a:gd name="T43" fmla="*/ 66 h 156"/>
                <a:gd name="T44" fmla="*/ 18 w 108"/>
                <a:gd name="T45" fmla="*/ 48 h 156"/>
                <a:gd name="T46" fmla="*/ 24 w 108"/>
                <a:gd name="T47" fmla="*/ 30 h 156"/>
                <a:gd name="T48" fmla="*/ 36 w 108"/>
                <a:gd name="T49" fmla="*/ 18 h 156"/>
                <a:gd name="T50" fmla="*/ 42 w 108"/>
                <a:gd name="T51" fmla="*/ 12 h 156"/>
                <a:gd name="T52" fmla="*/ 48 w 108"/>
                <a:gd name="T53" fmla="*/ 6 h 156"/>
                <a:gd name="T54" fmla="*/ 54 w 108"/>
                <a:gd name="T55" fmla="*/ 6 h 156"/>
                <a:gd name="T56" fmla="*/ 66 w 108"/>
                <a:gd name="T5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" h="156">
                  <a:moveTo>
                    <a:pt x="66" y="0"/>
                  </a:moveTo>
                  <a:lnTo>
                    <a:pt x="78" y="6"/>
                  </a:lnTo>
                  <a:lnTo>
                    <a:pt x="90" y="12"/>
                  </a:lnTo>
                  <a:lnTo>
                    <a:pt x="102" y="18"/>
                  </a:lnTo>
                  <a:lnTo>
                    <a:pt x="108" y="30"/>
                  </a:lnTo>
                  <a:lnTo>
                    <a:pt x="108" y="36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0" y="90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66" y="132"/>
                  </a:lnTo>
                  <a:lnTo>
                    <a:pt x="54" y="144"/>
                  </a:lnTo>
                  <a:lnTo>
                    <a:pt x="42" y="150"/>
                  </a:lnTo>
                  <a:lnTo>
                    <a:pt x="30" y="156"/>
                  </a:lnTo>
                  <a:lnTo>
                    <a:pt x="18" y="156"/>
                  </a:lnTo>
                  <a:lnTo>
                    <a:pt x="12" y="156"/>
                  </a:lnTo>
                  <a:lnTo>
                    <a:pt x="0" y="150"/>
                  </a:lnTo>
                  <a:lnTo>
                    <a:pt x="0" y="138"/>
                  </a:lnTo>
                  <a:lnTo>
                    <a:pt x="0" y="126"/>
                  </a:lnTo>
                  <a:lnTo>
                    <a:pt x="0" y="96"/>
                  </a:lnTo>
                  <a:lnTo>
                    <a:pt x="6" y="66"/>
                  </a:lnTo>
                  <a:lnTo>
                    <a:pt x="18" y="48"/>
                  </a:lnTo>
                  <a:lnTo>
                    <a:pt x="24" y="30"/>
                  </a:lnTo>
                  <a:lnTo>
                    <a:pt x="36" y="18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0" name="Freeform 414">
              <a:extLst>
                <a:ext uri="{FF2B5EF4-FFF2-40B4-BE49-F238E27FC236}">
                  <a16:creationId xmlns:a16="http://schemas.microsoft.com/office/drawing/2014/main" id="{38C92F06-38A0-4C54-9B17-42F3301FC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4778" y="6838983"/>
              <a:ext cx="152399" cy="304798"/>
            </a:xfrm>
            <a:custGeom>
              <a:avLst/>
              <a:gdLst>
                <a:gd name="T0" fmla="*/ 60 w 96"/>
                <a:gd name="T1" fmla="*/ 0 h 192"/>
                <a:gd name="T2" fmla="*/ 72 w 96"/>
                <a:gd name="T3" fmla="*/ 6 h 192"/>
                <a:gd name="T4" fmla="*/ 84 w 96"/>
                <a:gd name="T5" fmla="*/ 6 h 192"/>
                <a:gd name="T6" fmla="*/ 96 w 96"/>
                <a:gd name="T7" fmla="*/ 12 h 192"/>
                <a:gd name="T8" fmla="*/ 96 w 96"/>
                <a:gd name="T9" fmla="*/ 24 h 192"/>
                <a:gd name="T10" fmla="*/ 96 w 96"/>
                <a:gd name="T11" fmla="*/ 36 h 192"/>
                <a:gd name="T12" fmla="*/ 96 w 96"/>
                <a:gd name="T13" fmla="*/ 48 h 192"/>
                <a:gd name="T14" fmla="*/ 90 w 96"/>
                <a:gd name="T15" fmla="*/ 54 h 192"/>
                <a:gd name="T16" fmla="*/ 84 w 96"/>
                <a:gd name="T17" fmla="*/ 54 h 192"/>
                <a:gd name="T18" fmla="*/ 72 w 96"/>
                <a:gd name="T19" fmla="*/ 60 h 192"/>
                <a:gd name="T20" fmla="*/ 66 w 96"/>
                <a:gd name="T21" fmla="*/ 66 h 192"/>
                <a:gd name="T22" fmla="*/ 60 w 96"/>
                <a:gd name="T23" fmla="*/ 78 h 192"/>
                <a:gd name="T24" fmla="*/ 60 w 96"/>
                <a:gd name="T25" fmla="*/ 96 h 192"/>
                <a:gd name="T26" fmla="*/ 60 w 96"/>
                <a:gd name="T27" fmla="*/ 108 h 192"/>
                <a:gd name="T28" fmla="*/ 66 w 96"/>
                <a:gd name="T29" fmla="*/ 126 h 192"/>
                <a:gd name="T30" fmla="*/ 60 w 96"/>
                <a:gd name="T31" fmla="*/ 138 h 192"/>
                <a:gd name="T32" fmla="*/ 54 w 96"/>
                <a:gd name="T33" fmla="*/ 150 h 192"/>
                <a:gd name="T34" fmla="*/ 48 w 96"/>
                <a:gd name="T35" fmla="*/ 168 h 192"/>
                <a:gd name="T36" fmla="*/ 36 w 96"/>
                <a:gd name="T37" fmla="*/ 180 h 192"/>
                <a:gd name="T38" fmla="*/ 30 w 96"/>
                <a:gd name="T39" fmla="*/ 186 h 192"/>
                <a:gd name="T40" fmla="*/ 24 w 96"/>
                <a:gd name="T41" fmla="*/ 192 h 192"/>
                <a:gd name="T42" fmla="*/ 12 w 96"/>
                <a:gd name="T43" fmla="*/ 192 h 192"/>
                <a:gd name="T44" fmla="*/ 6 w 96"/>
                <a:gd name="T45" fmla="*/ 192 h 192"/>
                <a:gd name="T46" fmla="*/ 6 w 96"/>
                <a:gd name="T47" fmla="*/ 180 h 192"/>
                <a:gd name="T48" fmla="*/ 0 w 96"/>
                <a:gd name="T49" fmla="*/ 168 h 192"/>
                <a:gd name="T50" fmla="*/ 0 w 96"/>
                <a:gd name="T51" fmla="*/ 144 h 192"/>
                <a:gd name="T52" fmla="*/ 6 w 96"/>
                <a:gd name="T53" fmla="*/ 126 h 192"/>
                <a:gd name="T54" fmla="*/ 6 w 96"/>
                <a:gd name="T55" fmla="*/ 108 h 192"/>
                <a:gd name="T56" fmla="*/ 12 w 96"/>
                <a:gd name="T57" fmla="*/ 96 h 192"/>
                <a:gd name="T58" fmla="*/ 12 w 96"/>
                <a:gd name="T59" fmla="*/ 84 h 192"/>
                <a:gd name="T60" fmla="*/ 18 w 96"/>
                <a:gd name="T61" fmla="*/ 72 h 192"/>
                <a:gd name="T62" fmla="*/ 24 w 96"/>
                <a:gd name="T63" fmla="*/ 54 h 192"/>
                <a:gd name="T64" fmla="*/ 30 w 96"/>
                <a:gd name="T65" fmla="*/ 42 h 192"/>
                <a:gd name="T66" fmla="*/ 36 w 96"/>
                <a:gd name="T67" fmla="*/ 24 h 192"/>
                <a:gd name="T68" fmla="*/ 42 w 96"/>
                <a:gd name="T69" fmla="*/ 12 h 192"/>
                <a:gd name="T70" fmla="*/ 48 w 96"/>
                <a:gd name="T71" fmla="*/ 6 h 192"/>
                <a:gd name="T72" fmla="*/ 60 w 96"/>
                <a:gd name="T7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192">
                  <a:moveTo>
                    <a:pt x="60" y="0"/>
                  </a:moveTo>
                  <a:lnTo>
                    <a:pt x="72" y="6"/>
                  </a:lnTo>
                  <a:lnTo>
                    <a:pt x="84" y="6"/>
                  </a:lnTo>
                  <a:lnTo>
                    <a:pt x="96" y="12"/>
                  </a:lnTo>
                  <a:lnTo>
                    <a:pt x="96" y="24"/>
                  </a:lnTo>
                  <a:lnTo>
                    <a:pt x="96" y="36"/>
                  </a:lnTo>
                  <a:lnTo>
                    <a:pt x="96" y="48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72" y="60"/>
                  </a:lnTo>
                  <a:lnTo>
                    <a:pt x="66" y="66"/>
                  </a:lnTo>
                  <a:lnTo>
                    <a:pt x="60" y="78"/>
                  </a:lnTo>
                  <a:lnTo>
                    <a:pt x="60" y="96"/>
                  </a:lnTo>
                  <a:lnTo>
                    <a:pt x="60" y="108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48" y="168"/>
                  </a:lnTo>
                  <a:lnTo>
                    <a:pt x="36" y="180"/>
                  </a:lnTo>
                  <a:lnTo>
                    <a:pt x="30" y="186"/>
                  </a:lnTo>
                  <a:lnTo>
                    <a:pt x="24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0"/>
                  </a:lnTo>
                  <a:lnTo>
                    <a:pt x="0" y="168"/>
                  </a:lnTo>
                  <a:lnTo>
                    <a:pt x="0" y="144"/>
                  </a:lnTo>
                  <a:lnTo>
                    <a:pt x="6" y="126"/>
                  </a:lnTo>
                  <a:lnTo>
                    <a:pt x="6" y="108"/>
                  </a:lnTo>
                  <a:lnTo>
                    <a:pt x="12" y="96"/>
                  </a:lnTo>
                  <a:lnTo>
                    <a:pt x="12" y="84"/>
                  </a:lnTo>
                  <a:lnTo>
                    <a:pt x="18" y="72"/>
                  </a:lnTo>
                  <a:lnTo>
                    <a:pt x="24" y="54"/>
                  </a:lnTo>
                  <a:lnTo>
                    <a:pt x="30" y="42"/>
                  </a:lnTo>
                  <a:lnTo>
                    <a:pt x="36" y="24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1" name="Freeform 415">
              <a:extLst>
                <a:ext uri="{FF2B5EF4-FFF2-40B4-BE49-F238E27FC236}">
                  <a16:creationId xmlns:a16="http://schemas.microsoft.com/office/drawing/2014/main" id="{ECC1F2CE-51C9-455A-8C12-2F6027BB7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10897" y="7200935"/>
              <a:ext cx="104776" cy="104776"/>
            </a:xfrm>
            <a:custGeom>
              <a:avLst/>
              <a:gdLst>
                <a:gd name="T0" fmla="*/ 36 w 66"/>
                <a:gd name="T1" fmla="*/ 0 h 66"/>
                <a:gd name="T2" fmla="*/ 48 w 66"/>
                <a:gd name="T3" fmla="*/ 0 h 66"/>
                <a:gd name="T4" fmla="*/ 54 w 66"/>
                <a:gd name="T5" fmla="*/ 6 h 66"/>
                <a:gd name="T6" fmla="*/ 60 w 66"/>
                <a:gd name="T7" fmla="*/ 12 h 66"/>
                <a:gd name="T8" fmla="*/ 66 w 66"/>
                <a:gd name="T9" fmla="*/ 24 h 66"/>
                <a:gd name="T10" fmla="*/ 60 w 66"/>
                <a:gd name="T11" fmla="*/ 42 h 66"/>
                <a:gd name="T12" fmla="*/ 54 w 66"/>
                <a:gd name="T13" fmla="*/ 54 h 66"/>
                <a:gd name="T14" fmla="*/ 42 w 66"/>
                <a:gd name="T15" fmla="*/ 60 h 66"/>
                <a:gd name="T16" fmla="*/ 24 w 66"/>
                <a:gd name="T17" fmla="*/ 66 h 66"/>
                <a:gd name="T18" fmla="*/ 12 w 66"/>
                <a:gd name="T19" fmla="*/ 66 h 66"/>
                <a:gd name="T20" fmla="*/ 6 w 66"/>
                <a:gd name="T21" fmla="*/ 66 h 66"/>
                <a:gd name="T22" fmla="*/ 0 w 66"/>
                <a:gd name="T23" fmla="*/ 60 h 66"/>
                <a:gd name="T24" fmla="*/ 0 w 66"/>
                <a:gd name="T25" fmla="*/ 54 h 66"/>
                <a:gd name="T26" fmla="*/ 6 w 66"/>
                <a:gd name="T27" fmla="*/ 42 h 66"/>
                <a:gd name="T28" fmla="*/ 6 w 66"/>
                <a:gd name="T29" fmla="*/ 30 h 66"/>
                <a:gd name="T30" fmla="*/ 12 w 66"/>
                <a:gd name="T31" fmla="*/ 24 h 66"/>
                <a:gd name="T32" fmla="*/ 18 w 66"/>
                <a:gd name="T33" fmla="*/ 12 h 66"/>
                <a:gd name="T34" fmla="*/ 24 w 66"/>
                <a:gd name="T35" fmla="*/ 0 h 66"/>
                <a:gd name="T36" fmla="*/ 36 w 66"/>
                <a:gd name="T3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66">
                  <a:moveTo>
                    <a:pt x="36" y="0"/>
                  </a:moveTo>
                  <a:lnTo>
                    <a:pt x="48" y="0"/>
                  </a:lnTo>
                  <a:lnTo>
                    <a:pt x="54" y="6"/>
                  </a:lnTo>
                  <a:lnTo>
                    <a:pt x="60" y="12"/>
                  </a:lnTo>
                  <a:lnTo>
                    <a:pt x="66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18" y="12"/>
                  </a:lnTo>
                  <a:lnTo>
                    <a:pt x="24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2" name="Freeform 416">
              <a:extLst>
                <a:ext uri="{FF2B5EF4-FFF2-40B4-BE49-F238E27FC236}">
                  <a16:creationId xmlns:a16="http://schemas.microsoft.com/office/drawing/2014/main" id="{E4592242-9811-435D-B2CE-997C25733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53500" y="7400957"/>
              <a:ext cx="352428" cy="152399"/>
            </a:xfrm>
            <a:custGeom>
              <a:avLst/>
              <a:gdLst>
                <a:gd name="T0" fmla="*/ 72 w 222"/>
                <a:gd name="T1" fmla="*/ 0 h 96"/>
                <a:gd name="T2" fmla="*/ 84 w 222"/>
                <a:gd name="T3" fmla="*/ 0 h 96"/>
                <a:gd name="T4" fmla="*/ 96 w 222"/>
                <a:gd name="T5" fmla="*/ 6 h 96"/>
                <a:gd name="T6" fmla="*/ 108 w 222"/>
                <a:gd name="T7" fmla="*/ 12 h 96"/>
                <a:gd name="T8" fmla="*/ 120 w 222"/>
                <a:gd name="T9" fmla="*/ 24 h 96"/>
                <a:gd name="T10" fmla="*/ 126 w 222"/>
                <a:gd name="T11" fmla="*/ 30 h 96"/>
                <a:gd name="T12" fmla="*/ 126 w 222"/>
                <a:gd name="T13" fmla="*/ 30 h 96"/>
                <a:gd name="T14" fmla="*/ 132 w 222"/>
                <a:gd name="T15" fmla="*/ 36 h 96"/>
                <a:gd name="T16" fmla="*/ 138 w 222"/>
                <a:gd name="T17" fmla="*/ 36 h 96"/>
                <a:gd name="T18" fmla="*/ 150 w 222"/>
                <a:gd name="T19" fmla="*/ 30 h 96"/>
                <a:gd name="T20" fmla="*/ 168 w 222"/>
                <a:gd name="T21" fmla="*/ 24 h 96"/>
                <a:gd name="T22" fmla="*/ 180 w 222"/>
                <a:gd name="T23" fmla="*/ 18 h 96"/>
                <a:gd name="T24" fmla="*/ 198 w 222"/>
                <a:gd name="T25" fmla="*/ 12 h 96"/>
                <a:gd name="T26" fmla="*/ 210 w 222"/>
                <a:gd name="T27" fmla="*/ 18 h 96"/>
                <a:gd name="T28" fmla="*/ 216 w 222"/>
                <a:gd name="T29" fmla="*/ 24 h 96"/>
                <a:gd name="T30" fmla="*/ 222 w 222"/>
                <a:gd name="T31" fmla="*/ 36 h 96"/>
                <a:gd name="T32" fmla="*/ 222 w 222"/>
                <a:gd name="T33" fmla="*/ 48 h 96"/>
                <a:gd name="T34" fmla="*/ 216 w 222"/>
                <a:gd name="T35" fmla="*/ 54 h 96"/>
                <a:gd name="T36" fmla="*/ 204 w 222"/>
                <a:gd name="T37" fmla="*/ 72 h 96"/>
                <a:gd name="T38" fmla="*/ 192 w 222"/>
                <a:gd name="T39" fmla="*/ 78 h 96"/>
                <a:gd name="T40" fmla="*/ 180 w 222"/>
                <a:gd name="T41" fmla="*/ 84 h 96"/>
                <a:gd name="T42" fmla="*/ 162 w 222"/>
                <a:gd name="T43" fmla="*/ 84 h 96"/>
                <a:gd name="T44" fmla="*/ 138 w 222"/>
                <a:gd name="T45" fmla="*/ 84 h 96"/>
                <a:gd name="T46" fmla="*/ 84 w 222"/>
                <a:gd name="T47" fmla="*/ 84 h 96"/>
                <a:gd name="T48" fmla="*/ 24 w 222"/>
                <a:gd name="T49" fmla="*/ 96 h 96"/>
                <a:gd name="T50" fmla="*/ 12 w 222"/>
                <a:gd name="T51" fmla="*/ 96 h 96"/>
                <a:gd name="T52" fmla="*/ 6 w 222"/>
                <a:gd name="T53" fmla="*/ 90 h 96"/>
                <a:gd name="T54" fmla="*/ 0 w 222"/>
                <a:gd name="T55" fmla="*/ 84 h 96"/>
                <a:gd name="T56" fmla="*/ 6 w 222"/>
                <a:gd name="T57" fmla="*/ 78 h 96"/>
                <a:gd name="T58" fmla="*/ 6 w 222"/>
                <a:gd name="T59" fmla="*/ 66 h 96"/>
                <a:gd name="T60" fmla="*/ 12 w 222"/>
                <a:gd name="T61" fmla="*/ 54 h 96"/>
                <a:gd name="T62" fmla="*/ 24 w 222"/>
                <a:gd name="T63" fmla="*/ 42 h 96"/>
                <a:gd name="T64" fmla="*/ 30 w 222"/>
                <a:gd name="T65" fmla="*/ 36 h 96"/>
                <a:gd name="T66" fmla="*/ 36 w 222"/>
                <a:gd name="T67" fmla="*/ 24 h 96"/>
                <a:gd name="T68" fmla="*/ 48 w 222"/>
                <a:gd name="T69" fmla="*/ 6 h 96"/>
                <a:gd name="T70" fmla="*/ 60 w 222"/>
                <a:gd name="T71" fmla="*/ 0 h 96"/>
                <a:gd name="T72" fmla="*/ 72 w 222"/>
                <a:gd name="T7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2" h="96">
                  <a:moveTo>
                    <a:pt x="72" y="0"/>
                  </a:moveTo>
                  <a:lnTo>
                    <a:pt x="84" y="0"/>
                  </a:lnTo>
                  <a:lnTo>
                    <a:pt x="96" y="6"/>
                  </a:lnTo>
                  <a:lnTo>
                    <a:pt x="108" y="12"/>
                  </a:lnTo>
                  <a:lnTo>
                    <a:pt x="120" y="24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32" y="36"/>
                  </a:lnTo>
                  <a:lnTo>
                    <a:pt x="138" y="36"/>
                  </a:lnTo>
                  <a:lnTo>
                    <a:pt x="150" y="30"/>
                  </a:lnTo>
                  <a:lnTo>
                    <a:pt x="168" y="24"/>
                  </a:lnTo>
                  <a:lnTo>
                    <a:pt x="180" y="18"/>
                  </a:lnTo>
                  <a:lnTo>
                    <a:pt x="198" y="12"/>
                  </a:lnTo>
                  <a:lnTo>
                    <a:pt x="210" y="18"/>
                  </a:lnTo>
                  <a:lnTo>
                    <a:pt x="216" y="24"/>
                  </a:lnTo>
                  <a:lnTo>
                    <a:pt x="222" y="36"/>
                  </a:lnTo>
                  <a:lnTo>
                    <a:pt x="222" y="48"/>
                  </a:lnTo>
                  <a:lnTo>
                    <a:pt x="216" y="54"/>
                  </a:lnTo>
                  <a:lnTo>
                    <a:pt x="204" y="72"/>
                  </a:lnTo>
                  <a:lnTo>
                    <a:pt x="192" y="78"/>
                  </a:lnTo>
                  <a:lnTo>
                    <a:pt x="180" y="84"/>
                  </a:lnTo>
                  <a:lnTo>
                    <a:pt x="162" y="84"/>
                  </a:lnTo>
                  <a:lnTo>
                    <a:pt x="138" y="84"/>
                  </a:lnTo>
                  <a:lnTo>
                    <a:pt x="84" y="84"/>
                  </a:lnTo>
                  <a:lnTo>
                    <a:pt x="24" y="96"/>
                  </a:lnTo>
                  <a:lnTo>
                    <a:pt x="12" y="96"/>
                  </a:lnTo>
                  <a:lnTo>
                    <a:pt x="6" y="90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6" y="66"/>
                  </a:lnTo>
                  <a:lnTo>
                    <a:pt x="12" y="54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36" y="24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3" name="Freeform 417">
              <a:extLst>
                <a:ext uri="{FF2B5EF4-FFF2-40B4-BE49-F238E27FC236}">
                  <a16:creationId xmlns:a16="http://schemas.microsoft.com/office/drawing/2014/main" id="{16C9963D-E8C9-43A6-8ED6-A3FA6D076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72525" y="7658132"/>
              <a:ext cx="285751" cy="180976"/>
            </a:xfrm>
            <a:custGeom>
              <a:avLst/>
              <a:gdLst>
                <a:gd name="T0" fmla="*/ 18 w 180"/>
                <a:gd name="T1" fmla="*/ 0 h 114"/>
                <a:gd name="T2" fmla="*/ 30 w 180"/>
                <a:gd name="T3" fmla="*/ 6 h 114"/>
                <a:gd name="T4" fmla="*/ 42 w 180"/>
                <a:gd name="T5" fmla="*/ 6 h 114"/>
                <a:gd name="T6" fmla="*/ 54 w 180"/>
                <a:gd name="T7" fmla="*/ 12 h 114"/>
                <a:gd name="T8" fmla="*/ 66 w 180"/>
                <a:gd name="T9" fmla="*/ 12 h 114"/>
                <a:gd name="T10" fmla="*/ 84 w 180"/>
                <a:gd name="T11" fmla="*/ 12 h 114"/>
                <a:gd name="T12" fmla="*/ 102 w 180"/>
                <a:gd name="T13" fmla="*/ 12 h 114"/>
                <a:gd name="T14" fmla="*/ 126 w 180"/>
                <a:gd name="T15" fmla="*/ 18 h 114"/>
                <a:gd name="T16" fmla="*/ 138 w 180"/>
                <a:gd name="T17" fmla="*/ 24 h 114"/>
                <a:gd name="T18" fmla="*/ 156 w 180"/>
                <a:gd name="T19" fmla="*/ 36 h 114"/>
                <a:gd name="T20" fmla="*/ 162 w 180"/>
                <a:gd name="T21" fmla="*/ 54 h 114"/>
                <a:gd name="T22" fmla="*/ 174 w 180"/>
                <a:gd name="T23" fmla="*/ 66 h 114"/>
                <a:gd name="T24" fmla="*/ 180 w 180"/>
                <a:gd name="T25" fmla="*/ 84 h 114"/>
                <a:gd name="T26" fmla="*/ 180 w 180"/>
                <a:gd name="T27" fmla="*/ 96 h 114"/>
                <a:gd name="T28" fmla="*/ 180 w 180"/>
                <a:gd name="T29" fmla="*/ 102 h 114"/>
                <a:gd name="T30" fmla="*/ 174 w 180"/>
                <a:gd name="T31" fmla="*/ 108 h 114"/>
                <a:gd name="T32" fmla="*/ 162 w 180"/>
                <a:gd name="T33" fmla="*/ 114 h 114"/>
                <a:gd name="T34" fmla="*/ 144 w 180"/>
                <a:gd name="T35" fmla="*/ 108 h 114"/>
                <a:gd name="T36" fmla="*/ 132 w 180"/>
                <a:gd name="T37" fmla="*/ 102 h 114"/>
                <a:gd name="T38" fmla="*/ 120 w 180"/>
                <a:gd name="T39" fmla="*/ 96 h 114"/>
                <a:gd name="T40" fmla="*/ 108 w 180"/>
                <a:gd name="T41" fmla="*/ 84 h 114"/>
                <a:gd name="T42" fmla="*/ 96 w 180"/>
                <a:gd name="T43" fmla="*/ 72 h 114"/>
                <a:gd name="T44" fmla="*/ 84 w 180"/>
                <a:gd name="T45" fmla="*/ 60 h 114"/>
                <a:gd name="T46" fmla="*/ 72 w 180"/>
                <a:gd name="T47" fmla="*/ 60 h 114"/>
                <a:gd name="T48" fmla="*/ 60 w 180"/>
                <a:gd name="T49" fmla="*/ 66 h 114"/>
                <a:gd name="T50" fmla="*/ 42 w 180"/>
                <a:gd name="T51" fmla="*/ 72 h 114"/>
                <a:gd name="T52" fmla="*/ 30 w 180"/>
                <a:gd name="T53" fmla="*/ 72 h 114"/>
                <a:gd name="T54" fmla="*/ 18 w 180"/>
                <a:gd name="T55" fmla="*/ 66 h 114"/>
                <a:gd name="T56" fmla="*/ 12 w 180"/>
                <a:gd name="T57" fmla="*/ 54 h 114"/>
                <a:gd name="T58" fmla="*/ 6 w 180"/>
                <a:gd name="T59" fmla="*/ 42 h 114"/>
                <a:gd name="T60" fmla="*/ 0 w 180"/>
                <a:gd name="T61" fmla="*/ 24 h 114"/>
                <a:gd name="T62" fmla="*/ 6 w 180"/>
                <a:gd name="T63" fmla="*/ 12 h 114"/>
                <a:gd name="T64" fmla="*/ 12 w 180"/>
                <a:gd name="T65" fmla="*/ 6 h 114"/>
                <a:gd name="T66" fmla="*/ 18 w 180"/>
                <a:gd name="T6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0" h="114">
                  <a:moveTo>
                    <a:pt x="18" y="0"/>
                  </a:moveTo>
                  <a:lnTo>
                    <a:pt x="30" y="6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66" y="12"/>
                  </a:lnTo>
                  <a:lnTo>
                    <a:pt x="84" y="12"/>
                  </a:lnTo>
                  <a:lnTo>
                    <a:pt x="102" y="12"/>
                  </a:lnTo>
                  <a:lnTo>
                    <a:pt x="126" y="18"/>
                  </a:lnTo>
                  <a:lnTo>
                    <a:pt x="138" y="24"/>
                  </a:lnTo>
                  <a:lnTo>
                    <a:pt x="156" y="36"/>
                  </a:lnTo>
                  <a:lnTo>
                    <a:pt x="162" y="54"/>
                  </a:lnTo>
                  <a:lnTo>
                    <a:pt x="174" y="66"/>
                  </a:lnTo>
                  <a:lnTo>
                    <a:pt x="180" y="84"/>
                  </a:lnTo>
                  <a:lnTo>
                    <a:pt x="180" y="96"/>
                  </a:lnTo>
                  <a:lnTo>
                    <a:pt x="180" y="102"/>
                  </a:lnTo>
                  <a:lnTo>
                    <a:pt x="174" y="108"/>
                  </a:lnTo>
                  <a:lnTo>
                    <a:pt x="162" y="114"/>
                  </a:lnTo>
                  <a:lnTo>
                    <a:pt x="144" y="108"/>
                  </a:lnTo>
                  <a:lnTo>
                    <a:pt x="132" y="102"/>
                  </a:lnTo>
                  <a:lnTo>
                    <a:pt x="120" y="96"/>
                  </a:lnTo>
                  <a:lnTo>
                    <a:pt x="108" y="84"/>
                  </a:lnTo>
                  <a:lnTo>
                    <a:pt x="96" y="72"/>
                  </a:lnTo>
                  <a:lnTo>
                    <a:pt x="84" y="60"/>
                  </a:lnTo>
                  <a:lnTo>
                    <a:pt x="72" y="60"/>
                  </a:lnTo>
                  <a:lnTo>
                    <a:pt x="60" y="66"/>
                  </a:lnTo>
                  <a:lnTo>
                    <a:pt x="42" y="72"/>
                  </a:lnTo>
                  <a:lnTo>
                    <a:pt x="30" y="72"/>
                  </a:lnTo>
                  <a:lnTo>
                    <a:pt x="18" y="66"/>
                  </a:lnTo>
                  <a:lnTo>
                    <a:pt x="12" y="54"/>
                  </a:lnTo>
                  <a:lnTo>
                    <a:pt x="6" y="42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4" name="Freeform 421">
              <a:extLst>
                <a:ext uri="{FF2B5EF4-FFF2-40B4-BE49-F238E27FC236}">
                  <a16:creationId xmlns:a16="http://schemas.microsoft.com/office/drawing/2014/main" id="{F891ACEA-AD75-4484-BDD4-1548F3C4E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20278" y="5905527"/>
              <a:ext cx="142876" cy="85723"/>
            </a:xfrm>
            <a:custGeom>
              <a:avLst/>
              <a:gdLst>
                <a:gd name="T0" fmla="*/ 60 w 90"/>
                <a:gd name="T1" fmla="*/ 0 h 54"/>
                <a:gd name="T2" fmla="*/ 72 w 90"/>
                <a:gd name="T3" fmla="*/ 0 h 54"/>
                <a:gd name="T4" fmla="*/ 84 w 90"/>
                <a:gd name="T5" fmla="*/ 6 h 54"/>
                <a:gd name="T6" fmla="*/ 90 w 90"/>
                <a:gd name="T7" fmla="*/ 18 h 54"/>
                <a:gd name="T8" fmla="*/ 90 w 90"/>
                <a:gd name="T9" fmla="*/ 24 h 54"/>
                <a:gd name="T10" fmla="*/ 84 w 90"/>
                <a:gd name="T11" fmla="*/ 30 h 54"/>
                <a:gd name="T12" fmla="*/ 78 w 90"/>
                <a:gd name="T13" fmla="*/ 42 h 54"/>
                <a:gd name="T14" fmla="*/ 72 w 90"/>
                <a:gd name="T15" fmla="*/ 48 h 54"/>
                <a:gd name="T16" fmla="*/ 66 w 90"/>
                <a:gd name="T17" fmla="*/ 48 h 54"/>
                <a:gd name="T18" fmla="*/ 48 w 90"/>
                <a:gd name="T19" fmla="*/ 54 h 54"/>
                <a:gd name="T20" fmla="*/ 30 w 90"/>
                <a:gd name="T21" fmla="*/ 54 h 54"/>
                <a:gd name="T22" fmla="*/ 18 w 90"/>
                <a:gd name="T23" fmla="*/ 48 h 54"/>
                <a:gd name="T24" fmla="*/ 6 w 90"/>
                <a:gd name="T25" fmla="*/ 36 h 54"/>
                <a:gd name="T26" fmla="*/ 0 w 90"/>
                <a:gd name="T27" fmla="*/ 24 h 54"/>
                <a:gd name="T28" fmla="*/ 0 w 90"/>
                <a:gd name="T29" fmla="*/ 18 h 54"/>
                <a:gd name="T30" fmla="*/ 6 w 90"/>
                <a:gd name="T31" fmla="*/ 12 h 54"/>
                <a:gd name="T32" fmla="*/ 18 w 90"/>
                <a:gd name="T33" fmla="*/ 6 h 54"/>
                <a:gd name="T34" fmla="*/ 24 w 90"/>
                <a:gd name="T35" fmla="*/ 0 h 54"/>
                <a:gd name="T36" fmla="*/ 36 w 90"/>
                <a:gd name="T37" fmla="*/ 0 h 54"/>
                <a:gd name="T38" fmla="*/ 60 w 90"/>
                <a:gd name="T3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" h="54">
                  <a:moveTo>
                    <a:pt x="60" y="0"/>
                  </a:moveTo>
                  <a:lnTo>
                    <a:pt x="72" y="0"/>
                  </a:lnTo>
                  <a:lnTo>
                    <a:pt x="84" y="6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84" y="30"/>
                  </a:lnTo>
                  <a:lnTo>
                    <a:pt x="78" y="42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5" name="Freeform 422">
              <a:extLst>
                <a:ext uri="{FF2B5EF4-FFF2-40B4-BE49-F238E27FC236}">
                  <a16:creationId xmlns:a16="http://schemas.microsoft.com/office/drawing/2014/main" id="{651F170D-7833-4A49-9ED0-0E8299F52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8399" y="5905527"/>
              <a:ext cx="95253" cy="57154"/>
            </a:xfrm>
            <a:custGeom>
              <a:avLst/>
              <a:gdLst>
                <a:gd name="T0" fmla="*/ 48 w 60"/>
                <a:gd name="T1" fmla="*/ 0 h 36"/>
                <a:gd name="T2" fmla="*/ 54 w 60"/>
                <a:gd name="T3" fmla="*/ 0 h 36"/>
                <a:gd name="T4" fmla="*/ 60 w 60"/>
                <a:gd name="T5" fmla="*/ 6 h 36"/>
                <a:gd name="T6" fmla="*/ 54 w 60"/>
                <a:gd name="T7" fmla="*/ 12 h 36"/>
                <a:gd name="T8" fmla="*/ 54 w 60"/>
                <a:gd name="T9" fmla="*/ 18 h 36"/>
                <a:gd name="T10" fmla="*/ 48 w 60"/>
                <a:gd name="T11" fmla="*/ 24 h 36"/>
                <a:gd name="T12" fmla="*/ 36 w 60"/>
                <a:gd name="T13" fmla="*/ 30 h 36"/>
                <a:gd name="T14" fmla="*/ 24 w 60"/>
                <a:gd name="T15" fmla="*/ 36 h 36"/>
                <a:gd name="T16" fmla="*/ 18 w 60"/>
                <a:gd name="T17" fmla="*/ 36 h 36"/>
                <a:gd name="T18" fmla="*/ 6 w 60"/>
                <a:gd name="T19" fmla="*/ 36 h 36"/>
                <a:gd name="T20" fmla="*/ 0 w 60"/>
                <a:gd name="T21" fmla="*/ 30 h 36"/>
                <a:gd name="T22" fmla="*/ 0 w 60"/>
                <a:gd name="T23" fmla="*/ 24 h 36"/>
                <a:gd name="T24" fmla="*/ 6 w 60"/>
                <a:gd name="T25" fmla="*/ 18 h 36"/>
                <a:gd name="T26" fmla="*/ 12 w 60"/>
                <a:gd name="T27" fmla="*/ 6 h 36"/>
                <a:gd name="T28" fmla="*/ 24 w 60"/>
                <a:gd name="T29" fmla="*/ 0 h 36"/>
                <a:gd name="T30" fmla="*/ 36 w 60"/>
                <a:gd name="T31" fmla="*/ 0 h 36"/>
                <a:gd name="T32" fmla="*/ 48 w 60"/>
                <a:gd name="T3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36">
                  <a:moveTo>
                    <a:pt x="48" y="0"/>
                  </a:moveTo>
                  <a:lnTo>
                    <a:pt x="54" y="0"/>
                  </a:lnTo>
                  <a:lnTo>
                    <a:pt x="60" y="6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36" y="30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6" name="Freeform 423">
              <a:extLst>
                <a:ext uri="{FF2B5EF4-FFF2-40B4-BE49-F238E27FC236}">
                  <a16:creationId xmlns:a16="http://schemas.microsoft.com/office/drawing/2014/main" id="{8F392C58-1FED-4BAE-AFC1-D3D8DF61F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58428" y="5905527"/>
              <a:ext cx="85722" cy="57154"/>
            </a:xfrm>
            <a:custGeom>
              <a:avLst/>
              <a:gdLst>
                <a:gd name="T0" fmla="*/ 30 w 54"/>
                <a:gd name="T1" fmla="*/ 0 h 36"/>
                <a:gd name="T2" fmla="*/ 42 w 54"/>
                <a:gd name="T3" fmla="*/ 0 h 36"/>
                <a:gd name="T4" fmla="*/ 54 w 54"/>
                <a:gd name="T5" fmla="*/ 6 h 36"/>
                <a:gd name="T6" fmla="*/ 54 w 54"/>
                <a:gd name="T7" fmla="*/ 12 h 36"/>
                <a:gd name="T8" fmla="*/ 54 w 54"/>
                <a:gd name="T9" fmla="*/ 18 h 36"/>
                <a:gd name="T10" fmla="*/ 48 w 54"/>
                <a:gd name="T11" fmla="*/ 24 h 36"/>
                <a:gd name="T12" fmla="*/ 42 w 54"/>
                <a:gd name="T13" fmla="*/ 30 h 36"/>
                <a:gd name="T14" fmla="*/ 30 w 54"/>
                <a:gd name="T15" fmla="*/ 36 h 36"/>
                <a:gd name="T16" fmla="*/ 18 w 54"/>
                <a:gd name="T17" fmla="*/ 36 h 36"/>
                <a:gd name="T18" fmla="*/ 6 w 54"/>
                <a:gd name="T19" fmla="*/ 36 h 36"/>
                <a:gd name="T20" fmla="*/ 0 w 54"/>
                <a:gd name="T21" fmla="*/ 30 h 36"/>
                <a:gd name="T22" fmla="*/ 0 w 54"/>
                <a:gd name="T23" fmla="*/ 24 h 36"/>
                <a:gd name="T24" fmla="*/ 0 w 54"/>
                <a:gd name="T25" fmla="*/ 18 h 36"/>
                <a:gd name="T26" fmla="*/ 6 w 54"/>
                <a:gd name="T27" fmla="*/ 6 h 36"/>
                <a:gd name="T28" fmla="*/ 18 w 54"/>
                <a:gd name="T29" fmla="*/ 0 h 36"/>
                <a:gd name="T30" fmla="*/ 30 w 54"/>
                <a:gd name="T3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36">
                  <a:moveTo>
                    <a:pt x="30" y="0"/>
                  </a:moveTo>
                  <a:lnTo>
                    <a:pt x="42" y="0"/>
                  </a:lnTo>
                  <a:lnTo>
                    <a:pt x="54" y="6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2" y="30"/>
                  </a:lnTo>
                  <a:lnTo>
                    <a:pt x="30" y="36"/>
                  </a:lnTo>
                  <a:lnTo>
                    <a:pt x="18" y="36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7" name="Freeform 424">
              <a:extLst>
                <a:ext uri="{FF2B5EF4-FFF2-40B4-BE49-F238E27FC236}">
                  <a16:creationId xmlns:a16="http://schemas.microsoft.com/office/drawing/2014/main" id="{929E76A7-7A12-405A-B209-A4072405F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29872" y="5867428"/>
              <a:ext cx="123822" cy="76200"/>
            </a:xfrm>
            <a:custGeom>
              <a:avLst/>
              <a:gdLst>
                <a:gd name="T0" fmla="*/ 42 w 78"/>
                <a:gd name="T1" fmla="*/ 0 h 48"/>
                <a:gd name="T2" fmla="*/ 54 w 78"/>
                <a:gd name="T3" fmla="*/ 0 h 48"/>
                <a:gd name="T4" fmla="*/ 66 w 78"/>
                <a:gd name="T5" fmla="*/ 6 h 48"/>
                <a:gd name="T6" fmla="*/ 72 w 78"/>
                <a:gd name="T7" fmla="*/ 12 h 48"/>
                <a:gd name="T8" fmla="*/ 78 w 78"/>
                <a:gd name="T9" fmla="*/ 24 h 48"/>
                <a:gd name="T10" fmla="*/ 72 w 78"/>
                <a:gd name="T11" fmla="*/ 30 h 48"/>
                <a:gd name="T12" fmla="*/ 66 w 78"/>
                <a:gd name="T13" fmla="*/ 42 h 48"/>
                <a:gd name="T14" fmla="*/ 54 w 78"/>
                <a:gd name="T15" fmla="*/ 48 h 48"/>
                <a:gd name="T16" fmla="*/ 36 w 78"/>
                <a:gd name="T17" fmla="*/ 48 h 48"/>
                <a:gd name="T18" fmla="*/ 18 w 78"/>
                <a:gd name="T19" fmla="*/ 48 h 48"/>
                <a:gd name="T20" fmla="*/ 6 w 78"/>
                <a:gd name="T21" fmla="*/ 42 h 48"/>
                <a:gd name="T22" fmla="*/ 0 w 78"/>
                <a:gd name="T23" fmla="*/ 36 h 48"/>
                <a:gd name="T24" fmla="*/ 0 w 78"/>
                <a:gd name="T25" fmla="*/ 24 h 48"/>
                <a:gd name="T26" fmla="*/ 6 w 78"/>
                <a:gd name="T27" fmla="*/ 18 h 48"/>
                <a:gd name="T28" fmla="*/ 12 w 78"/>
                <a:gd name="T29" fmla="*/ 6 h 48"/>
                <a:gd name="T30" fmla="*/ 24 w 78"/>
                <a:gd name="T31" fmla="*/ 0 h 48"/>
                <a:gd name="T32" fmla="*/ 42 w 78"/>
                <a:gd name="T3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" h="48">
                  <a:moveTo>
                    <a:pt x="42" y="0"/>
                  </a:moveTo>
                  <a:lnTo>
                    <a:pt x="54" y="0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18" y="48"/>
                  </a:lnTo>
                  <a:lnTo>
                    <a:pt x="6" y="42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8" name="Freeform 425">
              <a:extLst>
                <a:ext uri="{FF2B5EF4-FFF2-40B4-BE49-F238E27FC236}">
                  <a16:creationId xmlns:a16="http://schemas.microsoft.com/office/drawing/2014/main" id="{D59B36E7-BCA4-486B-89D6-908258355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6122" y="5905527"/>
              <a:ext cx="66676" cy="85723"/>
            </a:xfrm>
            <a:custGeom>
              <a:avLst/>
              <a:gdLst>
                <a:gd name="T0" fmla="*/ 18 w 42"/>
                <a:gd name="T1" fmla="*/ 0 h 54"/>
                <a:gd name="T2" fmla="*/ 30 w 42"/>
                <a:gd name="T3" fmla="*/ 0 h 54"/>
                <a:gd name="T4" fmla="*/ 42 w 42"/>
                <a:gd name="T5" fmla="*/ 6 h 54"/>
                <a:gd name="T6" fmla="*/ 42 w 42"/>
                <a:gd name="T7" fmla="*/ 12 h 54"/>
                <a:gd name="T8" fmla="*/ 42 w 42"/>
                <a:gd name="T9" fmla="*/ 24 h 54"/>
                <a:gd name="T10" fmla="*/ 42 w 42"/>
                <a:gd name="T11" fmla="*/ 36 h 54"/>
                <a:gd name="T12" fmla="*/ 36 w 42"/>
                <a:gd name="T13" fmla="*/ 42 h 54"/>
                <a:gd name="T14" fmla="*/ 24 w 42"/>
                <a:gd name="T15" fmla="*/ 54 h 54"/>
                <a:gd name="T16" fmla="*/ 18 w 42"/>
                <a:gd name="T17" fmla="*/ 54 h 54"/>
                <a:gd name="T18" fmla="*/ 6 w 42"/>
                <a:gd name="T19" fmla="*/ 54 h 54"/>
                <a:gd name="T20" fmla="*/ 0 w 42"/>
                <a:gd name="T21" fmla="*/ 48 h 54"/>
                <a:gd name="T22" fmla="*/ 0 w 42"/>
                <a:gd name="T23" fmla="*/ 36 h 54"/>
                <a:gd name="T24" fmla="*/ 0 w 42"/>
                <a:gd name="T25" fmla="*/ 24 h 54"/>
                <a:gd name="T26" fmla="*/ 0 w 42"/>
                <a:gd name="T27" fmla="*/ 18 h 54"/>
                <a:gd name="T28" fmla="*/ 6 w 42"/>
                <a:gd name="T29" fmla="*/ 6 h 54"/>
                <a:gd name="T30" fmla="*/ 12 w 42"/>
                <a:gd name="T31" fmla="*/ 0 h 54"/>
                <a:gd name="T32" fmla="*/ 18 w 42"/>
                <a:gd name="T3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4">
                  <a:moveTo>
                    <a:pt x="18" y="0"/>
                  </a:moveTo>
                  <a:lnTo>
                    <a:pt x="30" y="0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24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19" name="Freeform 426">
              <a:extLst>
                <a:ext uri="{FF2B5EF4-FFF2-40B4-BE49-F238E27FC236}">
                  <a16:creationId xmlns:a16="http://schemas.microsoft.com/office/drawing/2014/main" id="{A37676B0-4E9C-44F0-927A-344788577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1852" y="5591206"/>
              <a:ext cx="114299" cy="76200"/>
            </a:xfrm>
            <a:custGeom>
              <a:avLst/>
              <a:gdLst>
                <a:gd name="T0" fmla="*/ 36 w 72"/>
                <a:gd name="T1" fmla="*/ 0 h 48"/>
                <a:gd name="T2" fmla="*/ 54 w 72"/>
                <a:gd name="T3" fmla="*/ 0 h 48"/>
                <a:gd name="T4" fmla="*/ 66 w 72"/>
                <a:gd name="T5" fmla="*/ 6 h 48"/>
                <a:gd name="T6" fmla="*/ 72 w 72"/>
                <a:gd name="T7" fmla="*/ 12 h 48"/>
                <a:gd name="T8" fmla="*/ 72 w 72"/>
                <a:gd name="T9" fmla="*/ 24 h 48"/>
                <a:gd name="T10" fmla="*/ 66 w 72"/>
                <a:gd name="T11" fmla="*/ 36 h 48"/>
                <a:gd name="T12" fmla="*/ 60 w 72"/>
                <a:gd name="T13" fmla="*/ 42 h 48"/>
                <a:gd name="T14" fmla="*/ 48 w 72"/>
                <a:gd name="T15" fmla="*/ 48 h 48"/>
                <a:gd name="T16" fmla="*/ 30 w 72"/>
                <a:gd name="T17" fmla="*/ 48 h 48"/>
                <a:gd name="T18" fmla="*/ 18 w 72"/>
                <a:gd name="T19" fmla="*/ 48 h 48"/>
                <a:gd name="T20" fmla="*/ 6 w 72"/>
                <a:gd name="T21" fmla="*/ 42 h 48"/>
                <a:gd name="T22" fmla="*/ 0 w 72"/>
                <a:gd name="T23" fmla="*/ 36 h 48"/>
                <a:gd name="T24" fmla="*/ 6 w 72"/>
                <a:gd name="T25" fmla="*/ 30 h 48"/>
                <a:gd name="T26" fmla="*/ 6 w 72"/>
                <a:gd name="T27" fmla="*/ 18 h 48"/>
                <a:gd name="T28" fmla="*/ 12 w 72"/>
                <a:gd name="T29" fmla="*/ 12 h 48"/>
                <a:gd name="T30" fmla="*/ 24 w 72"/>
                <a:gd name="T31" fmla="*/ 6 h 48"/>
                <a:gd name="T32" fmla="*/ 36 w 72"/>
                <a:gd name="T3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48">
                  <a:moveTo>
                    <a:pt x="36" y="0"/>
                  </a:moveTo>
                  <a:lnTo>
                    <a:pt x="54" y="0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60" y="42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18" y="48"/>
                  </a:lnTo>
                  <a:lnTo>
                    <a:pt x="6" y="42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0" name="Freeform 427">
              <a:extLst>
                <a:ext uri="{FF2B5EF4-FFF2-40B4-BE49-F238E27FC236}">
                  <a16:creationId xmlns:a16="http://schemas.microsoft.com/office/drawing/2014/main" id="{F36864A6-B88C-4A50-93C7-E3F9EA49C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06251" y="5915058"/>
              <a:ext cx="161922" cy="85723"/>
            </a:xfrm>
            <a:custGeom>
              <a:avLst/>
              <a:gdLst>
                <a:gd name="T0" fmla="*/ 42 w 102"/>
                <a:gd name="T1" fmla="*/ 0 h 54"/>
                <a:gd name="T2" fmla="*/ 60 w 102"/>
                <a:gd name="T3" fmla="*/ 0 h 54"/>
                <a:gd name="T4" fmla="*/ 78 w 102"/>
                <a:gd name="T5" fmla="*/ 6 h 54"/>
                <a:gd name="T6" fmla="*/ 90 w 102"/>
                <a:gd name="T7" fmla="*/ 12 h 54"/>
                <a:gd name="T8" fmla="*/ 102 w 102"/>
                <a:gd name="T9" fmla="*/ 18 h 54"/>
                <a:gd name="T10" fmla="*/ 102 w 102"/>
                <a:gd name="T11" fmla="*/ 24 h 54"/>
                <a:gd name="T12" fmla="*/ 102 w 102"/>
                <a:gd name="T13" fmla="*/ 36 h 54"/>
                <a:gd name="T14" fmla="*/ 90 w 102"/>
                <a:gd name="T15" fmla="*/ 42 h 54"/>
                <a:gd name="T16" fmla="*/ 72 w 102"/>
                <a:gd name="T17" fmla="*/ 48 h 54"/>
                <a:gd name="T18" fmla="*/ 48 w 102"/>
                <a:gd name="T19" fmla="*/ 54 h 54"/>
                <a:gd name="T20" fmla="*/ 30 w 102"/>
                <a:gd name="T21" fmla="*/ 54 h 54"/>
                <a:gd name="T22" fmla="*/ 12 w 102"/>
                <a:gd name="T23" fmla="*/ 54 h 54"/>
                <a:gd name="T24" fmla="*/ 6 w 102"/>
                <a:gd name="T25" fmla="*/ 48 h 54"/>
                <a:gd name="T26" fmla="*/ 0 w 102"/>
                <a:gd name="T27" fmla="*/ 42 h 54"/>
                <a:gd name="T28" fmla="*/ 0 w 102"/>
                <a:gd name="T29" fmla="*/ 36 h 54"/>
                <a:gd name="T30" fmla="*/ 6 w 102"/>
                <a:gd name="T31" fmla="*/ 30 h 54"/>
                <a:gd name="T32" fmla="*/ 12 w 102"/>
                <a:gd name="T33" fmla="*/ 18 h 54"/>
                <a:gd name="T34" fmla="*/ 18 w 102"/>
                <a:gd name="T35" fmla="*/ 12 h 54"/>
                <a:gd name="T36" fmla="*/ 24 w 102"/>
                <a:gd name="T37" fmla="*/ 6 h 54"/>
                <a:gd name="T38" fmla="*/ 36 w 102"/>
                <a:gd name="T39" fmla="*/ 6 h 54"/>
                <a:gd name="T40" fmla="*/ 42 w 102"/>
                <a:gd name="T4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2" h="54">
                  <a:moveTo>
                    <a:pt x="42" y="0"/>
                  </a:moveTo>
                  <a:lnTo>
                    <a:pt x="60" y="0"/>
                  </a:lnTo>
                  <a:lnTo>
                    <a:pt x="78" y="6"/>
                  </a:lnTo>
                  <a:lnTo>
                    <a:pt x="90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6"/>
                  </a:lnTo>
                  <a:lnTo>
                    <a:pt x="90" y="42"/>
                  </a:lnTo>
                  <a:lnTo>
                    <a:pt x="72" y="48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1" name="Freeform 428">
              <a:extLst>
                <a:ext uri="{FF2B5EF4-FFF2-40B4-BE49-F238E27FC236}">
                  <a16:creationId xmlns:a16="http://schemas.microsoft.com/office/drawing/2014/main" id="{D1DCC680-A848-4501-8B58-062123B2F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629" y="5753128"/>
              <a:ext cx="85722" cy="95253"/>
            </a:xfrm>
            <a:custGeom>
              <a:avLst/>
              <a:gdLst>
                <a:gd name="T0" fmla="*/ 6 w 54"/>
                <a:gd name="T1" fmla="*/ 0 h 60"/>
                <a:gd name="T2" fmla="*/ 12 w 54"/>
                <a:gd name="T3" fmla="*/ 6 h 60"/>
                <a:gd name="T4" fmla="*/ 30 w 54"/>
                <a:gd name="T5" fmla="*/ 24 h 60"/>
                <a:gd name="T6" fmla="*/ 42 w 54"/>
                <a:gd name="T7" fmla="*/ 36 h 60"/>
                <a:gd name="T8" fmla="*/ 48 w 54"/>
                <a:gd name="T9" fmla="*/ 42 h 60"/>
                <a:gd name="T10" fmla="*/ 54 w 54"/>
                <a:gd name="T11" fmla="*/ 48 h 60"/>
                <a:gd name="T12" fmla="*/ 48 w 54"/>
                <a:gd name="T13" fmla="*/ 54 h 60"/>
                <a:gd name="T14" fmla="*/ 48 w 54"/>
                <a:gd name="T15" fmla="*/ 54 h 60"/>
                <a:gd name="T16" fmla="*/ 42 w 54"/>
                <a:gd name="T17" fmla="*/ 60 h 60"/>
                <a:gd name="T18" fmla="*/ 30 w 54"/>
                <a:gd name="T19" fmla="*/ 60 h 60"/>
                <a:gd name="T20" fmla="*/ 24 w 54"/>
                <a:gd name="T21" fmla="*/ 60 h 60"/>
                <a:gd name="T22" fmla="*/ 12 w 54"/>
                <a:gd name="T23" fmla="*/ 54 h 60"/>
                <a:gd name="T24" fmla="*/ 6 w 54"/>
                <a:gd name="T25" fmla="*/ 48 h 60"/>
                <a:gd name="T26" fmla="*/ 0 w 54"/>
                <a:gd name="T27" fmla="*/ 36 h 60"/>
                <a:gd name="T28" fmla="*/ 0 w 54"/>
                <a:gd name="T29" fmla="*/ 24 h 60"/>
                <a:gd name="T30" fmla="*/ 0 w 54"/>
                <a:gd name="T31" fmla="*/ 12 h 60"/>
                <a:gd name="T32" fmla="*/ 0 w 54"/>
                <a:gd name="T33" fmla="*/ 6 h 60"/>
                <a:gd name="T34" fmla="*/ 6 w 54"/>
                <a:gd name="T3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60">
                  <a:moveTo>
                    <a:pt x="6" y="0"/>
                  </a:moveTo>
                  <a:lnTo>
                    <a:pt x="12" y="6"/>
                  </a:lnTo>
                  <a:lnTo>
                    <a:pt x="30" y="24"/>
                  </a:lnTo>
                  <a:lnTo>
                    <a:pt x="42" y="36"/>
                  </a:lnTo>
                  <a:lnTo>
                    <a:pt x="48" y="42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2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2" name="Freeform 429">
              <a:extLst>
                <a:ext uri="{FF2B5EF4-FFF2-40B4-BE49-F238E27FC236}">
                  <a16:creationId xmlns:a16="http://schemas.microsoft.com/office/drawing/2014/main" id="{5E9CE0B0-7522-4013-B47C-9DB2A5B08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20148" y="1504961"/>
              <a:ext cx="857254" cy="1181101"/>
            </a:xfrm>
            <a:custGeom>
              <a:avLst/>
              <a:gdLst>
                <a:gd name="T0" fmla="*/ 228 w 540"/>
                <a:gd name="T1" fmla="*/ 12 h 744"/>
                <a:gd name="T2" fmla="*/ 240 w 540"/>
                <a:gd name="T3" fmla="*/ 54 h 744"/>
                <a:gd name="T4" fmla="*/ 258 w 540"/>
                <a:gd name="T5" fmla="*/ 180 h 744"/>
                <a:gd name="T6" fmla="*/ 288 w 540"/>
                <a:gd name="T7" fmla="*/ 288 h 744"/>
                <a:gd name="T8" fmla="*/ 276 w 540"/>
                <a:gd name="T9" fmla="*/ 330 h 744"/>
                <a:gd name="T10" fmla="*/ 234 w 540"/>
                <a:gd name="T11" fmla="*/ 372 h 744"/>
                <a:gd name="T12" fmla="*/ 234 w 540"/>
                <a:gd name="T13" fmla="*/ 420 h 744"/>
                <a:gd name="T14" fmla="*/ 246 w 540"/>
                <a:gd name="T15" fmla="*/ 540 h 744"/>
                <a:gd name="T16" fmla="*/ 270 w 540"/>
                <a:gd name="T17" fmla="*/ 570 h 744"/>
                <a:gd name="T18" fmla="*/ 306 w 540"/>
                <a:gd name="T19" fmla="*/ 576 h 744"/>
                <a:gd name="T20" fmla="*/ 336 w 540"/>
                <a:gd name="T21" fmla="*/ 570 h 744"/>
                <a:gd name="T22" fmla="*/ 384 w 540"/>
                <a:gd name="T23" fmla="*/ 582 h 744"/>
                <a:gd name="T24" fmla="*/ 402 w 540"/>
                <a:gd name="T25" fmla="*/ 600 h 744"/>
                <a:gd name="T26" fmla="*/ 414 w 540"/>
                <a:gd name="T27" fmla="*/ 600 h 744"/>
                <a:gd name="T28" fmla="*/ 432 w 540"/>
                <a:gd name="T29" fmla="*/ 594 h 744"/>
                <a:gd name="T30" fmla="*/ 456 w 540"/>
                <a:gd name="T31" fmla="*/ 600 h 744"/>
                <a:gd name="T32" fmla="*/ 480 w 540"/>
                <a:gd name="T33" fmla="*/ 606 h 744"/>
                <a:gd name="T34" fmla="*/ 474 w 540"/>
                <a:gd name="T35" fmla="*/ 630 h 744"/>
                <a:gd name="T36" fmla="*/ 504 w 540"/>
                <a:gd name="T37" fmla="*/ 642 h 744"/>
                <a:gd name="T38" fmla="*/ 516 w 540"/>
                <a:gd name="T39" fmla="*/ 654 h 744"/>
                <a:gd name="T40" fmla="*/ 522 w 540"/>
                <a:gd name="T41" fmla="*/ 684 h 744"/>
                <a:gd name="T42" fmla="*/ 540 w 540"/>
                <a:gd name="T43" fmla="*/ 720 h 744"/>
                <a:gd name="T44" fmla="*/ 516 w 540"/>
                <a:gd name="T45" fmla="*/ 744 h 744"/>
                <a:gd name="T46" fmla="*/ 474 w 540"/>
                <a:gd name="T47" fmla="*/ 738 h 744"/>
                <a:gd name="T48" fmla="*/ 414 w 540"/>
                <a:gd name="T49" fmla="*/ 702 h 744"/>
                <a:gd name="T50" fmla="*/ 402 w 540"/>
                <a:gd name="T51" fmla="*/ 666 h 744"/>
                <a:gd name="T52" fmla="*/ 378 w 540"/>
                <a:gd name="T53" fmla="*/ 642 h 744"/>
                <a:gd name="T54" fmla="*/ 366 w 540"/>
                <a:gd name="T55" fmla="*/ 654 h 744"/>
                <a:gd name="T56" fmla="*/ 360 w 540"/>
                <a:gd name="T57" fmla="*/ 678 h 744"/>
                <a:gd name="T58" fmla="*/ 330 w 540"/>
                <a:gd name="T59" fmla="*/ 672 h 744"/>
                <a:gd name="T60" fmla="*/ 312 w 540"/>
                <a:gd name="T61" fmla="*/ 642 h 744"/>
                <a:gd name="T62" fmla="*/ 282 w 540"/>
                <a:gd name="T63" fmla="*/ 624 h 744"/>
                <a:gd name="T64" fmla="*/ 246 w 540"/>
                <a:gd name="T65" fmla="*/ 630 h 744"/>
                <a:gd name="T66" fmla="*/ 234 w 540"/>
                <a:gd name="T67" fmla="*/ 654 h 744"/>
                <a:gd name="T68" fmla="*/ 210 w 540"/>
                <a:gd name="T69" fmla="*/ 654 h 744"/>
                <a:gd name="T70" fmla="*/ 174 w 540"/>
                <a:gd name="T71" fmla="*/ 642 h 744"/>
                <a:gd name="T72" fmla="*/ 150 w 540"/>
                <a:gd name="T73" fmla="*/ 612 h 744"/>
                <a:gd name="T74" fmla="*/ 144 w 540"/>
                <a:gd name="T75" fmla="*/ 558 h 744"/>
                <a:gd name="T76" fmla="*/ 114 w 540"/>
                <a:gd name="T77" fmla="*/ 528 h 744"/>
                <a:gd name="T78" fmla="*/ 84 w 540"/>
                <a:gd name="T79" fmla="*/ 510 h 744"/>
                <a:gd name="T80" fmla="*/ 36 w 540"/>
                <a:gd name="T81" fmla="*/ 420 h 744"/>
                <a:gd name="T82" fmla="*/ 0 w 540"/>
                <a:gd name="T83" fmla="*/ 360 h 744"/>
                <a:gd name="T84" fmla="*/ 18 w 540"/>
                <a:gd name="T85" fmla="*/ 348 h 744"/>
                <a:gd name="T86" fmla="*/ 54 w 540"/>
                <a:gd name="T87" fmla="*/ 360 h 744"/>
                <a:gd name="T88" fmla="*/ 60 w 540"/>
                <a:gd name="T89" fmla="*/ 324 h 744"/>
                <a:gd name="T90" fmla="*/ 48 w 540"/>
                <a:gd name="T91" fmla="*/ 276 h 744"/>
                <a:gd name="T92" fmla="*/ 60 w 540"/>
                <a:gd name="T93" fmla="*/ 234 h 744"/>
                <a:gd name="T94" fmla="*/ 42 w 540"/>
                <a:gd name="T95" fmla="*/ 198 h 744"/>
                <a:gd name="T96" fmla="*/ 30 w 540"/>
                <a:gd name="T97" fmla="*/ 156 h 744"/>
                <a:gd name="T98" fmla="*/ 48 w 540"/>
                <a:gd name="T99" fmla="*/ 114 h 744"/>
                <a:gd name="T100" fmla="*/ 72 w 540"/>
                <a:gd name="T101" fmla="*/ 60 h 744"/>
                <a:gd name="T102" fmla="*/ 84 w 540"/>
                <a:gd name="T103" fmla="*/ 18 h 744"/>
                <a:gd name="T104" fmla="*/ 126 w 540"/>
                <a:gd name="T105" fmla="*/ 6 h 744"/>
                <a:gd name="T106" fmla="*/ 174 w 540"/>
                <a:gd name="T107" fmla="*/ 24 h 744"/>
                <a:gd name="T108" fmla="*/ 198 w 540"/>
                <a:gd name="T109" fmla="*/ 18 h 744"/>
                <a:gd name="T110" fmla="*/ 222 w 540"/>
                <a:gd name="T111" fmla="*/ 0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40" h="744">
                  <a:moveTo>
                    <a:pt x="222" y="0"/>
                  </a:moveTo>
                  <a:lnTo>
                    <a:pt x="228" y="6"/>
                  </a:lnTo>
                  <a:lnTo>
                    <a:pt x="228" y="12"/>
                  </a:lnTo>
                  <a:lnTo>
                    <a:pt x="234" y="24"/>
                  </a:lnTo>
                  <a:lnTo>
                    <a:pt x="234" y="42"/>
                  </a:lnTo>
                  <a:lnTo>
                    <a:pt x="240" y="54"/>
                  </a:lnTo>
                  <a:lnTo>
                    <a:pt x="246" y="66"/>
                  </a:lnTo>
                  <a:lnTo>
                    <a:pt x="258" y="114"/>
                  </a:lnTo>
                  <a:lnTo>
                    <a:pt x="258" y="180"/>
                  </a:lnTo>
                  <a:lnTo>
                    <a:pt x="264" y="222"/>
                  </a:lnTo>
                  <a:lnTo>
                    <a:pt x="276" y="264"/>
                  </a:lnTo>
                  <a:lnTo>
                    <a:pt x="288" y="288"/>
                  </a:lnTo>
                  <a:lnTo>
                    <a:pt x="288" y="300"/>
                  </a:lnTo>
                  <a:lnTo>
                    <a:pt x="282" y="318"/>
                  </a:lnTo>
                  <a:lnTo>
                    <a:pt x="276" y="330"/>
                  </a:lnTo>
                  <a:lnTo>
                    <a:pt x="264" y="348"/>
                  </a:lnTo>
                  <a:lnTo>
                    <a:pt x="252" y="360"/>
                  </a:lnTo>
                  <a:lnTo>
                    <a:pt x="234" y="372"/>
                  </a:lnTo>
                  <a:lnTo>
                    <a:pt x="234" y="390"/>
                  </a:lnTo>
                  <a:lnTo>
                    <a:pt x="234" y="402"/>
                  </a:lnTo>
                  <a:lnTo>
                    <a:pt x="234" y="420"/>
                  </a:lnTo>
                  <a:lnTo>
                    <a:pt x="240" y="450"/>
                  </a:lnTo>
                  <a:lnTo>
                    <a:pt x="246" y="498"/>
                  </a:lnTo>
                  <a:lnTo>
                    <a:pt x="246" y="540"/>
                  </a:lnTo>
                  <a:lnTo>
                    <a:pt x="246" y="552"/>
                  </a:lnTo>
                  <a:lnTo>
                    <a:pt x="258" y="564"/>
                  </a:lnTo>
                  <a:lnTo>
                    <a:pt x="270" y="570"/>
                  </a:lnTo>
                  <a:lnTo>
                    <a:pt x="282" y="576"/>
                  </a:lnTo>
                  <a:lnTo>
                    <a:pt x="294" y="576"/>
                  </a:lnTo>
                  <a:lnTo>
                    <a:pt x="306" y="576"/>
                  </a:lnTo>
                  <a:lnTo>
                    <a:pt x="318" y="576"/>
                  </a:lnTo>
                  <a:lnTo>
                    <a:pt x="324" y="570"/>
                  </a:lnTo>
                  <a:lnTo>
                    <a:pt x="336" y="570"/>
                  </a:lnTo>
                  <a:lnTo>
                    <a:pt x="348" y="576"/>
                  </a:lnTo>
                  <a:lnTo>
                    <a:pt x="366" y="576"/>
                  </a:lnTo>
                  <a:lnTo>
                    <a:pt x="384" y="582"/>
                  </a:lnTo>
                  <a:lnTo>
                    <a:pt x="390" y="588"/>
                  </a:lnTo>
                  <a:lnTo>
                    <a:pt x="396" y="594"/>
                  </a:lnTo>
                  <a:lnTo>
                    <a:pt x="402" y="600"/>
                  </a:lnTo>
                  <a:lnTo>
                    <a:pt x="408" y="606"/>
                  </a:lnTo>
                  <a:lnTo>
                    <a:pt x="414" y="606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20" y="594"/>
                  </a:lnTo>
                  <a:lnTo>
                    <a:pt x="432" y="594"/>
                  </a:lnTo>
                  <a:lnTo>
                    <a:pt x="438" y="594"/>
                  </a:lnTo>
                  <a:lnTo>
                    <a:pt x="450" y="594"/>
                  </a:lnTo>
                  <a:lnTo>
                    <a:pt x="456" y="600"/>
                  </a:lnTo>
                  <a:lnTo>
                    <a:pt x="462" y="600"/>
                  </a:lnTo>
                  <a:lnTo>
                    <a:pt x="474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80" y="618"/>
                  </a:lnTo>
                  <a:lnTo>
                    <a:pt x="474" y="630"/>
                  </a:lnTo>
                  <a:lnTo>
                    <a:pt x="480" y="636"/>
                  </a:lnTo>
                  <a:lnTo>
                    <a:pt x="486" y="642"/>
                  </a:lnTo>
                  <a:lnTo>
                    <a:pt x="504" y="642"/>
                  </a:lnTo>
                  <a:lnTo>
                    <a:pt x="510" y="642"/>
                  </a:lnTo>
                  <a:lnTo>
                    <a:pt x="516" y="648"/>
                  </a:lnTo>
                  <a:lnTo>
                    <a:pt x="516" y="654"/>
                  </a:lnTo>
                  <a:lnTo>
                    <a:pt x="516" y="660"/>
                  </a:lnTo>
                  <a:lnTo>
                    <a:pt x="516" y="672"/>
                  </a:lnTo>
                  <a:lnTo>
                    <a:pt x="522" y="684"/>
                  </a:lnTo>
                  <a:lnTo>
                    <a:pt x="534" y="696"/>
                  </a:lnTo>
                  <a:lnTo>
                    <a:pt x="540" y="708"/>
                  </a:lnTo>
                  <a:lnTo>
                    <a:pt x="540" y="720"/>
                  </a:lnTo>
                  <a:lnTo>
                    <a:pt x="534" y="732"/>
                  </a:lnTo>
                  <a:lnTo>
                    <a:pt x="528" y="738"/>
                  </a:lnTo>
                  <a:lnTo>
                    <a:pt x="516" y="744"/>
                  </a:lnTo>
                  <a:lnTo>
                    <a:pt x="504" y="744"/>
                  </a:lnTo>
                  <a:lnTo>
                    <a:pt x="492" y="744"/>
                  </a:lnTo>
                  <a:lnTo>
                    <a:pt x="474" y="738"/>
                  </a:lnTo>
                  <a:lnTo>
                    <a:pt x="450" y="726"/>
                  </a:lnTo>
                  <a:lnTo>
                    <a:pt x="426" y="708"/>
                  </a:lnTo>
                  <a:lnTo>
                    <a:pt x="414" y="702"/>
                  </a:lnTo>
                  <a:lnTo>
                    <a:pt x="408" y="690"/>
                  </a:lnTo>
                  <a:lnTo>
                    <a:pt x="408" y="678"/>
                  </a:lnTo>
                  <a:lnTo>
                    <a:pt x="402" y="666"/>
                  </a:lnTo>
                  <a:lnTo>
                    <a:pt x="396" y="654"/>
                  </a:lnTo>
                  <a:lnTo>
                    <a:pt x="390" y="648"/>
                  </a:lnTo>
                  <a:lnTo>
                    <a:pt x="378" y="642"/>
                  </a:lnTo>
                  <a:lnTo>
                    <a:pt x="372" y="642"/>
                  </a:lnTo>
                  <a:lnTo>
                    <a:pt x="366" y="648"/>
                  </a:lnTo>
                  <a:lnTo>
                    <a:pt x="366" y="654"/>
                  </a:lnTo>
                  <a:lnTo>
                    <a:pt x="366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48" y="678"/>
                  </a:lnTo>
                  <a:lnTo>
                    <a:pt x="342" y="678"/>
                  </a:lnTo>
                  <a:lnTo>
                    <a:pt x="330" y="672"/>
                  </a:lnTo>
                  <a:lnTo>
                    <a:pt x="324" y="660"/>
                  </a:lnTo>
                  <a:lnTo>
                    <a:pt x="312" y="654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294" y="630"/>
                  </a:lnTo>
                  <a:lnTo>
                    <a:pt x="282" y="624"/>
                  </a:lnTo>
                  <a:lnTo>
                    <a:pt x="270" y="624"/>
                  </a:lnTo>
                  <a:lnTo>
                    <a:pt x="258" y="624"/>
                  </a:lnTo>
                  <a:lnTo>
                    <a:pt x="246" y="630"/>
                  </a:lnTo>
                  <a:lnTo>
                    <a:pt x="240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60"/>
                  </a:lnTo>
                  <a:lnTo>
                    <a:pt x="222" y="660"/>
                  </a:lnTo>
                  <a:lnTo>
                    <a:pt x="210" y="654"/>
                  </a:lnTo>
                  <a:lnTo>
                    <a:pt x="198" y="654"/>
                  </a:lnTo>
                  <a:lnTo>
                    <a:pt x="186" y="648"/>
                  </a:lnTo>
                  <a:lnTo>
                    <a:pt x="174" y="642"/>
                  </a:lnTo>
                  <a:lnTo>
                    <a:pt x="162" y="636"/>
                  </a:lnTo>
                  <a:lnTo>
                    <a:pt x="156" y="624"/>
                  </a:lnTo>
                  <a:lnTo>
                    <a:pt x="150" y="612"/>
                  </a:lnTo>
                  <a:lnTo>
                    <a:pt x="150" y="594"/>
                  </a:lnTo>
                  <a:lnTo>
                    <a:pt x="150" y="570"/>
                  </a:lnTo>
                  <a:lnTo>
                    <a:pt x="144" y="558"/>
                  </a:lnTo>
                  <a:lnTo>
                    <a:pt x="138" y="546"/>
                  </a:lnTo>
                  <a:lnTo>
                    <a:pt x="126" y="540"/>
                  </a:lnTo>
                  <a:lnTo>
                    <a:pt x="114" y="528"/>
                  </a:lnTo>
                  <a:lnTo>
                    <a:pt x="102" y="522"/>
                  </a:lnTo>
                  <a:lnTo>
                    <a:pt x="90" y="516"/>
                  </a:lnTo>
                  <a:lnTo>
                    <a:pt x="84" y="510"/>
                  </a:lnTo>
                  <a:lnTo>
                    <a:pt x="78" y="498"/>
                  </a:lnTo>
                  <a:lnTo>
                    <a:pt x="60" y="456"/>
                  </a:lnTo>
                  <a:lnTo>
                    <a:pt x="36" y="420"/>
                  </a:lnTo>
                  <a:lnTo>
                    <a:pt x="12" y="384"/>
                  </a:lnTo>
                  <a:lnTo>
                    <a:pt x="6" y="372"/>
                  </a:lnTo>
                  <a:lnTo>
                    <a:pt x="0" y="360"/>
                  </a:lnTo>
                  <a:lnTo>
                    <a:pt x="6" y="354"/>
                  </a:lnTo>
                  <a:lnTo>
                    <a:pt x="12" y="348"/>
                  </a:lnTo>
                  <a:lnTo>
                    <a:pt x="18" y="348"/>
                  </a:lnTo>
                  <a:lnTo>
                    <a:pt x="30" y="354"/>
                  </a:lnTo>
                  <a:lnTo>
                    <a:pt x="42" y="360"/>
                  </a:lnTo>
                  <a:lnTo>
                    <a:pt x="54" y="360"/>
                  </a:lnTo>
                  <a:lnTo>
                    <a:pt x="60" y="354"/>
                  </a:lnTo>
                  <a:lnTo>
                    <a:pt x="66" y="342"/>
                  </a:lnTo>
                  <a:lnTo>
                    <a:pt x="60" y="324"/>
                  </a:lnTo>
                  <a:lnTo>
                    <a:pt x="54" y="312"/>
                  </a:lnTo>
                  <a:lnTo>
                    <a:pt x="48" y="294"/>
                  </a:lnTo>
                  <a:lnTo>
                    <a:pt x="48" y="276"/>
                  </a:lnTo>
                  <a:lnTo>
                    <a:pt x="54" y="264"/>
                  </a:lnTo>
                  <a:lnTo>
                    <a:pt x="60" y="246"/>
                  </a:lnTo>
                  <a:lnTo>
                    <a:pt x="60" y="234"/>
                  </a:lnTo>
                  <a:lnTo>
                    <a:pt x="54" y="222"/>
                  </a:lnTo>
                  <a:lnTo>
                    <a:pt x="48" y="204"/>
                  </a:lnTo>
                  <a:lnTo>
                    <a:pt x="42" y="198"/>
                  </a:lnTo>
                  <a:lnTo>
                    <a:pt x="36" y="186"/>
                  </a:lnTo>
                  <a:lnTo>
                    <a:pt x="30" y="168"/>
                  </a:lnTo>
                  <a:lnTo>
                    <a:pt x="30" y="156"/>
                  </a:lnTo>
                  <a:lnTo>
                    <a:pt x="30" y="138"/>
                  </a:lnTo>
                  <a:lnTo>
                    <a:pt x="36" y="126"/>
                  </a:lnTo>
                  <a:lnTo>
                    <a:pt x="48" y="114"/>
                  </a:lnTo>
                  <a:lnTo>
                    <a:pt x="66" y="96"/>
                  </a:lnTo>
                  <a:lnTo>
                    <a:pt x="72" y="78"/>
                  </a:lnTo>
                  <a:lnTo>
                    <a:pt x="72" y="60"/>
                  </a:lnTo>
                  <a:lnTo>
                    <a:pt x="72" y="42"/>
                  </a:lnTo>
                  <a:lnTo>
                    <a:pt x="78" y="30"/>
                  </a:lnTo>
                  <a:lnTo>
                    <a:pt x="84" y="18"/>
                  </a:lnTo>
                  <a:lnTo>
                    <a:pt x="96" y="12"/>
                  </a:lnTo>
                  <a:lnTo>
                    <a:pt x="108" y="6"/>
                  </a:lnTo>
                  <a:lnTo>
                    <a:pt x="126" y="6"/>
                  </a:lnTo>
                  <a:lnTo>
                    <a:pt x="144" y="6"/>
                  </a:lnTo>
                  <a:lnTo>
                    <a:pt x="162" y="18"/>
                  </a:lnTo>
                  <a:lnTo>
                    <a:pt x="174" y="24"/>
                  </a:lnTo>
                  <a:lnTo>
                    <a:pt x="186" y="24"/>
                  </a:lnTo>
                  <a:lnTo>
                    <a:pt x="192" y="24"/>
                  </a:lnTo>
                  <a:lnTo>
                    <a:pt x="198" y="18"/>
                  </a:lnTo>
                  <a:lnTo>
                    <a:pt x="204" y="12"/>
                  </a:lnTo>
                  <a:lnTo>
                    <a:pt x="216" y="0"/>
                  </a:lnTo>
                  <a:lnTo>
                    <a:pt x="22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3" name="Freeform 431">
              <a:extLst>
                <a:ext uri="{FF2B5EF4-FFF2-40B4-BE49-F238E27FC236}">
                  <a16:creationId xmlns:a16="http://schemas.microsoft.com/office/drawing/2014/main" id="{3494AB57-CC7A-46C1-9945-C82F81F18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67800" y="2628916"/>
              <a:ext cx="161922" cy="219076"/>
            </a:xfrm>
            <a:custGeom>
              <a:avLst/>
              <a:gdLst>
                <a:gd name="T0" fmla="*/ 36 w 102"/>
                <a:gd name="T1" fmla="*/ 0 h 138"/>
                <a:gd name="T2" fmla="*/ 48 w 102"/>
                <a:gd name="T3" fmla="*/ 0 h 138"/>
                <a:gd name="T4" fmla="*/ 60 w 102"/>
                <a:gd name="T5" fmla="*/ 6 h 138"/>
                <a:gd name="T6" fmla="*/ 72 w 102"/>
                <a:gd name="T7" fmla="*/ 12 h 138"/>
                <a:gd name="T8" fmla="*/ 78 w 102"/>
                <a:gd name="T9" fmla="*/ 18 h 138"/>
                <a:gd name="T10" fmla="*/ 84 w 102"/>
                <a:gd name="T11" fmla="*/ 30 h 138"/>
                <a:gd name="T12" fmla="*/ 84 w 102"/>
                <a:gd name="T13" fmla="*/ 42 h 138"/>
                <a:gd name="T14" fmla="*/ 84 w 102"/>
                <a:gd name="T15" fmla="*/ 54 h 138"/>
                <a:gd name="T16" fmla="*/ 90 w 102"/>
                <a:gd name="T17" fmla="*/ 66 h 138"/>
                <a:gd name="T18" fmla="*/ 96 w 102"/>
                <a:gd name="T19" fmla="*/ 84 h 138"/>
                <a:gd name="T20" fmla="*/ 96 w 102"/>
                <a:gd name="T21" fmla="*/ 96 h 138"/>
                <a:gd name="T22" fmla="*/ 102 w 102"/>
                <a:gd name="T23" fmla="*/ 108 h 138"/>
                <a:gd name="T24" fmla="*/ 102 w 102"/>
                <a:gd name="T25" fmla="*/ 126 h 138"/>
                <a:gd name="T26" fmla="*/ 96 w 102"/>
                <a:gd name="T27" fmla="*/ 132 h 138"/>
                <a:gd name="T28" fmla="*/ 84 w 102"/>
                <a:gd name="T29" fmla="*/ 138 h 138"/>
                <a:gd name="T30" fmla="*/ 72 w 102"/>
                <a:gd name="T31" fmla="*/ 138 h 138"/>
                <a:gd name="T32" fmla="*/ 66 w 102"/>
                <a:gd name="T33" fmla="*/ 132 h 138"/>
                <a:gd name="T34" fmla="*/ 60 w 102"/>
                <a:gd name="T35" fmla="*/ 126 h 138"/>
                <a:gd name="T36" fmla="*/ 54 w 102"/>
                <a:gd name="T37" fmla="*/ 114 h 138"/>
                <a:gd name="T38" fmla="*/ 48 w 102"/>
                <a:gd name="T39" fmla="*/ 102 h 138"/>
                <a:gd name="T40" fmla="*/ 48 w 102"/>
                <a:gd name="T41" fmla="*/ 90 h 138"/>
                <a:gd name="T42" fmla="*/ 42 w 102"/>
                <a:gd name="T43" fmla="*/ 78 h 138"/>
                <a:gd name="T44" fmla="*/ 36 w 102"/>
                <a:gd name="T45" fmla="*/ 60 h 138"/>
                <a:gd name="T46" fmla="*/ 30 w 102"/>
                <a:gd name="T47" fmla="*/ 42 h 138"/>
                <a:gd name="T48" fmla="*/ 18 w 102"/>
                <a:gd name="T49" fmla="*/ 30 h 138"/>
                <a:gd name="T50" fmla="*/ 6 w 102"/>
                <a:gd name="T51" fmla="*/ 18 h 138"/>
                <a:gd name="T52" fmla="*/ 0 w 102"/>
                <a:gd name="T53" fmla="*/ 12 h 138"/>
                <a:gd name="T54" fmla="*/ 6 w 102"/>
                <a:gd name="T55" fmla="*/ 6 h 138"/>
                <a:gd name="T56" fmla="*/ 12 w 102"/>
                <a:gd name="T57" fmla="*/ 6 h 138"/>
                <a:gd name="T58" fmla="*/ 24 w 102"/>
                <a:gd name="T59" fmla="*/ 0 h 138"/>
                <a:gd name="T60" fmla="*/ 36 w 102"/>
                <a:gd name="T61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2" h="138">
                  <a:moveTo>
                    <a:pt x="36" y="0"/>
                  </a:moveTo>
                  <a:lnTo>
                    <a:pt x="48" y="0"/>
                  </a:lnTo>
                  <a:lnTo>
                    <a:pt x="60" y="6"/>
                  </a:lnTo>
                  <a:lnTo>
                    <a:pt x="72" y="12"/>
                  </a:lnTo>
                  <a:lnTo>
                    <a:pt x="78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84" y="54"/>
                  </a:lnTo>
                  <a:lnTo>
                    <a:pt x="90" y="66"/>
                  </a:lnTo>
                  <a:lnTo>
                    <a:pt x="96" y="84"/>
                  </a:lnTo>
                  <a:lnTo>
                    <a:pt x="96" y="96"/>
                  </a:lnTo>
                  <a:lnTo>
                    <a:pt x="102" y="108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84" y="138"/>
                  </a:lnTo>
                  <a:lnTo>
                    <a:pt x="72" y="138"/>
                  </a:lnTo>
                  <a:lnTo>
                    <a:pt x="66" y="132"/>
                  </a:lnTo>
                  <a:lnTo>
                    <a:pt x="60" y="126"/>
                  </a:lnTo>
                  <a:lnTo>
                    <a:pt x="54" y="114"/>
                  </a:lnTo>
                  <a:lnTo>
                    <a:pt x="48" y="102"/>
                  </a:lnTo>
                  <a:lnTo>
                    <a:pt x="48" y="90"/>
                  </a:lnTo>
                  <a:lnTo>
                    <a:pt x="42" y="78"/>
                  </a:lnTo>
                  <a:lnTo>
                    <a:pt x="36" y="60"/>
                  </a:lnTo>
                  <a:lnTo>
                    <a:pt x="30" y="42"/>
                  </a:lnTo>
                  <a:lnTo>
                    <a:pt x="18" y="30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4" name="Freeform 432">
              <a:extLst>
                <a:ext uri="{FF2B5EF4-FFF2-40B4-BE49-F238E27FC236}">
                  <a16:creationId xmlns:a16="http://schemas.microsoft.com/office/drawing/2014/main" id="{522F24B2-EA5D-43F3-B8D4-D7C62DDC0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67821" y="2876569"/>
              <a:ext cx="219075" cy="333375"/>
            </a:xfrm>
            <a:custGeom>
              <a:avLst/>
              <a:gdLst>
                <a:gd name="T0" fmla="*/ 36 w 138"/>
                <a:gd name="T1" fmla="*/ 0 h 210"/>
                <a:gd name="T2" fmla="*/ 42 w 138"/>
                <a:gd name="T3" fmla="*/ 6 h 210"/>
                <a:gd name="T4" fmla="*/ 54 w 138"/>
                <a:gd name="T5" fmla="*/ 12 h 210"/>
                <a:gd name="T6" fmla="*/ 60 w 138"/>
                <a:gd name="T7" fmla="*/ 18 h 210"/>
                <a:gd name="T8" fmla="*/ 60 w 138"/>
                <a:gd name="T9" fmla="*/ 30 h 210"/>
                <a:gd name="T10" fmla="*/ 60 w 138"/>
                <a:gd name="T11" fmla="*/ 36 h 210"/>
                <a:gd name="T12" fmla="*/ 72 w 138"/>
                <a:gd name="T13" fmla="*/ 48 h 210"/>
                <a:gd name="T14" fmla="*/ 90 w 138"/>
                <a:gd name="T15" fmla="*/ 54 h 210"/>
                <a:gd name="T16" fmla="*/ 108 w 138"/>
                <a:gd name="T17" fmla="*/ 54 h 210"/>
                <a:gd name="T18" fmla="*/ 126 w 138"/>
                <a:gd name="T19" fmla="*/ 60 h 210"/>
                <a:gd name="T20" fmla="*/ 132 w 138"/>
                <a:gd name="T21" fmla="*/ 60 h 210"/>
                <a:gd name="T22" fmla="*/ 138 w 138"/>
                <a:gd name="T23" fmla="*/ 72 h 210"/>
                <a:gd name="T24" fmla="*/ 138 w 138"/>
                <a:gd name="T25" fmla="*/ 78 h 210"/>
                <a:gd name="T26" fmla="*/ 138 w 138"/>
                <a:gd name="T27" fmla="*/ 96 h 210"/>
                <a:gd name="T28" fmla="*/ 132 w 138"/>
                <a:gd name="T29" fmla="*/ 108 h 210"/>
                <a:gd name="T30" fmla="*/ 132 w 138"/>
                <a:gd name="T31" fmla="*/ 120 h 210"/>
                <a:gd name="T32" fmla="*/ 126 w 138"/>
                <a:gd name="T33" fmla="*/ 132 h 210"/>
                <a:gd name="T34" fmla="*/ 126 w 138"/>
                <a:gd name="T35" fmla="*/ 144 h 210"/>
                <a:gd name="T36" fmla="*/ 126 w 138"/>
                <a:gd name="T37" fmla="*/ 162 h 210"/>
                <a:gd name="T38" fmla="*/ 114 w 138"/>
                <a:gd name="T39" fmla="*/ 174 h 210"/>
                <a:gd name="T40" fmla="*/ 102 w 138"/>
                <a:gd name="T41" fmla="*/ 186 h 210"/>
                <a:gd name="T42" fmla="*/ 90 w 138"/>
                <a:gd name="T43" fmla="*/ 186 h 210"/>
                <a:gd name="T44" fmla="*/ 84 w 138"/>
                <a:gd name="T45" fmla="*/ 192 h 210"/>
                <a:gd name="T46" fmla="*/ 72 w 138"/>
                <a:gd name="T47" fmla="*/ 198 h 210"/>
                <a:gd name="T48" fmla="*/ 66 w 138"/>
                <a:gd name="T49" fmla="*/ 204 h 210"/>
                <a:gd name="T50" fmla="*/ 54 w 138"/>
                <a:gd name="T51" fmla="*/ 210 h 210"/>
                <a:gd name="T52" fmla="*/ 48 w 138"/>
                <a:gd name="T53" fmla="*/ 210 h 210"/>
                <a:gd name="T54" fmla="*/ 36 w 138"/>
                <a:gd name="T55" fmla="*/ 204 h 210"/>
                <a:gd name="T56" fmla="*/ 36 w 138"/>
                <a:gd name="T57" fmla="*/ 186 h 210"/>
                <a:gd name="T58" fmla="*/ 30 w 138"/>
                <a:gd name="T59" fmla="*/ 174 h 210"/>
                <a:gd name="T60" fmla="*/ 30 w 138"/>
                <a:gd name="T61" fmla="*/ 156 h 210"/>
                <a:gd name="T62" fmla="*/ 30 w 138"/>
                <a:gd name="T63" fmla="*/ 138 h 210"/>
                <a:gd name="T64" fmla="*/ 36 w 138"/>
                <a:gd name="T65" fmla="*/ 126 h 210"/>
                <a:gd name="T66" fmla="*/ 36 w 138"/>
                <a:gd name="T67" fmla="*/ 108 h 210"/>
                <a:gd name="T68" fmla="*/ 36 w 138"/>
                <a:gd name="T69" fmla="*/ 96 h 210"/>
                <a:gd name="T70" fmla="*/ 36 w 138"/>
                <a:gd name="T71" fmla="*/ 78 h 210"/>
                <a:gd name="T72" fmla="*/ 24 w 138"/>
                <a:gd name="T73" fmla="*/ 66 h 210"/>
                <a:gd name="T74" fmla="*/ 12 w 138"/>
                <a:gd name="T75" fmla="*/ 60 h 210"/>
                <a:gd name="T76" fmla="*/ 6 w 138"/>
                <a:gd name="T77" fmla="*/ 54 h 210"/>
                <a:gd name="T78" fmla="*/ 0 w 138"/>
                <a:gd name="T79" fmla="*/ 42 h 210"/>
                <a:gd name="T80" fmla="*/ 0 w 138"/>
                <a:gd name="T81" fmla="*/ 36 h 210"/>
                <a:gd name="T82" fmla="*/ 6 w 138"/>
                <a:gd name="T83" fmla="*/ 24 h 210"/>
                <a:gd name="T84" fmla="*/ 12 w 138"/>
                <a:gd name="T85" fmla="*/ 18 h 210"/>
                <a:gd name="T86" fmla="*/ 18 w 138"/>
                <a:gd name="T87" fmla="*/ 12 h 210"/>
                <a:gd name="T88" fmla="*/ 24 w 138"/>
                <a:gd name="T89" fmla="*/ 6 h 210"/>
                <a:gd name="T90" fmla="*/ 36 w 138"/>
                <a:gd name="T9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8" h="210">
                  <a:moveTo>
                    <a:pt x="36" y="0"/>
                  </a:moveTo>
                  <a:lnTo>
                    <a:pt x="42" y="6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60" y="30"/>
                  </a:lnTo>
                  <a:lnTo>
                    <a:pt x="60" y="36"/>
                  </a:lnTo>
                  <a:lnTo>
                    <a:pt x="72" y="48"/>
                  </a:lnTo>
                  <a:lnTo>
                    <a:pt x="90" y="54"/>
                  </a:lnTo>
                  <a:lnTo>
                    <a:pt x="108" y="54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8" y="96"/>
                  </a:lnTo>
                  <a:lnTo>
                    <a:pt x="132" y="108"/>
                  </a:lnTo>
                  <a:lnTo>
                    <a:pt x="132" y="120"/>
                  </a:lnTo>
                  <a:lnTo>
                    <a:pt x="126" y="132"/>
                  </a:lnTo>
                  <a:lnTo>
                    <a:pt x="126" y="144"/>
                  </a:lnTo>
                  <a:lnTo>
                    <a:pt x="126" y="162"/>
                  </a:lnTo>
                  <a:lnTo>
                    <a:pt x="114" y="174"/>
                  </a:lnTo>
                  <a:lnTo>
                    <a:pt x="102" y="186"/>
                  </a:lnTo>
                  <a:lnTo>
                    <a:pt x="90" y="186"/>
                  </a:lnTo>
                  <a:lnTo>
                    <a:pt x="84" y="192"/>
                  </a:lnTo>
                  <a:lnTo>
                    <a:pt x="72" y="198"/>
                  </a:lnTo>
                  <a:lnTo>
                    <a:pt x="66" y="204"/>
                  </a:lnTo>
                  <a:lnTo>
                    <a:pt x="54" y="210"/>
                  </a:lnTo>
                  <a:lnTo>
                    <a:pt x="48" y="210"/>
                  </a:lnTo>
                  <a:lnTo>
                    <a:pt x="36" y="204"/>
                  </a:lnTo>
                  <a:lnTo>
                    <a:pt x="36" y="186"/>
                  </a:lnTo>
                  <a:lnTo>
                    <a:pt x="30" y="174"/>
                  </a:lnTo>
                  <a:lnTo>
                    <a:pt x="30" y="156"/>
                  </a:lnTo>
                  <a:lnTo>
                    <a:pt x="30" y="138"/>
                  </a:lnTo>
                  <a:lnTo>
                    <a:pt x="36" y="126"/>
                  </a:lnTo>
                  <a:lnTo>
                    <a:pt x="36" y="108"/>
                  </a:lnTo>
                  <a:lnTo>
                    <a:pt x="36" y="96"/>
                  </a:lnTo>
                  <a:lnTo>
                    <a:pt x="36" y="78"/>
                  </a:lnTo>
                  <a:lnTo>
                    <a:pt x="24" y="66"/>
                  </a:lnTo>
                  <a:lnTo>
                    <a:pt x="12" y="60"/>
                  </a:lnTo>
                  <a:lnTo>
                    <a:pt x="6" y="54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5" name="Freeform 433">
              <a:extLst>
                <a:ext uri="{FF2B5EF4-FFF2-40B4-BE49-F238E27FC236}">
                  <a16:creationId xmlns:a16="http://schemas.microsoft.com/office/drawing/2014/main" id="{AC17E34E-D1A3-4865-95D9-E31DA1B19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44071" y="2705116"/>
              <a:ext cx="342897" cy="342898"/>
            </a:xfrm>
            <a:custGeom>
              <a:avLst/>
              <a:gdLst>
                <a:gd name="T0" fmla="*/ 72 w 216"/>
                <a:gd name="T1" fmla="*/ 0 h 216"/>
                <a:gd name="T2" fmla="*/ 78 w 216"/>
                <a:gd name="T3" fmla="*/ 6 h 216"/>
                <a:gd name="T4" fmla="*/ 90 w 216"/>
                <a:gd name="T5" fmla="*/ 6 h 216"/>
                <a:gd name="T6" fmla="*/ 96 w 216"/>
                <a:gd name="T7" fmla="*/ 12 h 216"/>
                <a:gd name="T8" fmla="*/ 108 w 216"/>
                <a:gd name="T9" fmla="*/ 18 h 216"/>
                <a:gd name="T10" fmla="*/ 120 w 216"/>
                <a:gd name="T11" fmla="*/ 30 h 216"/>
                <a:gd name="T12" fmla="*/ 126 w 216"/>
                <a:gd name="T13" fmla="*/ 42 h 216"/>
                <a:gd name="T14" fmla="*/ 132 w 216"/>
                <a:gd name="T15" fmla="*/ 54 h 216"/>
                <a:gd name="T16" fmla="*/ 144 w 216"/>
                <a:gd name="T17" fmla="*/ 60 h 216"/>
                <a:gd name="T18" fmla="*/ 162 w 216"/>
                <a:gd name="T19" fmla="*/ 66 h 216"/>
                <a:gd name="T20" fmla="*/ 174 w 216"/>
                <a:gd name="T21" fmla="*/ 72 h 216"/>
                <a:gd name="T22" fmla="*/ 180 w 216"/>
                <a:gd name="T23" fmla="*/ 78 h 216"/>
                <a:gd name="T24" fmla="*/ 180 w 216"/>
                <a:gd name="T25" fmla="*/ 90 h 216"/>
                <a:gd name="T26" fmla="*/ 180 w 216"/>
                <a:gd name="T27" fmla="*/ 102 h 216"/>
                <a:gd name="T28" fmla="*/ 180 w 216"/>
                <a:gd name="T29" fmla="*/ 120 h 216"/>
                <a:gd name="T30" fmla="*/ 180 w 216"/>
                <a:gd name="T31" fmla="*/ 132 h 216"/>
                <a:gd name="T32" fmla="*/ 180 w 216"/>
                <a:gd name="T33" fmla="*/ 150 h 216"/>
                <a:gd name="T34" fmla="*/ 186 w 216"/>
                <a:gd name="T35" fmla="*/ 162 h 216"/>
                <a:gd name="T36" fmla="*/ 192 w 216"/>
                <a:gd name="T37" fmla="*/ 180 h 216"/>
                <a:gd name="T38" fmla="*/ 210 w 216"/>
                <a:gd name="T39" fmla="*/ 192 h 216"/>
                <a:gd name="T40" fmla="*/ 216 w 216"/>
                <a:gd name="T41" fmla="*/ 204 h 216"/>
                <a:gd name="T42" fmla="*/ 216 w 216"/>
                <a:gd name="T43" fmla="*/ 210 h 216"/>
                <a:gd name="T44" fmla="*/ 216 w 216"/>
                <a:gd name="T45" fmla="*/ 216 h 216"/>
                <a:gd name="T46" fmla="*/ 204 w 216"/>
                <a:gd name="T47" fmla="*/ 216 h 216"/>
                <a:gd name="T48" fmla="*/ 198 w 216"/>
                <a:gd name="T49" fmla="*/ 216 h 216"/>
                <a:gd name="T50" fmla="*/ 186 w 216"/>
                <a:gd name="T51" fmla="*/ 210 h 216"/>
                <a:gd name="T52" fmla="*/ 174 w 216"/>
                <a:gd name="T53" fmla="*/ 204 h 216"/>
                <a:gd name="T54" fmla="*/ 162 w 216"/>
                <a:gd name="T55" fmla="*/ 204 h 216"/>
                <a:gd name="T56" fmla="*/ 156 w 216"/>
                <a:gd name="T57" fmla="*/ 204 h 216"/>
                <a:gd name="T58" fmla="*/ 144 w 216"/>
                <a:gd name="T59" fmla="*/ 210 h 216"/>
                <a:gd name="T60" fmla="*/ 126 w 216"/>
                <a:gd name="T61" fmla="*/ 210 h 216"/>
                <a:gd name="T62" fmla="*/ 114 w 216"/>
                <a:gd name="T63" fmla="*/ 204 h 216"/>
                <a:gd name="T64" fmla="*/ 102 w 216"/>
                <a:gd name="T65" fmla="*/ 198 h 216"/>
                <a:gd name="T66" fmla="*/ 96 w 216"/>
                <a:gd name="T67" fmla="*/ 186 h 216"/>
                <a:gd name="T68" fmla="*/ 96 w 216"/>
                <a:gd name="T69" fmla="*/ 180 h 216"/>
                <a:gd name="T70" fmla="*/ 102 w 216"/>
                <a:gd name="T71" fmla="*/ 174 h 216"/>
                <a:gd name="T72" fmla="*/ 108 w 216"/>
                <a:gd name="T73" fmla="*/ 168 h 216"/>
                <a:gd name="T74" fmla="*/ 108 w 216"/>
                <a:gd name="T75" fmla="*/ 156 h 216"/>
                <a:gd name="T76" fmla="*/ 114 w 216"/>
                <a:gd name="T77" fmla="*/ 144 h 216"/>
                <a:gd name="T78" fmla="*/ 114 w 216"/>
                <a:gd name="T79" fmla="*/ 132 h 216"/>
                <a:gd name="T80" fmla="*/ 114 w 216"/>
                <a:gd name="T81" fmla="*/ 120 h 216"/>
                <a:gd name="T82" fmla="*/ 102 w 216"/>
                <a:gd name="T83" fmla="*/ 114 h 216"/>
                <a:gd name="T84" fmla="*/ 90 w 216"/>
                <a:gd name="T85" fmla="*/ 108 h 216"/>
                <a:gd name="T86" fmla="*/ 72 w 216"/>
                <a:gd name="T87" fmla="*/ 102 h 216"/>
                <a:gd name="T88" fmla="*/ 54 w 216"/>
                <a:gd name="T89" fmla="*/ 90 h 216"/>
                <a:gd name="T90" fmla="*/ 30 w 216"/>
                <a:gd name="T91" fmla="*/ 72 h 216"/>
                <a:gd name="T92" fmla="*/ 6 w 216"/>
                <a:gd name="T93" fmla="*/ 54 h 216"/>
                <a:gd name="T94" fmla="*/ 0 w 216"/>
                <a:gd name="T95" fmla="*/ 42 h 216"/>
                <a:gd name="T96" fmla="*/ 0 w 216"/>
                <a:gd name="T97" fmla="*/ 30 h 216"/>
                <a:gd name="T98" fmla="*/ 6 w 216"/>
                <a:gd name="T99" fmla="*/ 24 h 216"/>
                <a:gd name="T100" fmla="*/ 12 w 216"/>
                <a:gd name="T101" fmla="*/ 18 h 216"/>
                <a:gd name="T102" fmla="*/ 24 w 216"/>
                <a:gd name="T103" fmla="*/ 12 h 216"/>
                <a:gd name="T104" fmla="*/ 42 w 216"/>
                <a:gd name="T105" fmla="*/ 6 h 216"/>
                <a:gd name="T106" fmla="*/ 54 w 216"/>
                <a:gd name="T107" fmla="*/ 6 h 216"/>
                <a:gd name="T108" fmla="*/ 72 w 216"/>
                <a:gd name="T109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6" h="216">
                  <a:moveTo>
                    <a:pt x="72" y="0"/>
                  </a:moveTo>
                  <a:lnTo>
                    <a:pt x="78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108" y="18"/>
                  </a:lnTo>
                  <a:lnTo>
                    <a:pt x="120" y="30"/>
                  </a:lnTo>
                  <a:lnTo>
                    <a:pt x="126" y="42"/>
                  </a:lnTo>
                  <a:lnTo>
                    <a:pt x="132" y="54"/>
                  </a:lnTo>
                  <a:lnTo>
                    <a:pt x="144" y="60"/>
                  </a:lnTo>
                  <a:lnTo>
                    <a:pt x="162" y="66"/>
                  </a:lnTo>
                  <a:lnTo>
                    <a:pt x="174" y="72"/>
                  </a:lnTo>
                  <a:lnTo>
                    <a:pt x="180" y="78"/>
                  </a:lnTo>
                  <a:lnTo>
                    <a:pt x="180" y="90"/>
                  </a:lnTo>
                  <a:lnTo>
                    <a:pt x="180" y="102"/>
                  </a:lnTo>
                  <a:lnTo>
                    <a:pt x="180" y="120"/>
                  </a:lnTo>
                  <a:lnTo>
                    <a:pt x="180" y="132"/>
                  </a:lnTo>
                  <a:lnTo>
                    <a:pt x="180" y="150"/>
                  </a:lnTo>
                  <a:lnTo>
                    <a:pt x="186" y="162"/>
                  </a:lnTo>
                  <a:lnTo>
                    <a:pt x="192" y="180"/>
                  </a:lnTo>
                  <a:lnTo>
                    <a:pt x="210" y="192"/>
                  </a:lnTo>
                  <a:lnTo>
                    <a:pt x="216" y="204"/>
                  </a:lnTo>
                  <a:lnTo>
                    <a:pt x="216" y="210"/>
                  </a:lnTo>
                  <a:lnTo>
                    <a:pt x="216" y="216"/>
                  </a:lnTo>
                  <a:lnTo>
                    <a:pt x="204" y="216"/>
                  </a:lnTo>
                  <a:lnTo>
                    <a:pt x="198" y="216"/>
                  </a:lnTo>
                  <a:lnTo>
                    <a:pt x="186" y="210"/>
                  </a:lnTo>
                  <a:lnTo>
                    <a:pt x="174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44" y="210"/>
                  </a:lnTo>
                  <a:lnTo>
                    <a:pt x="126" y="210"/>
                  </a:lnTo>
                  <a:lnTo>
                    <a:pt x="114" y="204"/>
                  </a:lnTo>
                  <a:lnTo>
                    <a:pt x="102" y="198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56"/>
                  </a:lnTo>
                  <a:lnTo>
                    <a:pt x="114" y="144"/>
                  </a:lnTo>
                  <a:lnTo>
                    <a:pt x="114" y="132"/>
                  </a:lnTo>
                  <a:lnTo>
                    <a:pt x="114" y="120"/>
                  </a:lnTo>
                  <a:lnTo>
                    <a:pt x="102" y="114"/>
                  </a:lnTo>
                  <a:lnTo>
                    <a:pt x="90" y="108"/>
                  </a:lnTo>
                  <a:lnTo>
                    <a:pt x="72" y="102"/>
                  </a:lnTo>
                  <a:lnTo>
                    <a:pt x="54" y="90"/>
                  </a:lnTo>
                  <a:lnTo>
                    <a:pt x="30" y="72"/>
                  </a:lnTo>
                  <a:lnTo>
                    <a:pt x="6" y="54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24" y="12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6" name="Freeform 434">
              <a:extLst>
                <a:ext uri="{FF2B5EF4-FFF2-40B4-BE49-F238E27FC236}">
                  <a16:creationId xmlns:a16="http://schemas.microsoft.com/office/drawing/2014/main" id="{89658109-1CB0-4660-814E-320456C54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01174" y="3200420"/>
              <a:ext cx="180975" cy="380998"/>
            </a:xfrm>
            <a:custGeom>
              <a:avLst/>
              <a:gdLst>
                <a:gd name="T0" fmla="*/ 84 w 114"/>
                <a:gd name="T1" fmla="*/ 0 h 240"/>
                <a:gd name="T2" fmla="*/ 96 w 114"/>
                <a:gd name="T3" fmla="*/ 0 h 240"/>
                <a:gd name="T4" fmla="*/ 108 w 114"/>
                <a:gd name="T5" fmla="*/ 12 h 240"/>
                <a:gd name="T6" fmla="*/ 114 w 114"/>
                <a:gd name="T7" fmla="*/ 36 h 240"/>
                <a:gd name="T8" fmla="*/ 102 w 114"/>
                <a:gd name="T9" fmla="*/ 72 h 240"/>
                <a:gd name="T10" fmla="*/ 96 w 114"/>
                <a:gd name="T11" fmla="*/ 114 h 240"/>
                <a:gd name="T12" fmla="*/ 84 w 114"/>
                <a:gd name="T13" fmla="*/ 132 h 240"/>
                <a:gd name="T14" fmla="*/ 84 w 114"/>
                <a:gd name="T15" fmla="*/ 150 h 240"/>
                <a:gd name="T16" fmla="*/ 90 w 114"/>
                <a:gd name="T17" fmla="*/ 168 h 240"/>
                <a:gd name="T18" fmla="*/ 96 w 114"/>
                <a:gd name="T19" fmla="*/ 180 h 240"/>
                <a:gd name="T20" fmla="*/ 102 w 114"/>
                <a:gd name="T21" fmla="*/ 192 h 240"/>
                <a:gd name="T22" fmla="*/ 108 w 114"/>
                <a:gd name="T23" fmla="*/ 210 h 240"/>
                <a:gd name="T24" fmla="*/ 102 w 114"/>
                <a:gd name="T25" fmla="*/ 222 h 240"/>
                <a:gd name="T26" fmla="*/ 96 w 114"/>
                <a:gd name="T27" fmla="*/ 234 h 240"/>
                <a:gd name="T28" fmla="*/ 90 w 114"/>
                <a:gd name="T29" fmla="*/ 240 h 240"/>
                <a:gd name="T30" fmla="*/ 78 w 114"/>
                <a:gd name="T31" fmla="*/ 240 h 240"/>
                <a:gd name="T32" fmla="*/ 66 w 114"/>
                <a:gd name="T33" fmla="*/ 240 h 240"/>
                <a:gd name="T34" fmla="*/ 48 w 114"/>
                <a:gd name="T35" fmla="*/ 240 h 240"/>
                <a:gd name="T36" fmla="*/ 36 w 114"/>
                <a:gd name="T37" fmla="*/ 234 h 240"/>
                <a:gd name="T38" fmla="*/ 24 w 114"/>
                <a:gd name="T39" fmla="*/ 228 h 240"/>
                <a:gd name="T40" fmla="*/ 12 w 114"/>
                <a:gd name="T41" fmla="*/ 216 h 240"/>
                <a:gd name="T42" fmla="*/ 0 w 114"/>
                <a:gd name="T43" fmla="*/ 198 h 240"/>
                <a:gd name="T44" fmla="*/ 0 w 114"/>
                <a:gd name="T45" fmla="*/ 180 h 240"/>
                <a:gd name="T46" fmla="*/ 6 w 114"/>
                <a:gd name="T47" fmla="*/ 162 h 240"/>
                <a:gd name="T48" fmla="*/ 18 w 114"/>
                <a:gd name="T49" fmla="*/ 144 h 240"/>
                <a:gd name="T50" fmla="*/ 30 w 114"/>
                <a:gd name="T51" fmla="*/ 132 h 240"/>
                <a:gd name="T52" fmla="*/ 36 w 114"/>
                <a:gd name="T53" fmla="*/ 120 h 240"/>
                <a:gd name="T54" fmla="*/ 42 w 114"/>
                <a:gd name="T55" fmla="*/ 102 h 240"/>
                <a:gd name="T56" fmla="*/ 48 w 114"/>
                <a:gd name="T57" fmla="*/ 84 h 240"/>
                <a:gd name="T58" fmla="*/ 54 w 114"/>
                <a:gd name="T59" fmla="*/ 66 h 240"/>
                <a:gd name="T60" fmla="*/ 60 w 114"/>
                <a:gd name="T61" fmla="*/ 54 h 240"/>
                <a:gd name="T62" fmla="*/ 60 w 114"/>
                <a:gd name="T63" fmla="*/ 42 h 240"/>
                <a:gd name="T64" fmla="*/ 60 w 114"/>
                <a:gd name="T65" fmla="*/ 24 h 240"/>
                <a:gd name="T66" fmla="*/ 66 w 114"/>
                <a:gd name="T67" fmla="*/ 12 h 240"/>
                <a:gd name="T68" fmla="*/ 72 w 114"/>
                <a:gd name="T69" fmla="*/ 0 h 240"/>
                <a:gd name="T70" fmla="*/ 84 w 114"/>
                <a:gd name="T7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240">
                  <a:moveTo>
                    <a:pt x="84" y="0"/>
                  </a:moveTo>
                  <a:lnTo>
                    <a:pt x="96" y="0"/>
                  </a:lnTo>
                  <a:lnTo>
                    <a:pt x="108" y="12"/>
                  </a:lnTo>
                  <a:lnTo>
                    <a:pt x="114" y="36"/>
                  </a:lnTo>
                  <a:lnTo>
                    <a:pt x="102" y="72"/>
                  </a:lnTo>
                  <a:lnTo>
                    <a:pt x="96" y="114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68"/>
                  </a:lnTo>
                  <a:lnTo>
                    <a:pt x="96" y="180"/>
                  </a:lnTo>
                  <a:lnTo>
                    <a:pt x="102" y="192"/>
                  </a:lnTo>
                  <a:lnTo>
                    <a:pt x="108" y="210"/>
                  </a:lnTo>
                  <a:lnTo>
                    <a:pt x="102" y="222"/>
                  </a:lnTo>
                  <a:lnTo>
                    <a:pt x="96" y="234"/>
                  </a:lnTo>
                  <a:lnTo>
                    <a:pt x="90" y="240"/>
                  </a:lnTo>
                  <a:lnTo>
                    <a:pt x="78" y="240"/>
                  </a:lnTo>
                  <a:lnTo>
                    <a:pt x="66" y="240"/>
                  </a:lnTo>
                  <a:lnTo>
                    <a:pt x="48" y="240"/>
                  </a:lnTo>
                  <a:lnTo>
                    <a:pt x="36" y="234"/>
                  </a:lnTo>
                  <a:lnTo>
                    <a:pt x="24" y="228"/>
                  </a:lnTo>
                  <a:lnTo>
                    <a:pt x="12" y="216"/>
                  </a:lnTo>
                  <a:lnTo>
                    <a:pt x="0" y="198"/>
                  </a:lnTo>
                  <a:lnTo>
                    <a:pt x="0" y="180"/>
                  </a:lnTo>
                  <a:lnTo>
                    <a:pt x="6" y="162"/>
                  </a:lnTo>
                  <a:lnTo>
                    <a:pt x="18" y="144"/>
                  </a:lnTo>
                  <a:lnTo>
                    <a:pt x="30" y="132"/>
                  </a:lnTo>
                  <a:lnTo>
                    <a:pt x="36" y="120"/>
                  </a:lnTo>
                  <a:lnTo>
                    <a:pt x="42" y="102"/>
                  </a:lnTo>
                  <a:lnTo>
                    <a:pt x="48" y="84"/>
                  </a:lnTo>
                  <a:lnTo>
                    <a:pt x="54" y="66"/>
                  </a:lnTo>
                  <a:lnTo>
                    <a:pt x="60" y="54"/>
                  </a:lnTo>
                  <a:lnTo>
                    <a:pt x="60" y="42"/>
                  </a:lnTo>
                  <a:lnTo>
                    <a:pt x="60" y="24"/>
                  </a:lnTo>
                  <a:lnTo>
                    <a:pt x="66" y="12"/>
                  </a:lnTo>
                  <a:lnTo>
                    <a:pt x="72" y="0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7" name="Freeform 435">
              <a:extLst>
                <a:ext uri="{FF2B5EF4-FFF2-40B4-BE49-F238E27FC236}">
                  <a16:creationId xmlns:a16="http://schemas.microsoft.com/office/drawing/2014/main" id="{2EF6AFCE-58E2-48FD-A13D-19F7804F9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67872" y="3086121"/>
              <a:ext cx="57153" cy="304798"/>
            </a:xfrm>
            <a:custGeom>
              <a:avLst/>
              <a:gdLst>
                <a:gd name="T0" fmla="*/ 12 w 36"/>
                <a:gd name="T1" fmla="*/ 0 h 192"/>
                <a:gd name="T2" fmla="*/ 18 w 36"/>
                <a:gd name="T3" fmla="*/ 18 h 192"/>
                <a:gd name="T4" fmla="*/ 24 w 36"/>
                <a:gd name="T5" fmla="*/ 48 h 192"/>
                <a:gd name="T6" fmla="*/ 30 w 36"/>
                <a:gd name="T7" fmla="*/ 90 h 192"/>
                <a:gd name="T8" fmla="*/ 36 w 36"/>
                <a:gd name="T9" fmla="*/ 132 h 192"/>
                <a:gd name="T10" fmla="*/ 36 w 36"/>
                <a:gd name="T11" fmla="*/ 162 h 192"/>
                <a:gd name="T12" fmla="*/ 36 w 36"/>
                <a:gd name="T13" fmla="*/ 180 h 192"/>
                <a:gd name="T14" fmla="*/ 36 w 36"/>
                <a:gd name="T15" fmla="*/ 186 h 192"/>
                <a:gd name="T16" fmla="*/ 30 w 36"/>
                <a:gd name="T17" fmla="*/ 192 h 192"/>
                <a:gd name="T18" fmla="*/ 30 w 36"/>
                <a:gd name="T19" fmla="*/ 186 h 192"/>
                <a:gd name="T20" fmla="*/ 24 w 36"/>
                <a:gd name="T21" fmla="*/ 180 h 192"/>
                <a:gd name="T22" fmla="*/ 18 w 36"/>
                <a:gd name="T23" fmla="*/ 174 h 192"/>
                <a:gd name="T24" fmla="*/ 12 w 36"/>
                <a:gd name="T25" fmla="*/ 162 h 192"/>
                <a:gd name="T26" fmla="*/ 6 w 36"/>
                <a:gd name="T27" fmla="*/ 144 h 192"/>
                <a:gd name="T28" fmla="*/ 0 w 36"/>
                <a:gd name="T29" fmla="*/ 84 h 192"/>
                <a:gd name="T30" fmla="*/ 0 w 36"/>
                <a:gd name="T31" fmla="*/ 30 h 192"/>
                <a:gd name="T32" fmla="*/ 0 w 36"/>
                <a:gd name="T33" fmla="*/ 6 h 192"/>
                <a:gd name="T34" fmla="*/ 12 w 36"/>
                <a:gd name="T3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192">
                  <a:moveTo>
                    <a:pt x="12" y="0"/>
                  </a:moveTo>
                  <a:lnTo>
                    <a:pt x="18" y="18"/>
                  </a:lnTo>
                  <a:lnTo>
                    <a:pt x="24" y="48"/>
                  </a:lnTo>
                  <a:lnTo>
                    <a:pt x="30" y="90"/>
                  </a:lnTo>
                  <a:lnTo>
                    <a:pt x="36" y="132"/>
                  </a:lnTo>
                  <a:lnTo>
                    <a:pt x="36" y="162"/>
                  </a:lnTo>
                  <a:lnTo>
                    <a:pt x="36" y="180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30" y="186"/>
                  </a:lnTo>
                  <a:lnTo>
                    <a:pt x="24" y="180"/>
                  </a:lnTo>
                  <a:lnTo>
                    <a:pt x="18" y="174"/>
                  </a:lnTo>
                  <a:lnTo>
                    <a:pt x="12" y="162"/>
                  </a:lnTo>
                  <a:lnTo>
                    <a:pt x="6" y="144"/>
                  </a:lnTo>
                  <a:lnTo>
                    <a:pt x="0" y="84"/>
                  </a:lnTo>
                  <a:lnTo>
                    <a:pt x="0" y="30"/>
                  </a:lnTo>
                  <a:lnTo>
                    <a:pt x="0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8" name="Freeform 436">
              <a:extLst>
                <a:ext uri="{FF2B5EF4-FFF2-40B4-BE49-F238E27FC236}">
                  <a16:creationId xmlns:a16="http://schemas.microsoft.com/office/drawing/2014/main" id="{D5C681B0-DB94-4F32-8E58-B88457997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91701" y="3095644"/>
              <a:ext cx="219075" cy="228599"/>
            </a:xfrm>
            <a:custGeom>
              <a:avLst/>
              <a:gdLst>
                <a:gd name="T0" fmla="*/ 48 w 138"/>
                <a:gd name="T1" fmla="*/ 0 h 144"/>
                <a:gd name="T2" fmla="*/ 60 w 138"/>
                <a:gd name="T3" fmla="*/ 6 h 144"/>
                <a:gd name="T4" fmla="*/ 72 w 138"/>
                <a:gd name="T5" fmla="*/ 12 h 144"/>
                <a:gd name="T6" fmla="*/ 78 w 138"/>
                <a:gd name="T7" fmla="*/ 24 h 144"/>
                <a:gd name="T8" fmla="*/ 90 w 138"/>
                <a:gd name="T9" fmla="*/ 36 h 144"/>
                <a:gd name="T10" fmla="*/ 96 w 138"/>
                <a:gd name="T11" fmla="*/ 48 h 144"/>
                <a:gd name="T12" fmla="*/ 108 w 138"/>
                <a:gd name="T13" fmla="*/ 66 h 144"/>
                <a:gd name="T14" fmla="*/ 114 w 138"/>
                <a:gd name="T15" fmla="*/ 72 h 144"/>
                <a:gd name="T16" fmla="*/ 126 w 138"/>
                <a:gd name="T17" fmla="*/ 84 h 144"/>
                <a:gd name="T18" fmla="*/ 132 w 138"/>
                <a:gd name="T19" fmla="*/ 96 h 144"/>
                <a:gd name="T20" fmla="*/ 138 w 138"/>
                <a:gd name="T21" fmla="*/ 108 h 144"/>
                <a:gd name="T22" fmla="*/ 138 w 138"/>
                <a:gd name="T23" fmla="*/ 120 h 144"/>
                <a:gd name="T24" fmla="*/ 132 w 138"/>
                <a:gd name="T25" fmla="*/ 132 h 144"/>
                <a:gd name="T26" fmla="*/ 126 w 138"/>
                <a:gd name="T27" fmla="*/ 144 h 144"/>
                <a:gd name="T28" fmla="*/ 120 w 138"/>
                <a:gd name="T29" fmla="*/ 144 h 144"/>
                <a:gd name="T30" fmla="*/ 108 w 138"/>
                <a:gd name="T31" fmla="*/ 138 h 144"/>
                <a:gd name="T32" fmla="*/ 96 w 138"/>
                <a:gd name="T33" fmla="*/ 132 h 144"/>
                <a:gd name="T34" fmla="*/ 84 w 138"/>
                <a:gd name="T35" fmla="*/ 120 h 144"/>
                <a:gd name="T36" fmla="*/ 78 w 138"/>
                <a:gd name="T37" fmla="*/ 102 h 144"/>
                <a:gd name="T38" fmla="*/ 72 w 138"/>
                <a:gd name="T39" fmla="*/ 90 h 144"/>
                <a:gd name="T40" fmla="*/ 60 w 138"/>
                <a:gd name="T41" fmla="*/ 78 h 144"/>
                <a:gd name="T42" fmla="*/ 48 w 138"/>
                <a:gd name="T43" fmla="*/ 78 h 144"/>
                <a:gd name="T44" fmla="*/ 36 w 138"/>
                <a:gd name="T45" fmla="*/ 84 h 144"/>
                <a:gd name="T46" fmla="*/ 24 w 138"/>
                <a:gd name="T47" fmla="*/ 90 h 144"/>
                <a:gd name="T48" fmla="*/ 18 w 138"/>
                <a:gd name="T49" fmla="*/ 96 h 144"/>
                <a:gd name="T50" fmla="*/ 12 w 138"/>
                <a:gd name="T51" fmla="*/ 96 h 144"/>
                <a:gd name="T52" fmla="*/ 6 w 138"/>
                <a:gd name="T53" fmla="*/ 90 h 144"/>
                <a:gd name="T54" fmla="*/ 6 w 138"/>
                <a:gd name="T55" fmla="*/ 84 h 144"/>
                <a:gd name="T56" fmla="*/ 6 w 138"/>
                <a:gd name="T57" fmla="*/ 72 h 144"/>
                <a:gd name="T58" fmla="*/ 6 w 138"/>
                <a:gd name="T59" fmla="*/ 60 h 144"/>
                <a:gd name="T60" fmla="*/ 0 w 138"/>
                <a:gd name="T61" fmla="*/ 42 h 144"/>
                <a:gd name="T62" fmla="*/ 0 w 138"/>
                <a:gd name="T63" fmla="*/ 30 h 144"/>
                <a:gd name="T64" fmla="*/ 6 w 138"/>
                <a:gd name="T65" fmla="*/ 24 h 144"/>
                <a:gd name="T66" fmla="*/ 12 w 138"/>
                <a:gd name="T67" fmla="*/ 12 h 144"/>
                <a:gd name="T68" fmla="*/ 24 w 138"/>
                <a:gd name="T69" fmla="*/ 12 h 144"/>
                <a:gd name="T70" fmla="*/ 30 w 138"/>
                <a:gd name="T71" fmla="*/ 6 h 144"/>
                <a:gd name="T72" fmla="*/ 42 w 138"/>
                <a:gd name="T73" fmla="*/ 6 h 144"/>
                <a:gd name="T74" fmla="*/ 48 w 138"/>
                <a:gd name="T7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8" h="144">
                  <a:moveTo>
                    <a:pt x="48" y="0"/>
                  </a:moveTo>
                  <a:lnTo>
                    <a:pt x="60" y="6"/>
                  </a:lnTo>
                  <a:lnTo>
                    <a:pt x="72" y="12"/>
                  </a:lnTo>
                  <a:lnTo>
                    <a:pt x="78" y="24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8" y="66"/>
                  </a:lnTo>
                  <a:lnTo>
                    <a:pt x="114" y="72"/>
                  </a:lnTo>
                  <a:lnTo>
                    <a:pt x="126" y="84"/>
                  </a:lnTo>
                  <a:lnTo>
                    <a:pt x="132" y="96"/>
                  </a:lnTo>
                  <a:lnTo>
                    <a:pt x="138" y="108"/>
                  </a:lnTo>
                  <a:lnTo>
                    <a:pt x="138" y="120"/>
                  </a:lnTo>
                  <a:lnTo>
                    <a:pt x="132" y="132"/>
                  </a:lnTo>
                  <a:lnTo>
                    <a:pt x="126" y="144"/>
                  </a:lnTo>
                  <a:lnTo>
                    <a:pt x="120" y="144"/>
                  </a:lnTo>
                  <a:lnTo>
                    <a:pt x="108" y="138"/>
                  </a:lnTo>
                  <a:lnTo>
                    <a:pt x="96" y="132"/>
                  </a:lnTo>
                  <a:lnTo>
                    <a:pt x="84" y="120"/>
                  </a:lnTo>
                  <a:lnTo>
                    <a:pt x="78" y="102"/>
                  </a:lnTo>
                  <a:lnTo>
                    <a:pt x="72" y="90"/>
                  </a:lnTo>
                  <a:lnTo>
                    <a:pt x="60" y="78"/>
                  </a:lnTo>
                  <a:lnTo>
                    <a:pt x="48" y="78"/>
                  </a:lnTo>
                  <a:lnTo>
                    <a:pt x="36" y="84"/>
                  </a:lnTo>
                  <a:lnTo>
                    <a:pt x="24" y="90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42" y="6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29" name="Freeform 437">
              <a:extLst>
                <a:ext uri="{FF2B5EF4-FFF2-40B4-BE49-F238E27FC236}">
                  <a16:creationId xmlns:a16="http://schemas.microsoft.com/office/drawing/2014/main" id="{CE59E606-2A8E-4084-891F-6B096882D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4050" y="2809892"/>
              <a:ext cx="123822" cy="142876"/>
            </a:xfrm>
            <a:custGeom>
              <a:avLst/>
              <a:gdLst>
                <a:gd name="T0" fmla="*/ 12 w 78"/>
                <a:gd name="T1" fmla="*/ 0 h 90"/>
                <a:gd name="T2" fmla="*/ 24 w 78"/>
                <a:gd name="T3" fmla="*/ 6 h 90"/>
                <a:gd name="T4" fmla="*/ 30 w 78"/>
                <a:gd name="T5" fmla="*/ 6 h 90"/>
                <a:gd name="T6" fmla="*/ 36 w 78"/>
                <a:gd name="T7" fmla="*/ 12 h 90"/>
                <a:gd name="T8" fmla="*/ 42 w 78"/>
                <a:gd name="T9" fmla="*/ 18 h 90"/>
                <a:gd name="T10" fmla="*/ 54 w 78"/>
                <a:gd name="T11" fmla="*/ 30 h 90"/>
                <a:gd name="T12" fmla="*/ 60 w 78"/>
                <a:gd name="T13" fmla="*/ 42 h 90"/>
                <a:gd name="T14" fmla="*/ 72 w 78"/>
                <a:gd name="T15" fmla="*/ 60 h 90"/>
                <a:gd name="T16" fmla="*/ 78 w 78"/>
                <a:gd name="T17" fmla="*/ 78 h 90"/>
                <a:gd name="T18" fmla="*/ 78 w 78"/>
                <a:gd name="T19" fmla="*/ 84 h 90"/>
                <a:gd name="T20" fmla="*/ 78 w 78"/>
                <a:gd name="T21" fmla="*/ 90 h 90"/>
                <a:gd name="T22" fmla="*/ 72 w 78"/>
                <a:gd name="T23" fmla="*/ 90 h 90"/>
                <a:gd name="T24" fmla="*/ 60 w 78"/>
                <a:gd name="T25" fmla="*/ 90 h 90"/>
                <a:gd name="T26" fmla="*/ 54 w 78"/>
                <a:gd name="T27" fmla="*/ 84 h 90"/>
                <a:gd name="T28" fmla="*/ 42 w 78"/>
                <a:gd name="T29" fmla="*/ 78 h 90"/>
                <a:gd name="T30" fmla="*/ 30 w 78"/>
                <a:gd name="T31" fmla="*/ 72 h 90"/>
                <a:gd name="T32" fmla="*/ 24 w 78"/>
                <a:gd name="T33" fmla="*/ 60 h 90"/>
                <a:gd name="T34" fmla="*/ 12 w 78"/>
                <a:gd name="T35" fmla="*/ 48 h 90"/>
                <a:gd name="T36" fmla="*/ 6 w 78"/>
                <a:gd name="T37" fmla="*/ 36 h 90"/>
                <a:gd name="T38" fmla="*/ 0 w 78"/>
                <a:gd name="T39" fmla="*/ 24 h 90"/>
                <a:gd name="T40" fmla="*/ 0 w 78"/>
                <a:gd name="T41" fmla="*/ 12 h 90"/>
                <a:gd name="T42" fmla="*/ 6 w 78"/>
                <a:gd name="T43" fmla="*/ 6 h 90"/>
                <a:gd name="T44" fmla="*/ 12 w 78"/>
                <a:gd name="T4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8" h="90">
                  <a:moveTo>
                    <a:pt x="12" y="0"/>
                  </a:moveTo>
                  <a:lnTo>
                    <a:pt x="24" y="6"/>
                  </a:lnTo>
                  <a:lnTo>
                    <a:pt x="30" y="6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54" y="30"/>
                  </a:lnTo>
                  <a:lnTo>
                    <a:pt x="60" y="42"/>
                  </a:lnTo>
                  <a:lnTo>
                    <a:pt x="72" y="60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0" y="90"/>
                  </a:lnTo>
                  <a:lnTo>
                    <a:pt x="54" y="84"/>
                  </a:lnTo>
                  <a:lnTo>
                    <a:pt x="42" y="78"/>
                  </a:lnTo>
                  <a:lnTo>
                    <a:pt x="30" y="72"/>
                  </a:lnTo>
                  <a:lnTo>
                    <a:pt x="24" y="60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0" name="Freeform 438">
              <a:extLst>
                <a:ext uri="{FF2B5EF4-FFF2-40B4-BE49-F238E27FC236}">
                  <a16:creationId xmlns:a16="http://schemas.microsoft.com/office/drawing/2014/main" id="{F7483B20-33EA-4BAD-B03A-FE2625A5B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91651" y="4114823"/>
              <a:ext cx="66676" cy="85723"/>
            </a:xfrm>
            <a:custGeom>
              <a:avLst/>
              <a:gdLst>
                <a:gd name="T0" fmla="*/ 18 w 42"/>
                <a:gd name="T1" fmla="*/ 0 h 54"/>
                <a:gd name="T2" fmla="*/ 30 w 42"/>
                <a:gd name="T3" fmla="*/ 0 h 54"/>
                <a:gd name="T4" fmla="*/ 36 w 42"/>
                <a:gd name="T5" fmla="*/ 12 h 54"/>
                <a:gd name="T6" fmla="*/ 42 w 42"/>
                <a:gd name="T7" fmla="*/ 18 h 54"/>
                <a:gd name="T8" fmla="*/ 42 w 42"/>
                <a:gd name="T9" fmla="*/ 30 h 54"/>
                <a:gd name="T10" fmla="*/ 42 w 42"/>
                <a:gd name="T11" fmla="*/ 42 h 54"/>
                <a:gd name="T12" fmla="*/ 36 w 42"/>
                <a:gd name="T13" fmla="*/ 48 h 54"/>
                <a:gd name="T14" fmla="*/ 24 w 42"/>
                <a:gd name="T15" fmla="*/ 54 h 54"/>
                <a:gd name="T16" fmla="*/ 18 w 42"/>
                <a:gd name="T17" fmla="*/ 48 h 54"/>
                <a:gd name="T18" fmla="*/ 6 w 42"/>
                <a:gd name="T19" fmla="*/ 42 h 54"/>
                <a:gd name="T20" fmla="*/ 0 w 42"/>
                <a:gd name="T21" fmla="*/ 36 h 54"/>
                <a:gd name="T22" fmla="*/ 0 w 42"/>
                <a:gd name="T23" fmla="*/ 24 h 54"/>
                <a:gd name="T24" fmla="*/ 0 w 42"/>
                <a:gd name="T25" fmla="*/ 12 h 54"/>
                <a:gd name="T26" fmla="*/ 6 w 42"/>
                <a:gd name="T27" fmla="*/ 6 h 54"/>
                <a:gd name="T28" fmla="*/ 18 w 42"/>
                <a:gd name="T2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54">
                  <a:moveTo>
                    <a:pt x="18" y="0"/>
                  </a:moveTo>
                  <a:lnTo>
                    <a:pt x="30" y="0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30"/>
                  </a:lnTo>
                  <a:lnTo>
                    <a:pt x="42" y="42"/>
                  </a:lnTo>
                  <a:lnTo>
                    <a:pt x="36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6" y="42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1" name="Freeform 439">
              <a:extLst>
                <a:ext uri="{FF2B5EF4-FFF2-40B4-BE49-F238E27FC236}">
                  <a16:creationId xmlns:a16="http://schemas.microsoft.com/office/drawing/2014/main" id="{57C68978-74B8-47AC-979D-DA9F8ED2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9772" y="6591331"/>
              <a:ext cx="104776" cy="180976"/>
            </a:xfrm>
            <a:custGeom>
              <a:avLst/>
              <a:gdLst>
                <a:gd name="T0" fmla="*/ 48 w 66"/>
                <a:gd name="T1" fmla="*/ 0 h 114"/>
                <a:gd name="T2" fmla="*/ 60 w 66"/>
                <a:gd name="T3" fmla="*/ 0 h 114"/>
                <a:gd name="T4" fmla="*/ 66 w 66"/>
                <a:gd name="T5" fmla="*/ 6 h 114"/>
                <a:gd name="T6" fmla="*/ 66 w 66"/>
                <a:gd name="T7" fmla="*/ 12 h 114"/>
                <a:gd name="T8" fmla="*/ 66 w 66"/>
                <a:gd name="T9" fmla="*/ 18 h 114"/>
                <a:gd name="T10" fmla="*/ 54 w 66"/>
                <a:gd name="T11" fmla="*/ 36 h 114"/>
                <a:gd name="T12" fmla="*/ 48 w 66"/>
                <a:gd name="T13" fmla="*/ 60 h 114"/>
                <a:gd name="T14" fmla="*/ 42 w 66"/>
                <a:gd name="T15" fmla="*/ 90 h 114"/>
                <a:gd name="T16" fmla="*/ 36 w 66"/>
                <a:gd name="T17" fmla="*/ 102 h 114"/>
                <a:gd name="T18" fmla="*/ 24 w 66"/>
                <a:gd name="T19" fmla="*/ 108 h 114"/>
                <a:gd name="T20" fmla="*/ 18 w 66"/>
                <a:gd name="T21" fmla="*/ 114 h 114"/>
                <a:gd name="T22" fmla="*/ 12 w 66"/>
                <a:gd name="T23" fmla="*/ 108 h 114"/>
                <a:gd name="T24" fmla="*/ 6 w 66"/>
                <a:gd name="T25" fmla="*/ 102 h 114"/>
                <a:gd name="T26" fmla="*/ 0 w 66"/>
                <a:gd name="T27" fmla="*/ 90 h 114"/>
                <a:gd name="T28" fmla="*/ 0 w 66"/>
                <a:gd name="T29" fmla="*/ 72 h 114"/>
                <a:gd name="T30" fmla="*/ 6 w 66"/>
                <a:gd name="T31" fmla="*/ 54 h 114"/>
                <a:gd name="T32" fmla="*/ 12 w 66"/>
                <a:gd name="T33" fmla="*/ 36 h 114"/>
                <a:gd name="T34" fmla="*/ 24 w 66"/>
                <a:gd name="T35" fmla="*/ 24 h 114"/>
                <a:gd name="T36" fmla="*/ 30 w 66"/>
                <a:gd name="T37" fmla="*/ 12 h 114"/>
                <a:gd name="T38" fmla="*/ 42 w 66"/>
                <a:gd name="T39" fmla="*/ 0 h 114"/>
                <a:gd name="T40" fmla="*/ 48 w 66"/>
                <a:gd name="T4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" h="114">
                  <a:moveTo>
                    <a:pt x="48" y="0"/>
                  </a:moveTo>
                  <a:lnTo>
                    <a:pt x="60" y="0"/>
                  </a:lnTo>
                  <a:lnTo>
                    <a:pt x="66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54" y="36"/>
                  </a:lnTo>
                  <a:lnTo>
                    <a:pt x="48" y="60"/>
                  </a:lnTo>
                  <a:lnTo>
                    <a:pt x="42" y="90"/>
                  </a:lnTo>
                  <a:lnTo>
                    <a:pt x="36" y="102"/>
                  </a:lnTo>
                  <a:lnTo>
                    <a:pt x="24" y="108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6" y="102"/>
                  </a:lnTo>
                  <a:lnTo>
                    <a:pt x="0" y="90"/>
                  </a:lnTo>
                  <a:lnTo>
                    <a:pt x="0" y="72"/>
                  </a:lnTo>
                  <a:lnTo>
                    <a:pt x="6" y="54"/>
                  </a:lnTo>
                  <a:lnTo>
                    <a:pt x="12" y="36"/>
                  </a:lnTo>
                  <a:lnTo>
                    <a:pt x="24" y="24"/>
                  </a:lnTo>
                  <a:lnTo>
                    <a:pt x="30" y="12"/>
                  </a:lnTo>
                  <a:lnTo>
                    <a:pt x="42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2" name="Freeform 440">
              <a:extLst>
                <a:ext uri="{FF2B5EF4-FFF2-40B4-BE49-F238E27FC236}">
                  <a16:creationId xmlns:a16="http://schemas.microsoft.com/office/drawing/2014/main" id="{21FE95B6-C4E9-4E06-BE70-252CB244D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7921" y="7267612"/>
              <a:ext cx="142876" cy="104776"/>
            </a:xfrm>
            <a:custGeom>
              <a:avLst/>
              <a:gdLst>
                <a:gd name="T0" fmla="*/ 66 w 90"/>
                <a:gd name="T1" fmla="*/ 0 h 66"/>
                <a:gd name="T2" fmla="*/ 78 w 90"/>
                <a:gd name="T3" fmla="*/ 6 h 66"/>
                <a:gd name="T4" fmla="*/ 84 w 90"/>
                <a:gd name="T5" fmla="*/ 12 h 66"/>
                <a:gd name="T6" fmla="*/ 90 w 90"/>
                <a:gd name="T7" fmla="*/ 18 h 66"/>
                <a:gd name="T8" fmla="*/ 84 w 90"/>
                <a:gd name="T9" fmla="*/ 30 h 66"/>
                <a:gd name="T10" fmla="*/ 72 w 90"/>
                <a:gd name="T11" fmla="*/ 42 h 66"/>
                <a:gd name="T12" fmla="*/ 60 w 90"/>
                <a:gd name="T13" fmla="*/ 48 h 66"/>
                <a:gd name="T14" fmla="*/ 42 w 90"/>
                <a:gd name="T15" fmla="*/ 60 h 66"/>
                <a:gd name="T16" fmla="*/ 24 w 90"/>
                <a:gd name="T17" fmla="*/ 66 h 66"/>
                <a:gd name="T18" fmla="*/ 12 w 90"/>
                <a:gd name="T19" fmla="*/ 66 h 66"/>
                <a:gd name="T20" fmla="*/ 6 w 90"/>
                <a:gd name="T21" fmla="*/ 66 h 66"/>
                <a:gd name="T22" fmla="*/ 0 w 90"/>
                <a:gd name="T23" fmla="*/ 60 h 66"/>
                <a:gd name="T24" fmla="*/ 0 w 90"/>
                <a:gd name="T25" fmla="*/ 48 h 66"/>
                <a:gd name="T26" fmla="*/ 6 w 90"/>
                <a:gd name="T27" fmla="*/ 36 h 66"/>
                <a:gd name="T28" fmla="*/ 12 w 90"/>
                <a:gd name="T29" fmla="*/ 30 h 66"/>
                <a:gd name="T30" fmla="*/ 18 w 90"/>
                <a:gd name="T31" fmla="*/ 18 h 66"/>
                <a:gd name="T32" fmla="*/ 36 w 90"/>
                <a:gd name="T33" fmla="*/ 6 h 66"/>
                <a:gd name="T34" fmla="*/ 54 w 90"/>
                <a:gd name="T35" fmla="*/ 0 h 66"/>
                <a:gd name="T36" fmla="*/ 66 w 90"/>
                <a:gd name="T3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66">
                  <a:moveTo>
                    <a:pt x="66" y="0"/>
                  </a:moveTo>
                  <a:lnTo>
                    <a:pt x="78" y="6"/>
                  </a:lnTo>
                  <a:lnTo>
                    <a:pt x="84" y="12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8" y="18"/>
                  </a:lnTo>
                  <a:lnTo>
                    <a:pt x="36" y="6"/>
                  </a:lnTo>
                  <a:lnTo>
                    <a:pt x="54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3" name="Freeform 441">
              <a:extLst>
                <a:ext uri="{FF2B5EF4-FFF2-40B4-BE49-F238E27FC236}">
                  <a16:creationId xmlns:a16="http://schemas.microsoft.com/office/drawing/2014/main" id="{DEACCAA2-1B20-4E78-9536-57F9E733C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25025" y="7372388"/>
              <a:ext cx="142876" cy="76200"/>
            </a:xfrm>
            <a:custGeom>
              <a:avLst/>
              <a:gdLst>
                <a:gd name="T0" fmla="*/ 42 w 90"/>
                <a:gd name="T1" fmla="*/ 0 h 48"/>
                <a:gd name="T2" fmla="*/ 60 w 90"/>
                <a:gd name="T3" fmla="*/ 0 h 48"/>
                <a:gd name="T4" fmla="*/ 78 w 90"/>
                <a:gd name="T5" fmla="*/ 6 h 48"/>
                <a:gd name="T6" fmla="*/ 84 w 90"/>
                <a:gd name="T7" fmla="*/ 12 h 48"/>
                <a:gd name="T8" fmla="*/ 90 w 90"/>
                <a:gd name="T9" fmla="*/ 18 h 48"/>
                <a:gd name="T10" fmla="*/ 90 w 90"/>
                <a:gd name="T11" fmla="*/ 24 h 48"/>
                <a:gd name="T12" fmla="*/ 84 w 90"/>
                <a:gd name="T13" fmla="*/ 30 h 48"/>
                <a:gd name="T14" fmla="*/ 72 w 90"/>
                <a:gd name="T15" fmla="*/ 36 h 48"/>
                <a:gd name="T16" fmla="*/ 60 w 90"/>
                <a:gd name="T17" fmla="*/ 42 h 48"/>
                <a:gd name="T18" fmla="*/ 48 w 90"/>
                <a:gd name="T19" fmla="*/ 48 h 48"/>
                <a:gd name="T20" fmla="*/ 36 w 90"/>
                <a:gd name="T21" fmla="*/ 48 h 48"/>
                <a:gd name="T22" fmla="*/ 18 w 90"/>
                <a:gd name="T23" fmla="*/ 48 h 48"/>
                <a:gd name="T24" fmla="*/ 6 w 90"/>
                <a:gd name="T25" fmla="*/ 48 h 48"/>
                <a:gd name="T26" fmla="*/ 0 w 90"/>
                <a:gd name="T27" fmla="*/ 36 h 48"/>
                <a:gd name="T28" fmla="*/ 0 w 90"/>
                <a:gd name="T29" fmla="*/ 30 h 48"/>
                <a:gd name="T30" fmla="*/ 6 w 90"/>
                <a:gd name="T31" fmla="*/ 18 h 48"/>
                <a:gd name="T32" fmla="*/ 12 w 90"/>
                <a:gd name="T33" fmla="*/ 12 h 48"/>
                <a:gd name="T34" fmla="*/ 24 w 90"/>
                <a:gd name="T35" fmla="*/ 6 h 48"/>
                <a:gd name="T36" fmla="*/ 42 w 90"/>
                <a:gd name="T3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48">
                  <a:moveTo>
                    <a:pt x="42" y="0"/>
                  </a:moveTo>
                  <a:lnTo>
                    <a:pt x="60" y="0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2"/>
                  </a:lnTo>
                  <a:lnTo>
                    <a:pt x="48" y="48"/>
                  </a:lnTo>
                  <a:lnTo>
                    <a:pt x="36" y="48"/>
                  </a:lnTo>
                  <a:lnTo>
                    <a:pt x="18" y="48"/>
                  </a:lnTo>
                  <a:lnTo>
                    <a:pt x="6" y="48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4" name="Freeform 442">
              <a:extLst>
                <a:ext uri="{FF2B5EF4-FFF2-40B4-BE49-F238E27FC236}">
                  <a16:creationId xmlns:a16="http://schemas.microsoft.com/office/drawing/2014/main" id="{CE6B8425-F69D-4E6E-A6C6-00225317F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58327" y="7915316"/>
              <a:ext cx="85722" cy="85723"/>
            </a:xfrm>
            <a:custGeom>
              <a:avLst/>
              <a:gdLst>
                <a:gd name="T0" fmla="*/ 42 w 54"/>
                <a:gd name="T1" fmla="*/ 0 h 54"/>
                <a:gd name="T2" fmla="*/ 48 w 54"/>
                <a:gd name="T3" fmla="*/ 0 h 54"/>
                <a:gd name="T4" fmla="*/ 54 w 54"/>
                <a:gd name="T5" fmla="*/ 6 h 54"/>
                <a:gd name="T6" fmla="*/ 54 w 54"/>
                <a:gd name="T7" fmla="*/ 18 h 54"/>
                <a:gd name="T8" fmla="*/ 48 w 54"/>
                <a:gd name="T9" fmla="*/ 24 h 54"/>
                <a:gd name="T10" fmla="*/ 42 w 54"/>
                <a:gd name="T11" fmla="*/ 36 h 54"/>
                <a:gd name="T12" fmla="*/ 30 w 54"/>
                <a:gd name="T13" fmla="*/ 48 h 54"/>
                <a:gd name="T14" fmla="*/ 18 w 54"/>
                <a:gd name="T15" fmla="*/ 54 h 54"/>
                <a:gd name="T16" fmla="*/ 6 w 54"/>
                <a:gd name="T17" fmla="*/ 54 h 54"/>
                <a:gd name="T18" fmla="*/ 0 w 54"/>
                <a:gd name="T19" fmla="*/ 48 h 54"/>
                <a:gd name="T20" fmla="*/ 0 w 54"/>
                <a:gd name="T21" fmla="*/ 42 h 54"/>
                <a:gd name="T22" fmla="*/ 0 w 54"/>
                <a:gd name="T23" fmla="*/ 36 h 54"/>
                <a:gd name="T24" fmla="*/ 0 w 54"/>
                <a:gd name="T25" fmla="*/ 24 h 54"/>
                <a:gd name="T26" fmla="*/ 6 w 54"/>
                <a:gd name="T27" fmla="*/ 18 h 54"/>
                <a:gd name="T28" fmla="*/ 12 w 54"/>
                <a:gd name="T29" fmla="*/ 12 h 54"/>
                <a:gd name="T30" fmla="*/ 24 w 54"/>
                <a:gd name="T31" fmla="*/ 0 h 54"/>
                <a:gd name="T32" fmla="*/ 42 w 54"/>
                <a:gd name="T3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" h="54">
                  <a:moveTo>
                    <a:pt x="42" y="0"/>
                  </a:moveTo>
                  <a:lnTo>
                    <a:pt x="48" y="0"/>
                  </a:lnTo>
                  <a:lnTo>
                    <a:pt x="54" y="6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2" y="36"/>
                  </a:lnTo>
                  <a:lnTo>
                    <a:pt x="30" y="48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24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5" name="Freeform 448">
              <a:extLst>
                <a:ext uri="{FF2B5EF4-FFF2-40B4-BE49-F238E27FC236}">
                  <a16:creationId xmlns:a16="http://schemas.microsoft.com/office/drawing/2014/main" id="{32B5F28D-271E-43A6-BD03-E62765BCE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54155" y="6686585"/>
              <a:ext cx="666748" cy="428628"/>
            </a:xfrm>
            <a:custGeom>
              <a:avLst/>
              <a:gdLst>
                <a:gd name="T0" fmla="*/ 372 w 420"/>
                <a:gd name="T1" fmla="*/ 6 h 270"/>
                <a:gd name="T2" fmla="*/ 402 w 420"/>
                <a:gd name="T3" fmla="*/ 24 h 270"/>
                <a:gd name="T4" fmla="*/ 414 w 420"/>
                <a:gd name="T5" fmla="*/ 54 h 270"/>
                <a:gd name="T6" fmla="*/ 420 w 420"/>
                <a:gd name="T7" fmla="*/ 90 h 270"/>
                <a:gd name="T8" fmla="*/ 420 w 420"/>
                <a:gd name="T9" fmla="*/ 120 h 270"/>
                <a:gd name="T10" fmla="*/ 408 w 420"/>
                <a:gd name="T11" fmla="*/ 138 h 270"/>
                <a:gd name="T12" fmla="*/ 384 w 420"/>
                <a:gd name="T13" fmla="*/ 138 h 270"/>
                <a:gd name="T14" fmla="*/ 366 w 420"/>
                <a:gd name="T15" fmla="*/ 150 h 270"/>
                <a:gd name="T16" fmla="*/ 372 w 420"/>
                <a:gd name="T17" fmla="*/ 174 h 270"/>
                <a:gd name="T18" fmla="*/ 378 w 420"/>
                <a:gd name="T19" fmla="*/ 192 h 270"/>
                <a:gd name="T20" fmla="*/ 360 w 420"/>
                <a:gd name="T21" fmla="*/ 204 h 270"/>
                <a:gd name="T22" fmla="*/ 330 w 420"/>
                <a:gd name="T23" fmla="*/ 210 h 270"/>
                <a:gd name="T24" fmla="*/ 312 w 420"/>
                <a:gd name="T25" fmla="*/ 222 h 270"/>
                <a:gd name="T26" fmla="*/ 294 w 420"/>
                <a:gd name="T27" fmla="*/ 240 h 270"/>
                <a:gd name="T28" fmla="*/ 252 w 420"/>
                <a:gd name="T29" fmla="*/ 246 h 270"/>
                <a:gd name="T30" fmla="*/ 186 w 420"/>
                <a:gd name="T31" fmla="*/ 270 h 270"/>
                <a:gd name="T32" fmla="*/ 126 w 420"/>
                <a:gd name="T33" fmla="*/ 264 h 270"/>
                <a:gd name="T34" fmla="*/ 24 w 420"/>
                <a:gd name="T35" fmla="*/ 252 h 270"/>
                <a:gd name="T36" fmla="*/ 0 w 420"/>
                <a:gd name="T37" fmla="*/ 240 h 270"/>
                <a:gd name="T38" fmla="*/ 6 w 420"/>
                <a:gd name="T39" fmla="*/ 216 h 270"/>
                <a:gd name="T40" fmla="*/ 24 w 420"/>
                <a:gd name="T41" fmla="*/ 204 h 270"/>
                <a:gd name="T42" fmla="*/ 48 w 420"/>
                <a:gd name="T43" fmla="*/ 198 h 270"/>
                <a:gd name="T44" fmla="*/ 72 w 420"/>
                <a:gd name="T45" fmla="*/ 204 h 270"/>
                <a:gd name="T46" fmla="*/ 78 w 420"/>
                <a:gd name="T47" fmla="*/ 192 h 270"/>
                <a:gd name="T48" fmla="*/ 96 w 420"/>
                <a:gd name="T49" fmla="*/ 174 h 270"/>
                <a:gd name="T50" fmla="*/ 210 w 420"/>
                <a:gd name="T51" fmla="*/ 144 h 270"/>
                <a:gd name="T52" fmla="*/ 246 w 420"/>
                <a:gd name="T53" fmla="*/ 132 h 270"/>
                <a:gd name="T54" fmla="*/ 276 w 420"/>
                <a:gd name="T55" fmla="*/ 114 h 270"/>
                <a:gd name="T56" fmla="*/ 312 w 420"/>
                <a:gd name="T57" fmla="*/ 102 h 270"/>
                <a:gd name="T58" fmla="*/ 330 w 420"/>
                <a:gd name="T59" fmla="*/ 78 h 270"/>
                <a:gd name="T60" fmla="*/ 318 w 420"/>
                <a:gd name="T61" fmla="*/ 60 h 270"/>
                <a:gd name="T62" fmla="*/ 300 w 420"/>
                <a:gd name="T63" fmla="*/ 48 h 270"/>
                <a:gd name="T64" fmla="*/ 306 w 420"/>
                <a:gd name="T65" fmla="*/ 24 h 270"/>
                <a:gd name="T66" fmla="*/ 336 w 420"/>
                <a:gd name="T67" fmla="*/ 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0" h="270">
                  <a:moveTo>
                    <a:pt x="354" y="0"/>
                  </a:moveTo>
                  <a:lnTo>
                    <a:pt x="372" y="6"/>
                  </a:lnTo>
                  <a:lnTo>
                    <a:pt x="390" y="12"/>
                  </a:lnTo>
                  <a:lnTo>
                    <a:pt x="402" y="24"/>
                  </a:lnTo>
                  <a:lnTo>
                    <a:pt x="414" y="42"/>
                  </a:lnTo>
                  <a:lnTo>
                    <a:pt x="414" y="54"/>
                  </a:lnTo>
                  <a:lnTo>
                    <a:pt x="414" y="72"/>
                  </a:lnTo>
                  <a:lnTo>
                    <a:pt x="420" y="90"/>
                  </a:lnTo>
                  <a:lnTo>
                    <a:pt x="420" y="102"/>
                  </a:lnTo>
                  <a:lnTo>
                    <a:pt x="420" y="120"/>
                  </a:lnTo>
                  <a:lnTo>
                    <a:pt x="414" y="126"/>
                  </a:lnTo>
                  <a:lnTo>
                    <a:pt x="408" y="138"/>
                  </a:lnTo>
                  <a:lnTo>
                    <a:pt x="402" y="138"/>
                  </a:lnTo>
                  <a:lnTo>
                    <a:pt x="384" y="138"/>
                  </a:lnTo>
                  <a:lnTo>
                    <a:pt x="372" y="138"/>
                  </a:lnTo>
                  <a:lnTo>
                    <a:pt x="366" y="150"/>
                  </a:lnTo>
                  <a:lnTo>
                    <a:pt x="366" y="162"/>
                  </a:lnTo>
                  <a:lnTo>
                    <a:pt x="372" y="174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72" y="198"/>
                  </a:lnTo>
                  <a:lnTo>
                    <a:pt x="360" y="204"/>
                  </a:lnTo>
                  <a:lnTo>
                    <a:pt x="342" y="204"/>
                  </a:lnTo>
                  <a:lnTo>
                    <a:pt x="330" y="210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0" y="234"/>
                  </a:lnTo>
                  <a:lnTo>
                    <a:pt x="294" y="240"/>
                  </a:lnTo>
                  <a:lnTo>
                    <a:pt x="276" y="240"/>
                  </a:lnTo>
                  <a:lnTo>
                    <a:pt x="252" y="246"/>
                  </a:lnTo>
                  <a:lnTo>
                    <a:pt x="216" y="258"/>
                  </a:lnTo>
                  <a:lnTo>
                    <a:pt x="186" y="270"/>
                  </a:lnTo>
                  <a:lnTo>
                    <a:pt x="162" y="270"/>
                  </a:lnTo>
                  <a:lnTo>
                    <a:pt x="126" y="264"/>
                  </a:lnTo>
                  <a:lnTo>
                    <a:pt x="72" y="264"/>
                  </a:lnTo>
                  <a:lnTo>
                    <a:pt x="24" y="252"/>
                  </a:lnTo>
                  <a:lnTo>
                    <a:pt x="12" y="246"/>
                  </a:lnTo>
                  <a:lnTo>
                    <a:pt x="0" y="240"/>
                  </a:lnTo>
                  <a:lnTo>
                    <a:pt x="0" y="228"/>
                  </a:lnTo>
                  <a:lnTo>
                    <a:pt x="6" y="216"/>
                  </a:lnTo>
                  <a:lnTo>
                    <a:pt x="18" y="210"/>
                  </a:lnTo>
                  <a:lnTo>
                    <a:pt x="24" y="204"/>
                  </a:lnTo>
                  <a:lnTo>
                    <a:pt x="36" y="198"/>
                  </a:lnTo>
                  <a:lnTo>
                    <a:pt x="48" y="198"/>
                  </a:lnTo>
                  <a:lnTo>
                    <a:pt x="60" y="204"/>
                  </a:lnTo>
                  <a:lnTo>
                    <a:pt x="72" y="204"/>
                  </a:lnTo>
                  <a:lnTo>
                    <a:pt x="78" y="198"/>
                  </a:lnTo>
                  <a:lnTo>
                    <a:pt x="78" y="192"/>
                  </a:lnTo>
                  <a:lnTo>
                    <a:pt x="90" y="180"/>
                  </a:lnTo>
                  <a:lnTo>
                    <a:pt x="96" y="174"/>
                  </a:lnTo>
                  <a:lnTo>
                    <a:pt x="150" y="150"/>
                  </a:lnTo>
                  <a:lnTo>
                    <a:pt x="210" y="144"/>
                  </a:lnTo>
                  <a:lnTo>
                    <a:pt x="228" y="144"/>
                  </a:lnTo>
                  <a:lnTo>
                    <a:pt x="246" y="132"/>
                  </a:lnTo>
                  <a:lnTo>
                    <a:pt x="264" y="126"/>
                  </a:lnTo>
                  <a:lnTo>
                    <a:pt x="276" y="114"/>
                  </a:lnTo>
                  <a:lnTo>
                    <a:pt x="300" y="108"/>
                  </a:lnTo>
                  <a:lnTo>
                    <a:pt x="312" y="102"/>
                  </a:lnTo>
                  <a:lnTo>
                    <a:pt x="324" y="90"/>
                  </a:lnTo>
                  <a:lnTo>
                    <a:pt x="330" y="78"/>
                  </a:lnTo>
                  <a:lnTo>
                    <a:pt x="324" y="72"/>
                  </a:lnTo>
                  <a:lnTo>
                    <a:pt x="318" y="60"/>
                  </a:lnTo>
                  <a:lnTo>
                    <a:pt x="312" y="54"/>
                  </a:lnTo>
                  <a:lnTo>
                    <a:pt x="300" y="48"/>
                  </a:lnTo>
                  <a:lnTo>
                    <a:pt x="300" y="36"/>
                  </a:lnTo>
                  <a:lnTo>
                    <a:pt x="306" y="24"/>
                  </a:lnTo>
                  <a:lnTo>
                    <a:pt x="318" y="12"/>
                  </a:lnTo>
                  <a:lnTo>
                    <a:pt x="336" y="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6" name="Freeform 449">
              <a:extLst>
                <a:ext uri="{FF2B5EF4-FFF2-40B4-BE49-F238E27FC236}">
                  <a16:creationId xmlns:a16="http://schemas.microsoft.com/office/drawing/2014/main" id="{58114222-3D74-4A9D-93A2-BFEEF1752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2681" y="6143657"/>
              <a:ext cx="114299" cy="85723"/>
            </a:xfrm>
            <a:custGeom>
              <a:avLst/>
              <a:gdLst>
                <a:gd name="T0" fmla="*/ 36 w 72"/>
                <a:gd name="T1" fmla="*/ 0 h 54"/>
                <a:gd name="T2" fmla="*/ 54 w 72"/>
                <a:gd name="T3" fmla="*/ 6 h 54"/>
                <a:gd name="T4" fmla="*/ 66 w 72"/>
                <a:gd name="T5" fmla="*/ 6 h 54"/>
                <a:gd name="T6" fmla="*/ 72 w 72"/>
                <a:gd name="T7" fmla="*/ 18 h 54"/>
                <a:gd name="T8" fmla="*/ 72 w 72"/>
                <a:gd name="T9" fmla="*/ 24 h 54"/>
                <a:gd name="T10" fmla="*/ 72 w 72"/>
                <a:gd name="T11" fmla="*/ 30 h 54"/>
                <a:gd name="T12" fmla="*/ 66 w 72"/>
                <a:gd name="T13" fmla="*/ 42 h 54"/>
                <a:gd name="T14" fmla="*/ 54 w 72"/>
                <a:gd name="T15" fmla="*/ 48 h 54"/>
                <a:gd name="T16" fmla="*/ 48 w 72"/>
                <a:gd name="T17" fmla="*/ 54 h 54"/>
                <a:gd name="T18" fmla="*/ 36 w 72"/>
                <a:gd name="T19" fmla="*/ 54 h 54"/>
                <a:gd name="T20" fmla="*/ 18 w 72"/>
                <a:gd name="T21" fmla="*/ 54 h 54"/>
                <a:gd name="T22" fmla="*/ 6 w 72"/>
                <a:gd name="T23" fmla="*/ 48 h 54"/>
                <a:gd name="T24" fmla="*/ 0 w 72"/>
                <a:gd name="T25" fmla="*/ 36 h 54"/>
                <a:gd name="T26" fmla="*/ 0 w 72"/>
                <a:gd name="T27" fmla="*/ 30 h 54"/>
                <a:gd name="T28" fmla="*/ 0 w 72"/>
                <a:gd name="T29" fmla="*/ 18 h 54"/>
                <a:gd name="T30" fmla="*/ 6 w 72"/>
                <a:gd name="T31" fmla="*/ 12 h 54"/>
                <a:gd name="T32" fmla="*/ 18 w 72"/>
                <a:gd name="T33" fmla="*/ 6 h 54"/>
                <a:gd name="T34" fmla="*/ 36 w 72"/>
                <a:gd name="T35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54">
                  <a:moveTo>
                    <a:pt x="36" y="0"/>
                  </a:moveTo>
                  <a:lnTo>
                    <a:pt x="54" y="6"/>
                  </a:lnTo>
                  <a:lnTo>
                    <a:pt x="66" y="6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36" y="54"/>
                  </a:lnTo>
                  <a:lnTo>
                    <a:pt x="18" y="54"/>
                  </a:lnTo>
                  <a:lnTo>
                    <a:pt x="6" y="48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8" y="6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7" name="Freeform 450">
              <a:extLst>
                <a:ext uri="{FF2B5EF4-FFF2-40B4-BE49-F238E27FC236}">
                  <a16:creationId xmlns:a16="http://schemas.microsoft.com/office/drawing/2014/main" id="{F0B97EEE-489D-432A-9F9E-16D964DAD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3728" y="6343679"/>
              <a:ext cx="409573" cy="485774"/>
            </a:xfrm>
            <a:custGeom>
              <a:avLst/>
              <a:gdLst>
                <a:gd name="T0" fmla="*/ 18 w 258"/>
                <a:gd name="T1" fmla="*/ 0 h 306"/>
                <a:gd name="T2" fmla="*/ 54 w 258"/>
                <a:gd name="T3" fmla="*/ 12 h 306"/>
                <a:gd name="T4" fmla="*/ 96 w 258"/>
                <a:gd name="T5" fmla="*/ 36 h 306"/>
                <a:gd name="T6" fmla="*/ 138 w 258"/>
                <a:gd name="T7" fmla="*/ 72 h 306"/>
                <a:gd name="T8" fmla="*/ 168 w 258"/>
                <a:gd name="T9" fmla="*/ 90 h 306"/>
                <a:gd name="T10" fmla="*/ 210 w 258"/>
                <a:gd name="T11" fmla="*/ 120 h 306"/>
                <a:gd name="T12" fmla="*/ 228 w 258"/>
                <a:gd name="T13" fmla="*/ 138 h 306"/>
                <a:gd name="T14" fmla="*/ 240 w 258"/>
                <a:gd name="T15" fmla="*/ 156 h 306"/>
                <a:gd name="T16" fmla="*/ 252 w 258"/>
                <a:gd name="T17" fmla="*/ 168 h 306"/>
                <a:gd name="T18" fmla="*/ 258 w 258"/>
                <a:gd name="T19" fmla="*/ 186 h 306"/>
                <a:gd name="T20" fmla="*/ 258 w 258"/>
                <a:gd name="T21" fmla="*/ 198 h 306"/>
                <a:gd name="T22" fmla="*/ 258 w 258"/>
                <a:gd name="T23" fmla="*/ 216 h 306"/>
                <a:gd name="T24" fmla="*/ 258 w 258"/>
                <a:gd name="T25" fmla="*/ 234 h 306"/>
                <a:gd name="T26" fmla="*/ 258 w 258"/>
                <a:gd name="T27" fmla="*/ 252 h 306"/>
                <a:gd name="T28" fmla="*/ 258 w 258"/>
                <a:gd name="T29" fmla="*/ 264 h 306"/>
                <a:gd name="T30" fmla="*/ 258 w 258"/>
                <a:gd name="T31" fmla="*/ 282 h 306"/>
                <a:gd name="T32" fmla="*/ 258 w 258"/>
                <a:gd name="T33" fmla="*/ 294 h 306"/>
                <a:gd name="T34" fmla="*/ 252 w 258"/>
                <a:gd name="T35" fmla="*/ 300 h 306"/>
                <a:gd name="T36" fmla="*/ 240 w 258"/>
                <a:gd name="T37" fmla="*/ 306 h 306"/>
                <a:gd name="T38" fmla="*/ 228 w 258"/>
                <a:gd name="T39" fmla="*/ 300 h 306"/>
                <a:gd name="T40" fmla="*/ 216 w 258"/>
                <a:gd name="T41" fmla="*/ 294 h 306"/>
                <a:gd name="T42" fmla="*/ 210 w 258"/>
                <a:gd name="T43" fmla="*/ 282 h 306"/>
                <a:gd name="T44" fmla="*/ 210 w 258"/>
                <a:gd name="T45" fmla="*/ 264 h 306"/>
                <a:gd name="T46" fmla="*/ 210 w 258"/>
                <a:gd name="T47" fmla="*/ 240 h 306"/>
                <a:gd name="T48" fmla="*/ 210 w 258"/>
                <a:gd name="T49" fmla="*/ 216 h 306"/>
                <a:gd name="T50" fmla="*/ 204 w 258"/>
                <a:gd name="T51" fmla="*/ 198 h 306"/>
                <a:gd name="T52" fmla="*/ 198 w 258"/>
                <a:gd name="T53" fmla="*/ 186 h 306"/>
                <a:gd name="T54" fmla="*/ 186 w 258"/>
                <a:gd name="T55" fmla="*/ 174 h 306"/>
                <a:gd name="T56" fmla="*/ 174 w 258"/>
                <a:gd name="T57" fmla="*/ 156 h 306"/>
                <a:gd name="T58" fmla="*/ 144 w 258"/>
                <a:gd name="T59" fmla="*/ 132 h 306"/>
                <a:gd name="T60" fmla="*/ 102 w 258"/>
                <a:gd name="T61" fmla="*/ 108 h 306"/>
                <a:gd name="T62" fmla="*/ 66 w 258"/>
                <a:gd name="T63" fmla="*/ 84 h 306"/>
                <a:gd name="T64" fmla="*/ 48 w 258"/>
                <a:gd name="T65" fmla="*/ 72 h 306"/>
                <a:gd name="T66" fmla="*/ 36 w 258"/>
                <a:gd name="T67" fmla="*/ 60 h 306"/>
                <a:gd name="T68" fmla="*/ 18 w 258"/>
                <a:gd name="T69" fmla="*/ 48 h 306"/>
                <a:gd name="T70" fmla="*/ 6 w 258"/>
                <a:gd name="T71" fmla="*/ 30 h 306"/>
                <a:gd name="T72" fmla="*/ 0 w 258"/>
                <a:gd name="T73" fmla="*/ 18 h 306"/>
                <a:gd name="T74" fmla="*/ 0 w 258"/>
                <a:gd name="T75" fmla="*/ 12 h 306"/>
                <a:gd name="T76" fmla="*/ 18 w 258"/>
                <a:gd name="T77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8" h="306">
                  <a:moveTo>
                    <a:pt x="18" y="0"/>
                  </a:moveTo>
                  <a:lnTo>
                    <a:pt x="54" y="12"/>
                  </a:lnTo>
                  <a:lnTo>
                    <a:pt x="96" y="36"/>
                  </a:lnTo>
                  <a:lnTo>
                    <a:pt x="138" y="72"/>
                  </a:lnTo>
                  <a:lnTo>
                    <a:pt x="168" y="90"/>
                  </a:lnTo>
                  <a:lnTo>
                    <a:pt x="210" y="120"/>
                  </a:lnTo>
                  <a:lnTo>
                    <a:pt x="228" y="138"/>
                  </a:lnTo>
                  <a:lnTo>
                    <a:pt x="240" y="156"/>
                  </a:lnTo>
                  <a:lnTo>
                    <a:pt x="252" y="168"/>
                  </a:lnTo>
                  <a:lnTo>
                    <a:pt x="258" y="186"/>
                  </a:lnTo>
                  <a:lnTo>
                    <a:pt x="258" y="198"/>
                  </a:lnTo>
                  <a:lnTo>
                    <a:pt x="258" y="216"/>
                  </a:lnTo>
                  <a:lnTo>
                    <a:pt x="258" y="234"/>
                  </a:lnTo>
                  <a:lnTo>
                    <a:pt x="258" y="252"/>
                  </a:lnTo>
                  <a:lnTo>
                    <a:pt x="258" y="264"/>
                  </a:lnTo>
                  <a:lnTo>
                    <a:pt x="258" y="282"/>
                  </a:lnTo>
                  <a:lnTo>
                    <a:pt x="258" y="294"/>
                  </a:lnTo>
                  <a:lnTo>
                    <a:pt x="252" y="300"/>
                  </a:lnTo>
                  <a:lnTo>
                    <a:pt x="240" y="306"/>
                  </a:lnTo>
                  <a:lnTo>
                    <a:pt x="228" y="300"/>
                  </a:lnTo>
                  <a:lnTo>
                    <a:pt x="216" y="294"/>
                  </a:lnTo>
                  <a:lnTo>
                    <a:pt x="210" y="282"/>
                  </a:lnTo>
                  <a:lnTo>
                    <a:pt x="210" y="264"/>
                  </a:lnTo>
                  <a:lnTo>
                    <a:pt x="210" y="240"/>
                  </a:lnTo>
                  <a:lnTo>
                    <a:pt x="210" y="216"/>
                  </a:lnTo>
                  <a:lnTo>
                    <a:pt x="204" y="198"/>
                  </a:lnTo>
                  <a:lnTo>
                    <a:pt x="198" y="186"/>
                  </a:lnTo>
                  <a:lnTo>
                    <a:pt x="186" y="174"/>
                  </a:lnTo>
                  <a:lnTo>
                    <a:pt x="174" y="156"/>
                  </a:lnTo>
                  <a:lnTo>
                    <a:pt x="144" y="132"/>
                  </a:lnTo>
                  <a:lnTo>
                    <a:pt x="102" y="108"/>
                  </a:lnTo>
                  <a:lnTo>
                    <a:pt x="66" y="84"/>
                  </a:lnTo>
                  <a:lnTo>
                    <a:pt x="48" y="72"/>
                  </a:lnTo>
                  <a:lnTo>
                    <a:pt x="36" y="60"/>
                  </a:lnTo>
                  <a:lnTo>
                    <a:pt x="18" y="48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8" name="Freeform 451">
              <a:extLst>
                <a:ext uri="{FF2B5EF4-FFF2-40B4-BE49-F238E27FC236}">
                  <a16:creationId xmlns:a16="http://schemas.microsoft.com/office/drawing/2014/main" id="{2FE183F9-0C5B-4EEE-B8F0-B14383DBC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3330" y="6934237"/>
              <a:ext cx="238129" cy="361952"/>
            </a:xfrm>
            <a:custGeom>
              <a:avLst/>
              <a:gdLst>
                <a:gd name="T0" fmla="*/ 36 w 150"/>
                <a:gd name="T1" fmla="*/ 0 h 228"/>
                <a:gd name="T2" fmla="*/ 54 w 150"/>
                <a:gd name="T3" fmla="*/ 0 h 228"/>
                <a:gd name="T4" fmla="*/ 72 w 150"/>
                <a:gd name="T5" fmla="*/ 12 h 228"/>
                <a:gd name="T6" fmla="*/ 84 w 150"/>
                <a:gd name="T7" fmla="*/ 30 h 228"/>
                <a:gd name="T8" fmla="*/ 96 w 150"/>
                <a:gd name="T9" fmla="*/ 48 h 228"/>
                <a:gd name="T10" fmla="*/ 108 w 150"/>
                <a:gd name="T11" fmla="*/ 72 h 228"/>
                <a:gd name="T12" fmla="*/ 126 w 150"/>
                <a:gd name="T13" fmla="*/ 114 h 228"/>
                <a:gd name="T14" fmla="*/ 138 w 150"/>
                <a:gd name="T15" fmla="*/ 144 h 228"/>
                <a:gd name="T16" fmla="*/ 150 w 150"/>
                <a:gd name="T17" fmla="*/ 186 h 228"/>
                <a:gd name="T18" fmla="*/ 150 w 150"/>
                <a:gd name="T19" fmla="*/ 204 h 228"/>
                <a:gd name="T20" fmla="*/ 150 w 150"/>
                <a:gd name="T21" fmla="*/ 222 h 228"/>
                <a:gd name="T22" fmla="*/ 150 w 150"/>
                <a:gd name="T23" fmla="*/ 228 h 228"/>
                <a:gd name="T24" fmla="*/ 144 w 150"/>
                <a:gd name="T25" fmla="*/ 228 h 228"/>
                <a:gd name="T26" fmla="*/ 132 w 150"/>
                <a:gd name="T27" fmla="*/ 228 h 228"/>
                <a:gd name="T28" fmla="*/ 120 w 150"/>
                <a:gd name="T29" fmla="*/ 216 h 228"/>
                <a:gd name="T30" fmla="*/ 108 w 150"/>
                <a:gd name="T31" fmla="*/ 204 h 228"/>
                <a:gd name="T32" fmla="*/ 72 w 150"/>
                <a:gd name="T33" fmla="*/ 162 h 228"/>
                <a:gd name="T34" fmla="*/ 48 w 150"/>
                <a:gd name="T35" fmla="*/ 132 h 228"/>
                <a:gd name="T36" fmla="*/ 24 w 150"/>
                <a:gd name="T37" fmla="*/ 96 h 228"/>
                <a:gd name="T38" fmla="*/ 12 w 150"/>
                <a:gd name="T39" fmla="*/ 78 h 228"/>
                <a:gd name="T40" fmla="*/ 0 w 150"/>
                <a:gd name="T41" fmla="*/ 60 h 228"/>
                <a:gd name="T42" fmla="*/ 0 w 150"/>
                <a:gd name="T43" fmla="*/ 42 h 228"/>
                <a:gd name="T44" fmla="*/ 6 w 150"/>
                <a:gd name="T45" fmla="*/ 24 h 228"/>
                <a:gd name="T46" fmla="*/ 12 w 150"/>
                <a:gd name="T47" fmla="*/ 12 h 228"/>
                <a:gd name="T48" fmla="*/ 24 w 150"/>
                <a:gd name="T49" fmla="*/ 6 h 228"/>
                <a:gd name="T50" fmla="*/ 36 w 150"/>
                <a:gd name="T51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0" h="228">
                  <a:moveTo>
                    <a:pt x="36" y="0"/>
                  </a:moveTo>
                  <a:lnTo>
                    <a:pt x="54" y="0"/>
                  </a:lnTo>
                  <a:lnTo>
                    <a:pt x="72" y="12"/>
                  </a:lnTo>
                  <a:lnTo>
                    <a:pt x="84" y="30"/>
                  </a:lnTo>
                  <a:lnTo>
                    <a:pt x="96" y="48"/>
                  </a:lnTo>
                  <a:lnTo>
                    <a:pt x="108" y="72"/>
                  </a:lnTo>
                  <a:lnTo>
                    <a:pt x="126" y="114"/>
                  </a:lnTo>
                  <a:lnTo>
                    <a:pt x="138" y="144"/>
                  </a:lnTo>
                  <a:lnTo>
                    <a:pt x="150" y="186"/>
                  </a:lnTo>
                  <a:lnTo>
                    <a:pt x="150" y="204"/>
                  </a:lnTo>
                  <a:lnTo>
                    <a:pt x="150" y="222"/>
                  </a:lnTo>
                  <a:lnTo>
                    <a:pt x="150" y="228"/>
                  </a:lnTo>
                  <a:lnTo>
                    <a:pt x="144" y="228"/>
                  </a:lnTo>
                  <a:lnTo>
                    <a:pt x="132" y="228"/>
                  </a:lnTo>
                  <a:lnTo>
                    <a:pt x="120" y="216"/>
                  </a:lnTo>
                  <a:lnTo>
                    <a:pt x="108" y="204"/>
                  </a:lnTo>
                  <a:lnTo>
                    <a:pt x="72" y="162"/>
                  </a:lnTo>
                  <a:lnTo>
                    <a:pt x="48" y="132"/>
                  </a:lnTo>
                  <a:lnTo>
                    <a:pt x="24" y="96"/>
                  </a:lnTo>
                  <a:lnTo>
                    <a:pt x="12" y="78"/>
                  </a:lnTo>
                  <a:lnTo>
                    <a:pt x="0" y="60"/>
                  </a:lnTo>
                  <a:lnTo>
                    <a:pt x="0" y="42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39" name="Freeform 452">
              <a:extLst>
                <a:ext uri="{FF2B5EF4-FFF2-40B4-BE49-F238E27FC236}">
                  <a16:creationId xmlns:a16="http://schemas.microsoft.com/office/drawing/2014/main" id="{095EEDD5-A618-4A1A-AF90-201659BCE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44796" y="7239035"/>
              <a:ext cx="133353" cy="228599"/>
            </a:xfrm>
            <a:custGeom>
              <a:avLst/>
              <a:gdLst>
                <a:gd name="T0" fmla="*/ 12 w 84"/>
                <a:gd name="T1" fmla="*/ 0 h 144"/>
                <a:gd name="T2" fmla="*/ 18 w 84"/>
                <a:gd name="T3" fmla="*/ 0 h 144"/>
                <a:gd name="T4" fmla="*/ 30 w 84"/>
                <a:gd name="T5" fmla="*/ 6 h 144"/>
                <a:gd name="T6" fmla="*/ 42 w 84"/>
                <a:gd name="T7" fmla="*/ 12 h 144"/>
                <a:gd name="T8" fmla="*/ 48 w 84"/>
                <a:gd name="T9" fmla="*/ 24 h 144"/>
                <a:gd name="T10" fmla="*/ 60 w 84"/>
                <a:gd name="T11" fmla="*/ 36 h 144"/>
                <a:gd name="T12" fmla="*/ 78 w 84"/>
                <a:gd name="T13" fmla="*/ 72 h 144"/>
                <a:gd name="T14" fmla="*/ 84 w 84"/>
                <a:gd name="T15" fmla="*/ 108 h 144"/>
                <a:gd name="T16" fmla="*/ 84 w 84"/>
                <a:gd name="T17" fmla="*/ 138 h 144"/>
                <a:gd name="T18" fmla="*/ 78 w 84"/>
                <a:gd name="T19" fmla="*/ 144 h 144"/>
                <a:gd name="T20" fmla="*/ 72 w 84"/>
                <a:gd name="T21" fmla="*/ 144 h 144"/>
                <a:gd name="T22" fmla="*/ 66 w 84"/>
                <a:gd name="T23" fmla="*/ 144 h 144"/>
                <a:gd name="T24" fmla="*/ 54 w 84"/>
                <a:gd name="T25" fmla="*/ 138 h 144"/>
                <a:gd name="T26" fmla="*/ 42 w 84"/>
                <a:gd name="T27" fmla="*/ 126 h 144"/>
                <a:gd name="T28" fmla="*/ 30 w 84"/>
                <a:gd name="T29" fmla="*/ 114 h 144"/>
                <a:gd name="T30" fmla="*/ 18 w 84"/>
                <a:gd name="T31" fmla="*/ 90 h 144"/>
                <a:gd name="T32" fmla="*/ 6 w 84"/>
                <a:gd name="T33" fmla="*/ 60 h 144"/>
                <a:gd name="T34" fmla="*/ 0 w 84"/>
                <a:gd name="T35" fmla="*/ 36 h 144"/>
                <a:gd name="T36" fmla="*/ 0 w 84"/>
                <a:gd name="T37" fmla="*/ 18 h 144"/>
                <a:gd name="T38" fmla="*/ 0 w 84"/>
                <a:gd name="T39" fmla="*/ 6 h 144"/>
                <a:gd name="T40" fmla="*/ 6 w 84"/>
                <a:gd name="T41" fmla="*/ 0 h 144"/>
                <a:gd name="T42" fmla="*/ 12 w 84"/>
                <a:gd name="T4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4" h="144">
                  <a:moveTo>
                    <a:pt x="12" y="0"/>
                  </a:moveTo>
                  <a:lnTo>
                    <a:pt x="18" y="0"/>
                  </a:lnTo>
                  <a:lnTo>
                    <a:pt x="30" y="6"/>
                  </a:lnTo>
                  <a:lnTo>
                    <a:pt x="42" y="12"/>
                  </a:lnTo>
                  <a:lnTo>
                    <a:pt x="48" y="24"/>
                  </a:lnTo>
                  <a:lnTo>
                    <a:pt x="60" y="36"/>
                  </a:lnTo>
                  <a:lnTo>
                    <a:pt x="78" y="7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78" y="144"/>
                  </a:lnTo>
                  <a:lnTo>
                    <a:pt x="72" y="144"/>
                  </a:lnTo>
                  <a:lnTo>
                    <a:pt x="66" y="144"/>
                  </a:lnTo>
                  <a:lnTo>
                    <a:pt x="54" y="138"/>
                  </a:lnTo>
                  <a:lnTo>
                    <a:pt x="42" y="126"/>
                  </a:lnTo>
                  <a:lnTo>
                    <a:pt x="30" y="114"/>
                  </a:lnTo>
                  <a:lnTo>
                    <a:pt x="18" y="90"/>
                  </a:lnTo>
                  <a:lnTo>
                    <a:pt x="6" y="60"/>
                  </a:lnTo>
                  <a:lnTo>
                    <a:pt x="0" y="36"/>
                  </a:lnTo>
                  <a:lnTo>
                    <a:pt x="0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40" name="Freeform 453">
              <a:extLst>
                <a:ext uri="{FF2B5EF4-FFF2-40B4-BE49-F238E27FC236}">
                  <a16:creationId xmlns:a16="http://schemas.microsoft.com/office/drawing/2014/main" id="{5127B931-91D4-4A1E-B744-74A1E639D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1003" y="7639087"/>
              <a:ext cx="95253" cy="171453"/>
            </a:xfrm>
            <a:custGeom>
              <a:avLst/>
              <a:gdLst>
                <a:gd name="T0" fmla="*/ 24 w 60"/>
                <a:gd name="T1" fmla="*/ 0 h 108"/>
                <a:gd name="T2" fmla="*/ 30 w 60"/>
                <a:gd name="T3" fmla="*/ 0 h 108"/>
                <a:gd name="T4" fmla="*/ 36 w 60"/>
                <a:gd name="T5" fmla="*/ 6 h 108"/>
                <a:gd name="T6" fmla="*/ 42 w 60"/>
                <a:gd name="T7" fmla="*/ 24 h 108"/>
                <a:gd name="T8" fmla="*/ 48 w 60"/>
                <a:gd name="T9" fmla="*/ 42 h 108"/>
                <a:gd name="T10" fmla="*/ 54 w 60"/>
                <a:gd name="T11" fmla="*/ 60 h 108"/>
                <a:gd name="T12" fmla="*/ 60 w 60"/>
                <a:gd name="T13" fmla="*/ 84 h 108"/>
                <a:gd name="T14" fmla="*/ 54 w 60"/>
                <a:gd name="T15" fmla="*/ 96 h 108"/>
                <a:gd name="T16" fmla="*/ 48 w 60"/>
                <a:gd name="T17" fmla="*/ 102 h 108"/>
                <a:gd name="T18" fmla="*/ 42 w 60"/>
                <a:gd name="T19" fmla="*/ 108 h 108"/>
                <a:gd name="T20" fmla="*/ 30 w 60"/>
                <a:gd name="T21" fmla="*/ 108 h 108"/>
                <a:gd name="T22" fmla="*/ 24 w 60"/>
                <a:gd name="T23" fmla="*/ 108 h 108"/>
                <a:gd name="T24" fmla="*/ 12 w 60"/>
                <a:gd name="T25" fmla="*/ 102 h 108"/>
                <a:gd name="T26" fmla="*/ 6 w 60"/>
                <a:gd name="T27" fmla="*/ 90 h 108"/>
                <a:gd name="T28" fmla="*/ 0 w 60"/>
                <a:gd name="T29" fmla="*/ 78 h 108"/>
                <a:gd name="T30" fmla="*/ 0 w 60"/>
                <a:gd name="T31" fmla="*/ 60 h 108"/>
                <a:gd name="T32" fmla="*/ 6 w 60"/>
                <a:gd name="T33" fmla="*/ 36 h 108"/>
                <a:gd name="T34" fmla="*/ 12 w 60"/>
                <a:gd name="T35" fmla="*/ 12 h 108"/>
                <a:gd name="T36" fmla="*/ 18 w 60"/>
                <a:gd name="T37" fmla="*/ 0 h 108"/>
                <a:gd name="T38" fmla="*/ 24 w 60"/>
                <a:gd name="T3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" h="108">
                  <a:moveTo>
                    <a:pt x="24" y="0"/>
                  </a:moveTo>
                  <a:lnTo>
                    <a:pt x="30" y="0"/>
                  </a:lnTo>
                  <a:lnTo>
                    <a:pt x="36" y="6"/>
                  </a:lnTo>
                  <a:lnTo>
                    <a:pt x="42" y="24"/>
                  </a:lnTo>
                  <a:lnTo>
                    <a:pt x="48" y="42"/>
                  </a:lnTo>
                  <a:lnTo>
                    <a:pt x="54" y="60"/>
                  </a:lnTo>
                  <a:lnTo>
                    <a:pt x="60" y="84"/>
                  </a:lnTo>
                  <a:lnTo>
                    <a:pt x="54" y="96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12" y="102"/>
                  </a:lnTo>
                  <a:lnTo>
                    <a:pt x="6" y="90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6" y="36"/>
                  </a:lnTo>
                  <a:lnTo>
                    <a:pt x="12" y="12"/>
                  </a:lnTo>
                  <a:lnTo>
                    <a:pt x="18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41" name="Freeform 454">
              <a:extLst>
                <a:ext uri="{FF2B5EF4-FFF2-40B4-BE49-F238E27FC236}">
                  <a16:creationId xmlns:a16="http://schemas.microsoft.com/office/drawing/2014/main" id="{4BFF2D2C-607A-4B5F-A265-EF38EEA7A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9585" y="7553364"/>
              <a:ext cx="209552" cy="266698"/>
            </a:xfrm>
            <a:custGeom>
              <a:avLst/>
              <a:gdLst>
                <a:gd name="T0" fmla="*/ 18 w 132"/>
                <a:gd name="T1" fmla="*/ 0 h 168"/>
                <a:gd name="T2" fmla="*/ 30 w 132"/>
                <a:gd name="T3" fmla="*/ 0 h 168"/>
                <a:gd name="T4" fmla="*/ 36 w 132"/>
                <a:gd name="T5" fmla="*/ 6 h 168"/>
                <a:gd name="T6" fmla="*/ 48 w 132"/>
                <a:gd name="T7" fmla="*/ 12 h 168"/>
                <a:gd name="T8" fmla="*/ 66 w 132"/>
                <a:gd name="T9" fmla="*/ 24 h 168"/>
                <a:gd name="T10" fmla="*/ 78 w 132"/>
                <a:gd name="T11" fmla="*/ 36 h 168"/>
                <a:gd name="T12" fmla="*/ 90 w 132"/>
                <a:gd name="T13" fmla="*/ 48 h 168"/>
                <a:gd name="T14" fmla="*/ 96 w 132"/>
                <a:gd name="T15" fmla="*/ 66 h 168"/>
                <a:gd name="T16" fmla="*/ 108 w 132"/>
                <a:gd name="T17" fmla="*/ 84 h 168"/>
                <a:gd name="T18" fmla="*/ 126 w 132"/>
                <a:gd name="T19" fmla="*/ 108 h 168"/>
                <a:gd name="T20" fmla="*/ 132 w 132"/>
                <a:gd name="T21" fmla="*/ 126 h 168"/>
                <a:gd name="T22" fmla="*/ 132 w 132"/>
                <a:gd name="T23" fmla="*/ 144 h 168"/>
                <a:gd name="T24" fmla="*/ 126 w 132"/>
                <a:gd name="T25" fmla="*/ 150 h 168"/>
                <a:gd name="T26" fmla="*/ 120 w 132"/>
                <a:gd name="T27" fmla="*/ 162 h 168"/>
                <a:gd name="T28" fmla="*/ 114 w 132"/>
                <a:gd name="T29" fmla="*/ 168 h 168"/>
                <a:gd name="T30" fmla="*/ 108 w 132"/>
                <a:gd name="T31" fmla="*/ 168 h 168"/>
                <a:gd name="T32" fmla="*/ 96 w 132"/>
                <a:gd name="T33" fmla="*/ 168 h 168"/>
                <a:gd name="T34" fmla="*/ 90 w 132"/>
                <a:gd name="T35" fmla="*/ 162 h 168"/>
                <a:gd name="T36" fmla="*/ 84 w 132"/>
                <a:gd name="T37" fmla="*/ 156 h 168"/>
                <a:gd name="T38" fmla="*/ 72 w 132"/>
                <a:gd name="T39" fmla="*/ 138 h 168"/>
                <a:gd name="T40" fmla="*/ 54 w 132"/>
                <a:gd name="T41" fmla="*/ 114 h 168"/>
                <a:gd name="T42" fmla="*/ 36 w 132"/>
                <a:gd name="T43" fmla="*/ 90 h 168"/>
                <a:gd name="T44" fmla="*/ 18 w 132"/>
                <a:gd name="T45" fmla="*/ 60 h 168"/>
                <a:gd name="T46" fmla="*/ 6 w 132"/>
                <a:gd name="T47" fmla="*/ 42 h 168"/>
                <a:gd name="T48" fmla="*/ 0 w 132"/>
                <a:gd name="T49" fmla="*/ 24 h 168"/>
                <a:gd name="T50" fmla="*/ 0 w 132"/>
                <a:gd name="T51" fmla="*/ 12 h 168"/>
                <a:gd name="T52" fmla="*/ 0 w 132"/>
                <a:gd name="T53" fmla="*/ 6 h 168"/>
                <a:gd name="T54" fmla="*/ 6 w 132"/>
                <a:gd name="T55" fmla="*/ 0 h 168"/>
                <a:gd name="T56" fmla="*/ 18 w 132"/>
                <a:gd name="T57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2" h="168">
                  <a:moveTo>
                    <a:pt x="18" y="0"/>
                  </a:moveTo>
                  <a:lnTo>
                    <a:pt x="30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66" y="24"/>
                  </a:lnTo>
                  <a:lnTo>
                    <a:pt x="78" y="36"/>
                  </a:lnTo>
                  <a:lnTo>
                    <a:pt x="90" y="48"/>
                  </a:lnTo>
                  <a:lnTo>
                    <a:pt x="96" y="66"/>
                  </a:lnTo>
                  <a:lnTo>
                    <a:pt x="108" y="84"/>
                  </a:lnTo>
                  <a:lnTo>
                    <a:pt x="126" y="108"/>
                  </a:lnTo>
                  <a:lnTo>
                    <a:pt x="132" y="126"/>
                  </a:lnTo>
                  <a:lnTo>
                    <a:pt x="132" y="144"/>
                  </a:lnTo>
                  <a:lnTo>
                    <a:pt x="126" y="150"/>
                  </a:lnTo>
                  <a:lnTo>
                    <a:pt x="120" y="162"/>
                  </a:lnTo>
                  <a:lnTo>
                    <a:pt x="114" y="168"/>
                  </a:lnTo>
                  <a:lnTo>
                    <a:pt x="108" y="168"/>
                  </a:lnTo>
                  <a:lnTo>
                    <a:pt x="96" y="168"/>
                  </a:lnTo>
                  <a:lnTo>
                    <a:pt x="90" y="162"/>
                  </a:lnTo>
                  <a:lnTo>
                    <a:pt x="84" y="156"/>
                  </a:lnTo>
                  <a:lnTo>
                    <a:pt x="72" y="138"/>
                  </a:lnTo>
                  <a:lnTo>
                    <a:pt x="54" y="114"/>
                  </a:lnTo>
                  <a:lnTo>
                    <a:pt x="36" y="90"/>
                  </a:lnTo>
                  <a:lnTo>
                    <a:pt x="18" y="60"/>
                  </a:lnTo>
                  <a:lnTo>
                    <a:pt x="6" y="42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42" name="Freeform 455">
              <a:extLst>
                <a:ext uri="{FF2B5EF4-FFF2-40B4-BE49-F238E27FC236}">
                  <a16:creationId xmlns:a16="http://schemas.microsoft.com/office/drawing/2014/main" id="{128F960F-6A56-44F3-BC77-321BE198A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7685" y="7905785"/>
              <a:ext cx="123822" cy="142876"/>
            </a:xfrm>
            <a:custGeom>
              <a:avLst/>
              <a:gdLst>
                <a:gd name="T0" fmla="*/ 12 w 78"/>
                <a:gd name="T1" fmla="*/ 0 h 90"/>
                <a:gd name="T2" fmla="*/ 24 w 78"/>
                <a:gd name="T3" fmla="*/ 0 h 90"/>
                <a:gd name="T4" fmla="*/ 30 w 78"/>
                <a:gd name="T5" fmla="*/ 6 h 90"/>
                <a:gd name="T6" fmla="*/ 42 w 78"/>
                <a:gd name="T7" fmla="*/ 12 h 90"/>
                <a:gd name="T8" fmla="*/ 54 w 78"/>
                <a:gd name="T9" fmla="*/ 24 h 90"/>
                <a:gd name="T10" fmla="*/ 60 w 78"/>
                <a:gd name="T11" fmla="*/ 36 h 90"/>
                <a:gd name="T12" fmla="*/ 72 w 78"/>
                <a:gd name="T13" fmla="*/ 48 h 90"/>
                <a:gd name="T14" fmla="*/ 78 w 78"/>
                <a:gd name="T15" fmla="*/ 60 h 90"/>
                <a:gd name="T16" fmla="*/ 78 w 78"/>
                <a:gd name="T17" fmla="*/ 72 h 90"/>
                <a:gd name="T18" fmla="*/ 78 w 78"/>
                <a:gd name="T19" fmla="*/ 84 h 90"/>
                <a:gd name="T20" fmla="*/ 72 w 78"/>
                <a:gd name="T21" fmla="*/ 90 h 90"/>
                <a:gd name="T22" fmla="*/ 66 w 78"/>
                <a:gd name="T23" fmla="*/ 90 h 90"/>
                <a:gd name="T24" fmla="*/ 54 w 78"/>
                <a:gd name="T25" fmla="*/ 84 h 90"/>
                <a:gd name="T26" fmla="*/ 48 w 78"/>
                <a:gd name="T27" fmla="*/ 78 h 90"/>
                <a:gd name="T28" fmla="*/ 36 w 78"/>
                <a:gd name="T29" fmla="*/ 72 h 90"/>
                <a:gd name="T30" fmla="*/ 30 w 78"/>
                <a:gd name="T31" fmla="*/ 66 h 90"/>
                <a:gd name="T32" fmla="*/ 18 w 78"/>
                <a:gd name="T33" fmla="*/ 60 h 90"/>
                <a:gd name="T34" fmla="*/ 18 w 78"/>
                <a:gd name="T35" fmla="*/ 48 h 90"/>
                <a:gd name="T36" fmla="*/ 6 w 78"/>
                <a:gd name="T37" fmla="*/ 30 h 90"/>
                <a:gd name="T38" fmla="*/ 0 w 78"/>
                <a:gd name="T39" fmla="*/ 18 h 90"/>
                <a:gd name="T40" fmla="*/ 6 w 78"/>
                <a:gd name="T41" fmla="*/ 6 h 90"/>
                <a:gd name="T42" fmla="*/ 6 w 78"/>
                <a:gd name="T43" fmla="*/ 6 h 90"/>
                <a:gd name="T44" fmla="*/ 12 w 78"/>
                <a:gd name="T4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8" h="90">
                  <a:moveTo>
                    <a:pt x="12" y="0"/>
                  </a:moveTo>
                  <a:lnTo>
                    <a:pt x="24" y="0"/>
                  </a:lnTo>
                  <a:lnTo>
                    <a:pt x="30" y="6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60" y="36"/>
                  </a:lnTo>
                  <a:lnTo>
                    <a:pt x="72" y="48"/>
                  </a:lnTo>
                  <a:lnTo>
                    <a:pt x="78" y="60"/>
                  </a:lnTo>
                  <a:lnTo>
                    <a:pt x="78" y="72"/>
                  </a:lnTo>
                  <a:lnTo>
                    <a:pt x="78" y="84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54" y="84"/>
                  </a:lnTo>
                  <a:lnTo>
                    <a:pt x="48" y="78"/>
                  </a:lnTo>
                  <a:lnTo>
                    <a:pt x="36" y="72"/>
                  </a:lnTo>
                  <a:lnTo>
                    <a:pt x="30" y="66"/>
                  </a:lnTo>
                  <a:lnTo>
                    <a:pt x="18" y="60"/>
                  </a:lnTo>
                  <a:lnTo>
                    <a:pt x="18" y="48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43" name="Freeform 456">
              <a:extLst>
                <a:ext uri="{FF2B5EF4-FFF2-40B4-BE49-F238E27FC236}">
                  <a16:creationId xmlns:a16="http://schemas.microsoft.com/office/drawing/2014/main" id="{067DF0E7-F853-4A6A-8C5A-1A4216FA5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73436" y="7829585"/>
              <a:ext cx="114299" cy="219076"/>
            </a:xfrm>
            <a:custGeom>
              <a:avLst/>
              <a:gdLst>
                <a:gd name="T0" fmla="*/ 6 w 72"/>
                <a:gd name="T1" fmla="*/ 0 h 138"/>
                <a:gd name="T2" fmla="*/ 12 w 72"/>
                <a:gd name="T3" fmla="*/ 0 h 138"/>
                <a:gd name="T4" fmla="*/ 18 w 72"/>
                <a:gd name="T5" fmla="*/ 6 h 138"/>
                <a:gd name="T6" fmla="*/ 30 w 72"/>
                <a:gd name="T7" fmla="*/ 12 h 138"/>
                <a:gd name="T8" fmla="*/ 36 w 72"/>
                <a:gd name="T9" fmla="*/ 18 h 138"/>
                <a:gd name="T10" fmla="*/ 48 w 72"/>
                <a:gd name="T11" fmla="*/ 30 h 138"/>
                <a:gd name="T12" fmla="*/ 54 w 72"/>
                <a:gd name="T13" fmla="*/ 42 h 138"/>
                <a:gd name="T14" fmla="*/ 60 w 72"/>
                <a:gd name="T15" fmla="*/ 54 h 138"/>
                <a:gd name="T16" fmla="*/ 66 w 72"/>
                <a:gd name="T17" fmla="*/ 66 h 138"/>
                <a:gd name="T18" fmla="*/ 72 w 72"/>
                <a:gd name="T19" fmla="*/ 72 h 138"/>
                <a:gd name="T20" fmla="*/ 72 w 72"/>
                <a:gd name="T21" fmla="*/ 96 h 138"/>
                <a:gd name="T22" fmla="*/ 72 w 72"/>
                <a:gd name="T23" fmla="*/ 114 h 138"/>
                <a:gd name="T24" fmla="*/ 66 w 72"/>
                <a:gd name="T25" fmla="*/ 126 h 138"/>
                <a:gd name="T26" fmla="*/ 60 w 72"/>
                <a:gd name="T27" fmla="*/ 138 h 138"/>
                <a:gd name="T28" fmla="*/ 48 w 72"/>
                <a:gd name="T29" fmla="*/ 138 h 138"/>
                <a:gd name="T30" fmla="*/ 36 w 72"/>
                <a:gd name="T31" fmla="*/ 138 h 138"/>
                <a:gd name="T32" fmla="*/ 30 w 72"/>
                <a:gd name="T33" fmla="*/ 126 h 138"/>
                <a:gd name="T34" fmla="*/ 24 w 72"/>
                <a:gd name="T35" fmla="*/ 108 h 138"/>
                <a:gd name="T36" fmla="*/ 18 w 72"/>
                <a:gd name="T37" fmla="*/ 96 h 138"/>
                <a:gd name="T38" fmla="*/ 18 w 72"/>
                <a:gd name="T39" fmla="*/ 72 h 138"/>
                <a:gd name="T40" fmla="*/ 12 w 72"/>
                <a:gd name="T41" fmla="*/ 48 h 138"/>
                <a:gd name="T42" fmla="*/ 0 w 72"/>
                <a:gd name="T43" fmla="*/ 30 h 138"/>
                <a:gd name="T44" fmla="*/ 0 w 72"/>
                <a:gd name="T45" fmla="*/ 12 h 138"/>
                <a:gd name="T46" fmla="*/ 0 w 72"/>
                <a:gd name="T47" fmla="*/ 6 h 138"/>
                <a:gd name="T48" fmla="*/ 6 w 72"/>
                <a:gd name="T4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138">
                  <a:moveTo>
                    <a:pt x="6" y="0"/>
                  </a:moveTo>
                  <a:lnTo>
                    <a:pt x="12" y="0"/>
                  </a:lnTo>
                  <a:lnTo>
                    <a:pt x="18" y="6"/>
                  </a:lnTo>
                  <a:lnTo>
                    <a:pt x="30" y="12"/>
                  </a:lnTo>
                  <a:lnTo>
                    <a:pt x="36" y="18"/>
                  </a:lnTo>
                  <a:lnTo>
                    <a:pt x="48" y="30"/>
                  </a:lnTo>
                  <a:lnTo>
                    <a:pt x="54" y="42"/>
                  </a:lnTo>
                  <a:lnTo>
                    <a:pt x="60" y="54"/>
                  </a:lnTo>
                  <a:lnTo>
                    <a:pt x="66" y="66"/>
                  </a:lnTo>
                  <a:lnTo>
                    <a:pt x="72" y="72"/>
                  </a:lnTo>
                  <a:lnTo>
                    <a:pt x="72" y="96"/>
                  </a:lnTo>
                  <a:lnTo>
                    <a:pt x="72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30" y="126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8" y="72"/>
                  </a:lnTo>
                  <a:lnTo>
                    <a:pt x="12" y="48"/>
                  </a:lnTo>
                  <a:lnTo>
                    <a:pt x="0" y="3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44" name="Freeform 457">
              <a:extLst>
                <a:ext uri="{FF2B5EF4-FFF2-40B4-BE49-F238E27FC236}">
                  <a16:creationId xmlns:a16="http://schemas.microsoft.com/office/drawing/2014/main" id="{BBF77CB6-A09C-4DCE-807B-CD0523872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0089" y="8201060"/>
              <a:ext cx="114299" cy="152399"/>
            </a:xfrm>
            <a:custGeom>
              <a:avLst/>
              <a:gdLst>
                <a:gd name="T0" fmla="*/ 6 w 72"/>
                <a:gd name="T1" fmla="*/ 0 h 96"/>
                <a:gd name="T2" fmla="*/ 18 w 72"/>
                <a:gd name="T3" fmla="*/ 0 h 96"/>
                <a:gd name="T4" fmla="*/ 24 w 72"/>
                <a:gd name="T5" fmla="*/ 6 h 96"/>
                <a:gd name="T6" fmla="*/ 36 w 72"/>
                <a:gd name="T7" fmla="*/ 12 h 96"/>
                <a:gd name="T8" fmla="*/ 48 w 72"/>
                <a:gd name="T9" fmla="*/ 24 h 96"/>
                <a:gd name="T10" fmla="*/ 54 w 72"/>
                <a:gd name="T11" fmla="*/ 30 h 96"/>
                <a:gd name="T12" fmla="*/ 66 w 72"/>
                <a:gd name="T13" fmla="*/ 42 h 96"/>
                <a:gd name="T14" fmla="*/ 72 w 72"/>
                <a:gd name="T15" fmla="*/ 54 h 96"/>
                <a:gd name="T16" fmla="*/ 72 w 72"/>
                <a:gd name="T17" fmla="*/ 72 h 96"/>
                <a:gd name="T18" fmla="*/ 72 w 72"/>
                <a:gd name="T19" fmla="*/ 84 h 96"/>
                <a:gd name="T20" fmla="*/ 66 w 72"/>
                <a:gd name="T21" fmla="*/ 90 h 96"/>
                <a:gd name="T22" fmla="*/ 60 w 72"/>
                <a:gd name="T23" fmla="*/ 96 h 96"/>
                <a:gd name="T24" fmla="*/ 48 w 72"/>
                <a:gd name="T25" fmla="*/ 96 h 96"/>
                <a:gd name="T26" fmla="*/ 36 w 72"/>
                <a:gd name="T27" fmla="*/ 90 h 96"/>
                <a:gd name="T28" fmla="*/ 30 w 72"/>
                <a:gd name="T29" fmla="*/ 84 h 96"/>
                <a:gd name="T30" fmla="*/ 18 w 72"/>
                <a:gd name="T31" fmla="*/ 72 h 96"/>
                <a:gd name="T32" fmla="*/ 6 w 72"/>
                <a:gd name="T33" fmla="*/ 48 h 96"/>
                <a:gd name="T34" fmla="*/ 0 w 72"/>
                <a:gd name="T35" fmla="*/ 30 h 96"/>
                <a:gd name="T36" fmla="*/ 0 w 72"/>
                <a:gd name="T37" fmla="*/ 12 h 96"/>
                <a:gd name="T38" fmla="*/ 0 w 72"/>
                <a:gd name="T39" fmla="*/ 6 h 96"/>
                <a:gd name="T40" fmla="*/ 0 w 72"/>
                <a:gd name="T41" fmla="*/ 0 h 96"/>
                <a:gd name="T42" fmla="*/ 6 w 72"/>
                <a:gd name="T4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2" h="96">
                  <a:moveTo>
                    <a:pt x="6" y="0"/>
                  </a:moveTo>
                  <a:lnTo>
                    <a:pt x="18" y="0"/>
                  </a:lnTo>
                  <a:lnTo>
                    <a:pt x="24" y="6"/>
                  </a:lnTo>
                  <a:lnTo>
                    <a:pt x="36" y="12"/>
                  </a:lnTo>
                  <a:lnTo>
                    <a:pt x="48" y="24"/>
                  </a:lnTo>
                  <a:lnTo>
                    <a:pt x="54" y="30"/>
                  </a:lnTo>
                  <a:lnTo>
                    <a:pt x="66" y="42"/>
                  </a:lnTo>
                  <a:lnTo>
                    <a:pt x="72" y="54"/>
                  </a:lnTo>
                  <a:lnTo>
                    <a:pt x="72" y="72"/>
                  </a:lnTo>
                  <a:lnTo>
                    <a:pt x="72" y="84"/>
                  </a:lnTo>
                  <a:lnTo>
                    <a:pt x="66" y="90"/>
                  </a:lnTo>
                  <a:lnTo>
                    <a:pt x="60" y="96"/>
                  </a:lnTo>
                  <a:lnTo>
                    <a:pt x="48" y="96"/>
                  </a:lnTo>
                  <a:lnTo>
                    <a:pt x="36" y="90"/>
                  </a:lnTo>
                  <a:lnTo>
                    <a:pt x="30" y="84"/>
                  </a:lnTo>
                  <a:lnTo>
                    <a:pt x="18" y="72"/>
                  </a:lnTo>
                  <a:lnTo>
                    <a:pt x="6" y="48"/>
                  </a:lnTo>
                  <a:lnTo>
                    <a:pt x="0" y="3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945" name="Freeform 458">
              <a:extLst>
                <a:ext uri="{FF2B5EF4-FFF2-40B4-BE49-F238E27FC236}">
                  <a16:creationId xmlns:a16="http://schemas.microsoft.com/office/drawing/2014/main" id="{0D06EC1E-C7A5-419D-AABA-766F2994F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54361" y="8486773"/>
              <a:ext cx="104776" cy="142876"/>
            </a:xfrm>
            <a:custGeom>
              <a:avLst/>
              <a:gdLst>
                <a:gd name="T0" fmla="*/ 30 w 66"/>
                <a:gd name="T1" fmla="*/ 0 h 90"/>
                <a:gd name="T2" fmla="*/ 42 w 66"/>
                <a:gd name="T3" fmla="*/ 6 h 90"/>
                <a:gd name="T4" fmla="*/ 54 w 66"/>
                <a:gd name="T5" fmla="*/ 12 h 90"/>
                <a:gd name="T6" fmla="*/ 60 w 66"/>
                <a:gd name="T7" fmla="*/ 30 h 90"/>
                <a:gd name="T8" fmla="*/ 66 w 66"/>
                <a:gd name="T9" fmla="*/ 48 h 90"/>
                <a:gd name="T10" fmla="*/ 66 w 66"/>
                <a:gd name="T11" fmla="*/ 66 h 90"/>
                <a:gd name="T12" fmla="*/ 60 w 66"/>
                <a:gd name="T13" fmla="*/ 78 h 90"/>
                <a:gd name="T14" fmla="*/ 54 w 66"/>
                <a:gd name="T15" fmla="*/ 84 h 90"/>
                <a:gd name="T16" fmla="*/ 48 w 66"/>
                <a:gd name="T17" fmla="*/ 90 h 90"/>
                <a:gd name="T18" fmla="*/ 36 w 66"/>
                <a:gd name="T19" fmla="*/ 90 h 90"/>
                <a:gd name="T20" fmla="*/ 24 w 66"/>
                <a:gd name="T21" fmla="*/ 84 h 90"/>
                <a:gd name="T22" fmla="*/ 18 w 66"/>
                <a:gd name="T23" fmla="*/ 78 h 90"/>
                <a:gd name="T24" fmla="*/ 6 w 66"/>
                <a:gd name="T25" fmla="*/ 66 h 90"/>
                <a:gd name="T26" fmla="*/ 0 w 66"/>
                <a:gd name="T27" fmla="*/ 60 h 90"/>
                <a:gd name="T28" fmla="*/ 0 w 66"/>
                <a:gd name="T29" fmla="*/ 48 h 90"/>
                <a:gd name="T30" fmla="*/ 0 w 66"/>
                <a:gd name="T31" fmla="*/ 30 h 90"/>
                <a:gd name="T32" fmla="*/ 6 w 66"/>
                <a:gd name="T33" fmla="*/ 18 h 90"/>
                <a:gd name="T34" fmla="*/ 12 w 66"/>
                <a:gd name="T35" fmla="*/ 6 h 90"/>
                <a:gd name="T36" fmla="*/ 24 w 66"/>
                <a:gd name="T37" fmla="*/ 0 h 90"/>
                <a:gd name="T38" fmla="*/ 30 w 66"/>
                <a:gd name="T3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" h="90">
                  <a:moveTo>
                    <a:pt x="30" y="0"/>
                  </a:moveTo>
                  <a:lnTo>
                    <a:pt x="42" y="6"/>
                  </a:lnTo>
                  <a:lnTo>
                    <a:pt x="54" y="12"/>
                  </a:lnTo>
                  <a:lnTo>
                    <a:pt x="60" y="30"/>
                  </a:lnTo>
                  <a:lnTo>
                    <a:pt x="66" y="48"/>
                  </a:lnTo>
                  <a:lnTo>
                    <a:pt x="66" y="66"/>
                  </a:lnTo>
                  <a:lnTo>
                    <a:pt x="60" y="78"/>
                  </a:lnTo>
                  <a:lnTo>
                    <a:pt x="54" y="84"/>
                  </a:lnTo>
                  <a:lnTo>
                    <a:pt x="48" y="90"/>
                  </a:lnTo>
                  <a:lnTo>
                    <a:pt x="36" y="90"/>
                  </a:lnTo>
                  <a:lnTo>
                    <a:pt x="24" y="84"/>
                  </a:lnTo>
                  <a:lnTo>
                    <a:pt x="18" y="78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alpha val="7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384" tIns="45692" rIns="91384" bIns="45692" numCol="1" anchor="t" anchorCtr="0" compatLnSpc="1">
              <a:prstTxWarp prst="textNoShape">
                <a:avLst/>
              </a:prstTxWarp>
            </a:bodyPr>
            <a:lstStyle/>
            <a:p>
              <a:pPr defTabSz="913852">
                <a:defRPr/>
              </a:pPr>
              <a:endParaRPr lang="de-DE" sz="1798">
                <a:solidFill>
                  <a:srgbClr val="000000"/>
                </a:solidFill>
                <a:latin typeface="Tahoma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Figures – Locations</a:t>
            </a:r>
            <a:br>
              <a:rPr lang="en-US"/>
            </a:b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AAAC734-6C1F-40CD-82DD-B548A73EC9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r>
              <a:rPr lang="en-US">
                <a:solidFill>
                  <a:srgbClr val="FFFFFF"/>
                </a:solidFill>
                <a:latin typeface="Tahoma"/>
              </a:rPr>
              <a:t>2022-03-18 l DIWT l ZF Engineering Plzeň</a:t>
            </a:r>
          </a:p>
        </p:txBody>
      </p:sp>
      <p:graphicFrame>
        <p:nvGraphicFramePr>
          <p:cNvPr id="6" name="Tabelle 5"/>
          <p:cNvGraphicFramePr>
            <a:graphicFrameLocks noGrp="1"/>
          </p:cNvGraphicFramePr>
          <p:nvPr/>
        </p:nvGraphicFramePr>
        <p:xfrm>
          <a:off x="219419" y="1619041"/>
          <a:ext cx="2990336" cy="15805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3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63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8805"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  <a:cs typeface="Arial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production locations  </a:t>
                      </a:r>
                      <a:br>
                        <a:rPr lang="en-US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</a:br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in </a:t>
                      </a:r>
                      <a:r>
                        <a:rPr lang="en-US" sz="11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31 </a:t>
                      </a:r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countri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0744184"/>
                  </a:ext>
                </a:extLst>
              </a:tr>
              <a:tr h="538805"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  <a:cs typeface="Arial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main development locations </a:t>
                      </a:r>
                      <a:br>
                        <a:rPr lang="en-US" sz="1100" b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</a:br>
                      <a:r>
                        <a:rPr lang="en-US" sz="1100" b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in</a:t>
                      </a: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100" b="1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8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countri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1886">
                <a:tc>
                  <a:txBody>
                    <a:bodyPr/>
                    <a:lstStyle/>
                    <a:p>
                      <a:pPr algn="l"/>
                      <a:r>
                        <a:rPr lang="cs-CZ" sz="11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157 549</a:t>
                      </a:r>
                      <a:r>
                        <a:rPr lang="en-GB" sz="1100" kern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100" b="1" dirty="0">
                        <a:solidFill>
                          <a:schemeClr val="tx2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kern="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GB" sz="1100" kern="0" dirty="0">
                          <a:solidFill>
                            <a:schemeClr val="bg1"/>
                          </a:solidFill>
                        </a:rPr>
                        <a:t>Employees worldwide</a:t>
                      </a:r>
                      <a:endParaRPr lang="cs-CZ" sz="1100" kern="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indent="0" defTabSz="91440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lang="cs-CZ" sz="1100" kern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527" name="Gerader Verbinder 526">
            <a:extLst>
              <a:ext uri="{FF2B5EF4-FFF2-40B4-BE49-F238E27FC236}">
                <a16:creationId xmlns:a16="http://schemas.microsoft.com/office/drawing/2014/main" id="{88A4911A-3E67-4C45-9547-524EF8C15F8E}"/>
              </a:ext>
            </a:extLst>
          </p:cNvPr>
          <p:cNvCxnSpPr>
            <a:cxnSpLocks/>
          </p:cNvCxnSpPr>
          <p:nvPr/>
        </p:nvCxnSpPr>
        <p:spPr>
          <a:xfrm>
            <a:off x="226367" y="2148898"/>
            <a:ext cx="1654978" cy="278"/>
          </a:xfrm>
          <a:prstGeom prst="line">
            <a:avLst/>
          </a:prstGeom>
          <a:noFill/>
          <a:ln w="28575" cap="rnd" cmpd="sng" algn="ctr">
            <a:solidFill>
              <a:srgbClr val="00ABE7"/>
            </a:solidFill>
            <a:prstDash val="sysDot"/>
            <a:round/>
          </a:ln>
          <a:effectLst/>
        </p:spPr>
      </p:cxnSp>
      <p:cxnSp>
        <p:nvCxnSpPr>
          <p:cNvPr id="391" name="Gerader Verbinder 390">
            <a:extLst>
              <a:ext uri="{FF2B5EF4-FFF2-40B4-BE49-F238E27FC236}">
                <a16:creationId xmlns:a16="http://schemas.microsoft.com/office/drawing/2014/main" id="{2F1FD29F-C64C-4A9A-BA14-01AE9B636A57}"/>
              </a:ext>
            </a:extLst>
          </p:cNvPr>
          <p:cNvCxnSpPr>
            <a:cxnSpLocks/>
          </p:cNvCxnSpPr>
          <p:nvPr/>
        </p:nvCxnSpPr>
        <p:spPr>
          <a:xfrm>
            <a:off x="223443" y="2709433"/>
            <a:ext cx="1942800" cy="278"/>
          </a:xfrm>
          <a:prstGeom prst="line">
            <a:avLst/>
          </a:prstGeom>
          <a:noFill/>
          <a:ln w="28575" cap="rnd" cmpd="sng" algn="ctr">
            <a:solidFill>
              <a:srgbClr val="00ABE7"/>
            </a:solidFill>
            <a:prstDash val="sysDot"/>
            <a:round/>
          </a:ln>
          <a:effectLst/>
        </p:spPr>
      </p:cxnSp>
      <p:cxnSp>
        <p:nvCxnSpPr>
          <p:cNvPr id="392" name="Gerader Verbinder 391">
            <a:extLst>
              <a:ext uri="{FF2B5EF4-FFF2-40B4-BE49-F238E27FC236}">
                <a16:creationId xmlns:a16="http://schemas.microsoft.com/office/drawing/2014/main" id="{15536DF1-4C50-474A-AC6C-C994E3B16E0F}"/>
              </a:ext>
            </a:extLst>
          </p:cNvPr>
          <p:cNvCxnSpPr>
            <a:cxnSpLocks/>
          </p:cNvCxnSpPr>
          <p:nvPr/>
        </p:nvCxnSpPr>
        <p:spPr>
          <a:xfrm>
            <a:off x="219419" y="3236781"/>
            <a:ext cx="2194645" cy="278"/>
          </a:xfrm>
          <a:prstGeom prst="line">
            <a:avLst/>
          </a:prstGeom>
          <a:noFill/>
          <a:ln w="28575" cap="rnd" cmpd="sng" algn="ctr">
            <a:solidFill>
              <a:srgbClr val="00ABE7"/>
            </a:solidFill>
            <a:prstDash val="sysDot"/>
            <a:round/>
          </a:ln>
          <a:effectLst/>
        </p:spPr>
      </p:cxnSp>
      <p:sp>
        <p:nvSpPr>
          <p:cNvPr id="388" name="Textfeld 387">
            <a:extLst>
              <a:ext uri="{FF2B5EF4-FFF2-40B4-BE49-F238E27FC236}">
                <a16:creationId xmlns:a16="http://schemas.microsoft.com/office/drawing/2014/main" id="{EC21797C-2989-4F82-BCDF-B2948F48D99C}"/>
              </a:ext>
            </a:extLst>
          </p:cNvPr>
          <p:cNvSpPr txBox="1"/>
          <p:nvPr/>
        </p:nvSpPr>
        <p:spPr>
          <a:xfrm>
            <a:off x="378567" y="4131725"/>
            <a:ext cx="8418805" cy="359778"/>
          </a:xfrm>
          <a:prstGeom prst="rect">
            <a:avLst/>
          </a:prstGeom>
          <a:solidFill>
            <a:schemeClr val="tx2"/>
          </a:solidFill>
        </p:spPr>
        <p:txBody>
          <a:bodyPr wrap="square" lIns="89916" tIns="89916" rIns="89916" bIns="89916" rtlCol="0" anchor="ctr">
            <a:noAutofit/>
          </a:bodyPr>
          <a:lstStyle/>
          <a:p>
            <a:r>
              <a:rPr lang="en-US" sz="1600" b="1">
                <a:solidFill>
                  <a:srgbClr val="FFFFFF"/>
                </a:solidFill>
                <a:latin typeface="Tahoma"/>
              </a:rPr>
              <a:t>Worldwide Presence – Production, Development, Sales and Service</a:t>
            </a:r>
          </a:p>
        </p:txBody>
      </p:sp>
      <p:sp>
        <p:nvSpPr>
          <p:cNvPr id="1344" name="Rechteck 1343">
            <a:extLst>
              <a:ext uri="{FF2B5EF4-FFF2-40B4-BE49-F238E27FC236}">
                <a16:creationId xmlns:a16="http://schemas.microsoft.com/office/drawing/2014/main" id="{5227BC58-781A-4A3C-9981-ACDF6B687371}"/>
              </a:ext>
            </a:extLst>
          </p:cNvPr>
          <p:cNvSpPr/>
          <p:nvPr/>
        </p:nvSpPr>
        <p:spPr>
          <a:xfrm>
            <a:off x="1952333" y="929121"/>
            <a:ext cx="1503074" cy="672944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44" tIns="89944" rIns="89944" bIns="89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52">
              <a:defRPr/>
            </a:pPr>
            <a:endParaRPr lang="en-US" sz="1200" kern="0" err="1">
              <a:solidFill>
                <a:srgbClr val="000000"/>
              </a:solidFill>
              <a:latin typeface="Tahoma"/>
              <a:cs typeface="Tahoma" pitchFamily="34" charset="0"/>
            </a:endParaRPr>
          </a:p>
        </p:txBody>
      </p:sp>
      <p:cxnSp>
        <p:nvCxnSpPr>
          <p:cNvPr id="1345" name="Verbinder: gewinkelt 1344">
            <a:extLst>
              <a:ext uri="{FF2B5EF4-FFF2-40B4-BE49-F238E27FC236}">
                <a16:creationId xmlns:a16="http://schemas.microsoft.com/office/drawing/2014/main" id="{03BCE2BD-6E12-4E4C-BD70-0F1616F85C7F}"/>
              </a:ext>
            </a:extLst>
          </p:cNvPr>
          <p:cNvCxnSpPr>
            <a:cxnSpLocks/>
          </p:cNvCxnSpPr>
          <p:nvPr/>
        </p:nvCxnSpPr>
        <p:spPr>
          <a:xfrm>
            <a:off x="1947751" y="917274"/>
            <a:ext cx="1521227" cy="1185307"/>
          </a:xfrm>
          <a:prstGeom prst="bentConnector3">
            <a:avLst>
              <a:gd name="adj1" fmla="val 99412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sp>
        <p:nvSpPr>
          <p:cNvPr id="1346" name="Textfeld 1345">
            <a:extLst>
              <a:ext uri="{FF2B5EF4-FFF2-40B4-BE49-F238E27FC236}">
                <a16:creationId xmlns:a16="http://schemas.microsoft.com/office/drawing/2014/main" id="{9B9884BC-5202-4EC3-8BE0-EB64EE74B0D9}"/>
              </a:ext>
            </a:extLst>
          </p:cNvPr>
          <p:cNvSpPr txBox="1"/>
          <p:nvPr/>
        </p:nvSpPr>
        <p:spPr>
          <a:xfrm>
            <a:off x="1977952" y="929467"/>
            <a:ext cx="1420223" cy="553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3852">
              <a:defRPr/>
            </a:pPr>
            <a:r>
              <a:rPr lang="en-US" sz="1200" b="1" kern="0" dirty="0">
                <a:solidFill>
                  <a:srgbClr val="FFFFFF"/>
                </a:solidFill>
                <a:latin typeface="Tahoma"/>
              </a:rPr>
              <a:t>North America </a:t>
            </a:r>
          </a:p>
          <a:p>
            <a:pPr algn="r" defTabSz="913852">
              <a:defRPr/>
            </a:pPr>
            <a:r>
              <a:rPr lang="de-DE" sz="1200" dirty="0">
                <a:solidFill>
                  <a:srgbClr val="FFFFFF"/>
                </a:solidFill>
                <a:latin typeface="Tahoma"/>
              </a:rPr>
              <a:t>Locations: 41</a:t>
            </a:r>
          </a:p>
          <a:p>
            <a:pPr algn="r" defTabSz="913852">
              <a:defRPr/>
            </a:pPr>
            <a:r>
              <a:rPr lang="de-DE" sz="1200" kern="0" dirty="0" err="1">
                <a:solidFill>
                  <a:srgbClr val="FFFFFF"/>
                </a:solidFill>
                <a:latin typeface="Tahoma"/>
              </a:rPr>
              <a:t>Employees</a:t>
            </a:r>
            <a:r>
              <a:rPr lang="de-DE" sz="1200" kern="0" dirty="0">
                <a:solidFill>
                  <a:srgbClr val="FFFFFF"/>
                </a:solidFill>
                <a:latin typeface="Tahoma"/>
              </a:rPr>
              <a:t>: 34,027</a:t>
            </a:r>
            <a:endParaRPr lang="en-US" sz="1200" kern="0" dirty="0">
              <a:solidFill>
                <a:srgbClr val="FFFFFF"/>
              </a:solidFill>
              <a:latin typeface="Tahoma"/>
            </a:endParaRPr>
          </a:p>
        </p:txBody>
      </p:sp>
      <p:sp>
        <p:nvSpPr>
          <p:cNvPr id="1347" name="Rechteck 1346">
            <a:extLst>
              <a:ext uri="{FF2B5EF4-FFF2-40B4-BE49-F238E27FC236}">
                <a16:creationId xmlns:a16="http://schemas.microsoft.com/office/drawing/2014/main" id="{75680EB1-A273-43F2-B71F-3FB7891D5178}"/>
              </a:ext>
            </a:extLst>
          </p:cNvPr>
          <p:cNvSpPr/>
          <p:nvPr/>
        </p:nvSpPr>
        <p:spPr>
          <a:xfrm>
            <a:off x="4386053" y="939439"/>
            <a:ext cx="1503074" cy="751008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44" tIns="89944" rIns="89944" bIns="89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52">
              <a:defRPr/>
            </a:pPr>
            <a:endParaRPr lang="en-US" sz="1200" kern="0" err="1">
              <a:solidFill>
                <a:srgbClr val="000000"/>
              </a:solidFill>
              <a:latin typeface="Tahoma"/>
              <a:cs typeface="Tahoma" pitchFamily="34" charset="0"/>
            </a:endParaRPr>
          </a:p>
        </p:txBody>
      </p:sp>
      <p:cxnSp>
        <p:nvCxnSpPr>
          <p:cNvPr id="1348" name="Verbinder: gewinkelt 1347">
            <a:extLst>
              <a:ext uri="{FF2B5EF4-FFF2-40B4-BE49-F238E27FC236}">
                <a16:creationId xmlns:a16="http://schemas.microsoft.com/office/drawing/2014/main" id="{D80BA71B-E5E5-4D38-933F-60B896F4652C}"/>
              </a:ext>
            </a:extLst>
          </p:cNvPr>
          <p:cNvCxnSpPr>
            <a:cxnSpLocks/>
            <a:endCxn id="956" idx="22"/>
          </p:cNvCxnSpPr>
          <p:nvPr/>
        </p:nvCxnSpPr>
        <p:spPr>
          <a:xfrm>
            <a:off x="4392522" y="935839"/>
            <a:ext cx="1330032" cy="1107590"/>
          </a:xfrm>
          <a:prstGeom prst="bentConnector3">
            <a:avLst>
              <a:gd name="adj1" fmla="val 112490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sp>
        <p:nvSpPr>
          <p:cNvPr id="1349" name="Textfeld 1348">
            <a:extLst>
              <a:ext uri="{FF2B5EF4-FFF2-40B4-BE49-F238E27FC236}">
                <a16:creationId xmlns:a16="http://schemas.microsoft.com/office/drawing/2014/main" id="{15B07ED3-112F-419F-8763-D50DE0971BB6}"/>
              </a:ext>
            </a:extLst>
          </p:cNvPr>
          <p:cNvSpPr txBox="1"/>
          <p:nvPr/>
        </p:nvSpPr>
        <p:spPr>
          <a:xfrm>
            <a:off x="4372314" y="955806"/>
            <a:ext cx="1420223" cy="553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3852">
              <a:defRPr/>
            </a:pPr>
            <a:r>
              <a:rPr lang="en-US" sz="1200" b="1" kern="0" dirty="0">
                <a:solidFill>
                  <a:srgbClr val="FFFFFF"/>
                </a:solidFill>
                <a:latin typeface="Tahoma"/>
              </a:rPr>
              <a:t>Europe</a:t>
            </a:r>
          </a:p>
          <a:p>
            <a:pPr algn="r" defTabSz="913852">
              <a:defRPr/>
            </a:pPr>
            <a:r>
              <a:rPr lang="de-DE" sz="1200" dirty="0">
                <a:solidFill>
                  <a:srgbClr val="FFFFFF"/>
                </a:solidFill>
                <a:latin typeface="Tahoma"/>
              </a:rPr>
              <a:t>Locations: 95 </a:t>
            </a:r>
            <a:br>
              <a:rPr lang="de-DE" sz="1200" dirty="0">
                <a:solidFill>
                  <a:srgbClr val="FFFFFF"/>
                </a:solidFill>
                <a:latin typeface="Tahoma"/>
              </a:rPr>
            </a:br>
            <a:r>
              <a:rPr lang="de-DE" sz="1200" dirty="0" err="1">
                <a:solidFill>
                  <a:srgbClr val="FFFFFF"/>
                </a:solidFill>
                <a:latin typeface="Tahoma"/>
              </a:rPr>
              <a:t>Employees</a:t>
            </a:r>
            <a:r>
              <a:rPr lang="de-DE" sz="1200" dirty="0">
                <a:solidFill>
                  <a:srgbClr val="FFFFFF"/>
                </a:solidFill>
                <a:latin typeface="Tahoma"/>
              </a:rPr>
              <a:t>: 92,393</a:t>
            </a:r>
            <a:endParaRPr lang="en-US" sz="1200" b="1" kern="0" dirty="0">
              <a:solidFill>
                <a:srgbClr val="FFFFFF"/>
              </a:solidFill>
              <a:latin typeface="Tahoma"/>
            </a:endParaRPr>
          </a:p>
        </p:txBody>
      </p:sp>
      <p:sp>
        <p:nvSpPr>
          <p:cNvPr id="1350" name="Rechteck 1349">
            <a:extLst>
              <a:ext uri="{FF2B5EF4-FFF2-40B4-BE49-F238E27FC236}">
                <a16:creationId xmlns:a16="http://schemas.microsoft.com/office/drawing/2014/main" id="{34386A80-6B3C-45AA-9F91-BDCE2284CB5C}"/>
              </a:ext>
            </a:extLst>
          </p:cNvPr>
          <p:cNvSpPr/>
          <p:nvPr/>
        </p:nvSpPr>
        <p:spPr>
          <a:xfrm>
            <a:off x="2480998" y="3333345"/>
            <a:ext cx="1503074" cy="618879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44" tIns="89944" rIns="89944" bIns="89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52">
              <a:defRPr/>
            </a:pPr>
            <a:endParaRPr lang="en-US" sz="1200" kern="0" err="1">
              <a:solidFill>
                <a:srgbClr val="000000"/>
              </a:solidFill>
              <a:latin typeface="Tahoma"/>
              <a:cs typeface="Tahoma" pitchFamily="34" charset="0"/>
            </a:endParaRPr>
          </a:p>
        </p:txBody>
      </p:sp>
      <p:cxnSp>
        <p:nvCxnSpPr>
          <p:cNvPr id="1351" name="Verbinder: gewinkelt 1350">
            <a:extLst>
              <a:ext uri="{FF2B5EF4-FFF2-40B4-BE49-F238E27FC236}">
                <a16:creationId xmlns:a16="http://schemas.microsoft.com/office/drawing/2014/main" id="{704F53FC-0218-42C0-97EB-4194184B0637}"/>
              </a:ext>
            </a:extLst>
          </p:cNvPr>
          <p:cNvCxnSpPr>
            <a:cxnSpLocks/>
            <a:endCxn id="1228" idx="10"/>
          </p:cNvCxnSpPr>
          <p:nvPr/>
        </p:nvCxnSpPr>
        <p:spPr>
          <a:xfrm flipV="1">
            <a:off x="2476032" y="3119419"/>
            <a:ext cx="1888603" cy="205620"/>
          </a:xfrm>
          <a:prstGeom prst="bentConnector5">
            <a:avLst>
              <a:gd name="adj1" fmla="val 39851"/>
              <a:gd name="adj2" fmla="val 2329"/>
              <a:gd name="adj3" fmla="val 78869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sp>
        <p:nvSpPr>
          <p:cNvPr id="1352" name="Textfeld 1351">
            <a:extLst>
              <a:ext uri="{FF2B5EF4-FFF2-40B4-BE49-F238E27FC236}">
                <a16:creationId xmlns:a16="http://schemas.microsoft.com/office/drawing/2014/main" id="{47200C12-A88A-4BBB-BD05-6ACFFA8163CB}"/>
              </a:ext>
            </a:extLst>
          </p:cNvPr>
          <p:cNvSpPr txBox="1"/>
          <p:nvPr/>
        </p:nvSpPr>
        <p:spPr>
          <a:xfrm>
            <a:off x="2477406" y="3349353"/>
            <a:ext cx="1420223" cy="553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3852">
              <a:defRPr/>
            </a:pPr>
            <a:r>
              <a:rPr lang="en-US" sz="1200" b="1" kern="0" dirty="0">
                <a:solidFill>
                  <a:srgbClr val="FFFFFF"/>
                </a:solidFill>
                <a:latin typeface="Tahoma"/>
              </a:rPr>
              <a:t>South America</a:t>
            </a:r>
          </a:p>
          <a:p>
            <a:pPr algn="r" defTabSz="913852">
              <a:defRPr/>
            </a:pPr>
            <a:r>
              <a:rPr lang="de-DE" sz="1200" dirty="0">
                <a:solidFill>
                  <a:srgbClr val="FFFFFF"/>
                </a:solidFill>
                <a:latin typeface="Tahoma"/>
              </a:rPr>
              <a:t>Locations: 7</a:t>
            </a:r>
          </a:p>
          <a:p>
            <a:pPr algn="r" defTabSz="913852">
              <a:defRPr/>
            </a:pPr>
            <a:r>
              <a:rPr lang="de-DE" sz="1200" dirty="0" err="1">
                <a:solidFill>
                  <a:srgbClr val="FFFFFF"/>
                </a:solidFill>
                <a:latin typeface="Tahoma"/>
              </a:rPr>
              <a:t>Employees</a:t>
            </a:r>
            <a:r>
              <a:rPr lang="de-DE" sz="1200" dirty="0">
                <a:solidFill>
                  <a:srgbClr val="FFFFFF"/>
                </a:solidFill>
                <a:latin typeface="Tahoma"/>
              </a:rPr>
              <a:t>: 5,365</a:t>
            </a:r>
            <a:endParaRPr lang="en-US" sz="1200" dirty="0">
              <a:solidFill>
                <a:srgbClr val="FFFFFF"/>
              </a:solidFill>
              <a:latin typeface="Tahoma"/>
            </a:endParaRPr>
          </a:p>
        </p:txBody>
      </p:sp>
      <p:sp>
        <p:nvSpPr>
          <p:cNvPr id="1353" name="Rechteck 1352">
            <a:extLst>
              <a:ext uri="{FF2B5EF4-FFF2-40B4-BE49-F238E27FC236}">
                <a16:creationId xmlns:a16="http://schemas.microsoft.com/office/drawing/2014/main" id="{EF077145-5489-4A78-B4E8-D0481C7B92C9}"/>
              </a:ext>
            </a:extLst>
          </p:cNvPr>
          <p:cNvSpPr/>
          <p:nvPr/>
        </p:nvSpPr>
        <p:spPr>
          <a:xfrm>
            <a:off x="4386501" y="2317801"/>
            <a:ext cx="1503074" cy="672944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44" tIns="89944" rIns="89944" bIns="89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52">
              <a:defRPr/>
            </a:pPr>
            <a:endParaRPr lang="en-US" sz="1200" kern="0" err="1">
              <a:solidFill>
                <a:srgbClr val="000000"/>
              </a:solidFill>
              <a:latin typeface="Tahoma"/>
              <a:cs typeface="Tahoma" pitchFamily="34" charset="0"/>
            </a:endParaRPr>
          </a:p>
        </p:txBody>
      </p:sp>
      <p:cxnSp>
        <p:nvCxnSpPr>
          <p:cNvPr id="1354" name="Verbinder: gewinkelt 1353">
            <a:extLst>
              <a:ext uri="{FF2B5EF4-FFF2-40B4-BE49-F238E27FC236}">
                <a16:creationId xmlns:a16="http://schemas.microsoft.com/office/drawing/2014/main" id="{E96A5D88-45DC-449F-9A33-462B862CDDCB}"/>
              </a:ext>
            </a:extLst>
          </p:cNvPr>
          <p:cNvCxnSpPr>
            <a:cxnSpLocks/>
            <a:endCxn id="1210" idx="34"/>
          </p:cNvCxnSpPr>
          <p:nvPr/>
        </p:nvCxnSpPr>
        <p:spPr>
          <a:xfrm>
            <a:off x="4369705" y="2315893"/>
            <a:ext cx="1515109" cy="1098638"/>
          </a:xfrm>
          <a:prstGeom prst="bentConnector3">
            <a:avLst>
              <a:gd name="adj1" fmla="val 100525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sp>
        <p:nvSpPr>
          <p:cNvPr id="1355" name="Textfeld 1354">
            <a:extLst>
              <a:ext uri="{FF2B5EF4-FFF2-40B4-BE49-F238E27FC236}">
                <a16:creationId xmlns:a16="http://schemas.microsoft.com/office/drawing/2014/main" id="{C1F47FEA-F278-4F50-9D42-038506BDCEAD}"/>
              </a:ext>
            </a:extLst>
          </p:cNvPr>
          <p:cNvSpPr txBox="1"/>
          <p:nvPr/>
        </p:nvSpPr>
        <p:spPr>
          <a:xfrm>
            <a:off x="4403074" y="2371183"/>
            <a:ext cx="1420223" cy="553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3852">
              <a:defRPr/>
            </a:pPr>
            <a:r>
              <a:rPr lang="en-US" sz="1200" b="1" kern="0" dirty="0">
                <a:solidFill>
                  <a:srgbClr val="FFFFFF"/>
                </a:solidFill>
                <a:latin typeface="Tahoma"/>
              </a:rPr>
              <a:t>Africa</a:t>
            </a:r>
          </a:p>
          <a:p>
            <a:pPr algn="r" defTabSz="913852">
              <a:defRPr/>
            </a:pPr>
            <a:r>
              <a:rPr lang="de-DE" sz="1200" dirty="0">
                <a:solidFill>
                  <a:srgbClr val="FFFFFF"/>
                </a:solidFill>
                <a:latin typeface="Tahoma"/>
              </a:rPr>
              <a:t>Locations: 3</a:t>
            </a:r>
          </a:p>
          <a:p>
            <a:pPr algn="r" defTabSz="913852">
              <a:defRPr/>
            </a:pPr>
            <a:r>
              <a:rPr lang="de-DE" sz="1200" dirty="0" err="1">
                <a:solidFill>
                  <a:srgbClr val="FFFFFF"/>
                </a:solidFill>
                <a:latin typeface="Tahoma"/>
              </a:rPr>
              <a:t>Employees</a:t>
            </a:r>
            <a:r>
              <a:rPr lang="de-DE" sz="1200" dirty="0">
                <a:solidFill>
                  <a:srgbClr val="FFFFFF"/>
                </a:solidFill>
                <a:latin typeface="Tahoma"/>
              </a:rPr>
              <a:t>: 596 </a:t>
            </a:r>
            <a:endParaRPr lang="en-US" sz="1200" dirty="0">
              <a:solidFill>
                <a:srgbClr val="FFFFFF"/>
              </a:solidFill>
              <a:latin typeface="Tahoma"/>
            </a:endParaRPr>
          </a:p>
        </p:txBody>
      </p:sp>
      <p:sp>
        <p:nvSpPr>
          <p:cNvPr id="1356" name="Rechteck 1355">
            <a:extLst>
              <a:ext uri="{FF2B5EF4-FFF2-40B4-BE49-F238E27FC236}">
                <a16:creationId xmlns:a16="http://schemas.microsoft.com/office/drawing/2014/main" id="{EDDF3C45-AA5F-4B50-89F9-B7C281CFEF31}"/>
              </a:ext>
            </a:extLst>
          </p:cNvPr>
          <p:cNvSpPr/>
          <p:nvPr/>
        </p:nvSpPr>
        <p:spPr>
          <a:xfrm>
            <a:off x="7117162" y="928128"/>
            <a:ext cx="1540936" cy="894223"/>
          </a:xfrm>
          <a:prstGeom prst="rect">
            <a:avLst/>
          </a:prstGeom>
          <a:gradFill>
            <a:gsLst>
              <a:gs pos="55000">
                <a:srgbClr val="004D7A"/>
              </a:gs>
              <a:gs pos="100000">
                <a:srgbClr val="035586">
                  <a:alpha val="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9944" tIns="89944" rIns="89944" bIns="89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852">
              <a:defRPr/>
            </a:pPr>
            <a:endParaRPr lang="en-US" sz="1200" kern="0" err="1">
              <a:solidFill>
                <a:srgbClr val="000000"/>
              </a:solidFill>
              <a:latin typeface="Tahoma"/>
              <a:cs typeface="Tahoma" pitchFamily="34" charset="0"/>
            </a:endParaRPr>
          </a:p>
        </p:txBody>
      </p:sp>
      <p:cxnSp>
        <p:nvCxnSpPr>
          <p:cNvPr id="1357" name="Verbinder: gewinkelt 1356">
            <a:extLst>
              <a:ext uri="{FF2B5EF4-FFF2-40B4-BE49-F238E27FC236}">
                <a16:creationId xmlns:a16="http://schemas.microsoft.com/office/drawing/2014/main" id="{E27369D6-E0FC-4648-8BB5-690049FE27BB}"/>
              </a:ext>
            </a:extLst>
          </p:cNvPr>
          <p:cNvCxnSpPr>
            <a:cxnSpLocks/>
            <a:endCxn id="1061" idx="30"/>
          </p:cNvCxnSpPr>
          <p:nvPr/>
        </p:nvCxnSpPr>
        <p:spPr>
          <a:xfrm rot="10800000" flipV="1">
            <a:off x="7114954" y="930457"/>
            <a:ext cx="1521375" cy="1161650"/>
          </a:xfrm>
          <a:prstGeom prst="bentConnector3">
            <a:avLst>
              <a:gd name="adj1" fmla="val 99917"/>
            </a:avLst>
          </a:prstGeom>
          <a:noFill/>
          <a:ln w="22225" cap="rnd" cmpd="sng" algn="ctr">
            <a:solidFill>
              <a:schemeClr val="bg1"/>
            </a:solidFill>
            <a:prstDash val="sysDot"/>
            <a:round/>
            <a:tailEnd type="oval"/>
          </a:ln>
          <a:effectLst/>
        </p:spPr>
      </p:cxnSp>
      <p:sp>
        <p:nvSpPr>
          <p:cNvPr id="1358" name="Textfeld 1357">
            <a:extLst>
              <a:ext uri="{FF2B5EF4-FFF2-40B4-BE49-F238E27FC236}">
                <a16:creationId xmlns:a16="http://schemas.microsoft.com/office/drawing/2014/main" id="{E46481B1-9EC9-40DC-9A94-9D2B807F6DBF}"/>
              </a:ext>
            </a:extLst>
          </p:cNvPr>
          <p:cNvSpPr txBox="1"/>
          <p:nvPr/>
        </p:nvSpPr>
        <p:spPr>
          <a:xfrm>
            <a:off x="7209283" y="951807"/>
            <a:ext cx="1391219" cy="553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852">
              <a:defRPr/>
            </a:pPr>
            <a:r>
              <a:rPr lang="en-US" sz="1200" b="1" kern="0" dirty="0">
                <a:solidFill>
                  <a:srgbClr val="FFFFFF"/>
                </a:solidFill>
                <a:latin typeface="Tahoma"/>
              </a:rPr>
              <a:t>Asia-Pacific</a:t>
            </a:r>
          </a:p>
          <a:p>
            <a:pPr defTabSz="913852">
              <a:defRPr/>
            </a:pPr>
            <a:r>
              <a:rPr lang="de-DE" sz="1200" kern="0" dirty="0">
                <a:solidFill>
                  <a:srgbClr val="FFFFFF"/>
                </a:solidFill>
                <a:latin typeface="Tahoma"/>
              </a:rPr>
              <a:t>Locations: 42</a:t>
            </a:r>
          </a:p>
          <a:p>
            <a:pPr defTabSz="913852">
              <a:defRPr/>
            </a:pPr>
            <a:r>
              <a:rPr lang="de-DE" sz="1200" kern="0" dirty="0" err="1">
                <a:solidFill>
                  <a:srgbClr val="FFFFFF"/>
                </a:solidFill>
                <a:latin typeface="Tahoma"/>
              </a:rPr>
              <a:t>Employees</a:t>
            </a:r>
            <a:r>
              <a:rPr lang="de-DE" sz="1200" kern="0" dirty="0">
                <a:solidFill>
                  <a:srgbClr val="FFFFFF"/>
                </a:solidFill>
                <a:latin typeface="Tahoma"/>
              </a:rPr>
              <a:t>: 25,168</a:t>
            </a:r>
            <a:endParaRPr lang="en-US" sz="1200" dirty="0">
              <a:solidFill>
                <a:srgbClr val="FFFFFF"/>
              </a:solidFill>
              <a:latin typeface="Tahom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6235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EE8F7F-583B-49F8-B92C-A24E9FD00A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BEE8F7F-583B-49F8-B92C-A24E9FD00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7C681A1-5C7B-44A8-B6F4-3DC6EACDD9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l-NL">
                <a:solidFill>
                  <a:srgbClr val="FFFFFF"/>
                </a:solidFill>
                <a:latin typeface="Tahoma"/>
              </a:rPr>
              <a:t>2022-03-18 l DIWT l ZF Engineering Plzeň</a:t>
            </a:r>
            <a:endParaRPr lang="de-DE">
              <a:solidFill>
                <a:srgbClr val="FFFFFF"/>
              </a:solidFill>
              <a:latin typeface="Tahoma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D131E97-3E53-4953-BD80-BF62ABE07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62" y="143999"/>
            <a:ext cx="4120728" cy="1008395"/>
          </a:xfrm>
        </p:spPr>
        <p:txBody>
          <a:bodyPr vert="horz"/>
          <a:lstStyle/>
          <a:p>
            <a:r>
              <a:rPr lang="en-US" dirty="0"/>
              <a:t>ZF Engineering </a:t>
            </a:r>
            <a:r>
              <a:rPr lang="en-US" dirty="0" err="1"/>
              <a:t>Plzeň</a:t>
            </a:r>
            <a:r>
              <a:rPr lang="en-US" dirty="0"/>
              <a:t> </a:t>
            </a:r>
            <a:r>
              <a:rPr lang="en-US" dirty="0" err="1"/>
              <a:t>s.r.o.</a:t>
            </a:r>
            <a:br>
              <a:rPr lang="cs-CZ" dirty="0"/>
            </a:br>
            <a:br>
              <a:rPr lang="cs-CZ" sz="1600" dirty="0"/>
            </a:br>
            <a:endParaRPr lang="en-US" sz="1600" dirty="0"/>
          </a:p>
        </p:txBody>
      </p:sp>
      <p:graphicFrame>
        <p:nvGraphicFramePr>
          <p:cNvPr id="24" name="Inhaltsplatzhalter 3">
            <a:extLst>
              <a:ext uri="{FF2B5EF4-FFF2-40B4-BE49-F238E27FC236}">
                <a16:creationId xmlns:a16="http://schemas.microsoft.com/office/drawing/2014/main" id="{E1D3E163-E560-4B99-9E83-425AC0790F2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14325552"/>
              </p:ext>
            </p:extLst>
          </p:nvPr>
        </p:nvGraphicFramePr>
        <p:xfrm>
          <a:off x="361662" y="852407"/>
          <a:ext cx="4120728" cy="360681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1207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6203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b="0" noProof="0" dirty="0">
                          <a:solidFill>
                            <a:schemeClr val="tx2"/>
                          </a:solidFill>
                        </a:rPr>
                        <a:t>Location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0" noProof="0" dirty="0" err="1">
                          <a:solidFill>
                            <a:schemeClr val="bg1"/>
                          </a:solidFill>
                        </a:rPr>
                        <a:t>Plzeň</a:t>
                      </a:r>
                      <a:endParaRPr lang="cs-CZ" sz="1100" b="0" kern="0" noProof="0" dirty="0">
                        <a:solidFill>
                          <a:schemeClr val="bg1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cs-CZ" sz="1100" kern="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35989" marR="10797" marT="10797" marB="10797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20179"/>
                  </a:ext>
                </a:extLst>
              </a:tr>
              <a:tr h="751668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cs-CZ" sz="1100" b="0" noProof="0" dirty="0">
                        <a:solidFill>
                          <a:schemeClr val="tx2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b="0" noProof="0" dirty="0">
                          <a:solidFill>
                            <a:schemeClr val="tx2"/>
                          </a:solidFill>
                        </a:rPr>
                        <a:t>Key figures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unded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07 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ssociates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: 829 HC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None/>
                      </a:pPr>
                      <a:endParaRPr lang="cs-CZ" sz="1100" b="0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89" marR="10797" marT="10797" marB="107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4914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cs-CZ" sz="1100" noProof="0" dirty="0">
                        <a:solidFill>
                          <a:schemeClr val="tx2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noProof="0" dirty="0">
                          <a:solidFill>
                            <a:schemeClr val="tx2"/>
                          </a:solidFill>
                        </a:rPr>
                        <a:t>We provide R&amp;D Services for ZF group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1100" noProof="0" dirty="0" err="1">
                          <a:solidFill>
                            <a:schemeClr val="bg1"/>
                          </a:solidFill>
                        </a:rPr>
                        <a:t>System</a:t>
                      </a:r>
                      <a:r>
                        <a:rPr lang="en-US" sz="1100" noProof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cs-CZ" sz="1100" noProof="0" dirty="0">
                          <a:solidFill>
                            <a:schemeClr val="bg1"/>
                          </a:solidFill>
                        </a:rPr>
                        <a:t>E</a:t>
                      </a:r>
                      <a:r>
                        <a:rPr lang="en-US" sz="1100" noProof="0" dirty="0" err="1">
                          <a:solidFill>
                            <a:schemeClr val="bg1"/>
                          </a:solidFill>
                        </a:rPr>
                        <a:t>ngineering</a:t>
                      </a:r>
                      <a:r>
                        <a:rPr lang="en-US" sz="1100" noProof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cs-CZ" sz="1100" noProof="0" dirty="0">
                        <a:solidFill>
                          <a:schemeClr val="bg1"/>
                        </a:solidFill>
                      </a:endParaRP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noProof="0" dirty="0">
                          <a:solidFill>
                            <a:schemeClr val="bg1"/>
                          </a:solidFill>
                        </a:rPr>
                        <a:t>Software Development and Testing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cs-CZ" sz="1100" noProof="0" dirty="0">
                          <a:solidFill>
                            <a:schemeClr val="bg1"/>
                          </a:solidFill>
                        </a:rPr>
                        <a:t>HW Electronics</a:t>
                      </a:r>
                      <a:r>
                        <a:rPr lang="en-US" sz="1100" noProof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cs-CZ" sz="1100" noProof="0" dirty="0">
                          <a:solidFill>
                            <a:schemeClr val="bg1"/>
                          </a:solidFill>
                        </a:rPr>
                        <a:t>and </a:t>
                      </a:r>
                      <a:r>
                        <a:rPr lang="cs-CZ" sz="1100" noProof="0" dirty="0" err="1">
                          <a:solidFill>
                            <a:schemeClr val="bg1"/>
                          </a:solidFill>
                        </a:rPr>
                        <a:t>Mechatronics</a:t>
                      </a:r>
                      <a:r>
                        <a:rPr lang="cs-CZ" sz="1100" noProof="0" dirty="0">
                          <a:solidFill>
                            <a:schemeClr val="bg1"/>
                          </a:solidFill>
                        </a:rPr>
                        <a:t> Development</a:t>
                      </a:r>
                      <a:r>
                        <a:rPr lang="en-US" sz="1100" noProof="0" dirty="0">
                          <a:solidFill>
                            <a:schemeClr val="bg1"/>
                          </a:solidFill>
                        </a:rPr>
                        <a:t> and Testing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noProof="0" dirty="0">
                          <a:solidFill>
                            <a:schemeClr val="bg1"/>
                          </a:solidFill>
                        </a:rPr>
                        <a:t>Mechanical Design and Simul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noProof="0" dirty="0">
                          <a:solidFill>
                            <a:schemeClr val="bg1"/>
                          </a:solidFill>
                        </a:rPr>
                        <a:t>Rapid </a:t>
                      </a:r>
                      <a:r>
                        <a:rPr lang="cs-CZ" sz="1100" noProof="0" dirty="0">
                          <a:solidFill>
                            <a:schemeClr val="bg1"/>
                          </a:solidFill>
                        </a:rPr>
                        <a:t>P</a:t>
                      </a:r>
                      <a:r>
                        <a:rPr lang="en-US" sz="1100" noProof="0" dirty="0" err="1">
                          <a:solidFill>
                            <a:schemeClr val="bg1"/>
                          </a:solidFill>
                        </a:rPr>
                        <a:t>rototyping</a:t>
                      </a:r>
                      <a:r>
                        <a:rPr lang="cs-CZ" sz="1100" noProof="0" dirty="0">
                          <a:solidFill>
                            <a:schemeClr val="bg1"/>
                          </a:solidFill>
                        </a:rPr>
                        <a:t> and 3D Metal </a:t>
                      </a:r>
                      <a:r>
                        <a:rPr lang="cs-CZ" sz="1100" noProof="0" dirty="0" err="1">
                          <a:solidFill>
                            <a:schemeClr val="bg1"/>
                          </a:solidFill>
                        </a:rPr>
                        <a:t>Printing</a:t>
                      </a:r>
                      <a:endParaRPr lang="en-US" sz="1100" b="0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cs-CZ" sz="1100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35989" marR="10797" marT="10797" marB="107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2273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cs-CZ" sz="1100" noProof="0" dirty="0">
                        <a:solidFill>
                          <a:schemeClr val="tx2"/>
                        </a:solidFill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noProof="0" dirty="0">
                          <a:solidFill>
                            <a:schemeClr val="tx2"/>
                          </a:solidFill>
                        </a:rPr>
                        <a:t>Other things to know about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noProof="0" dirty="0">
                          <a:solidFill>
                            <a:schemeClr val="bg1"/>
                          </a:solidFill>
                        </a:rPr>
                        <a:t>Awarded „Employer of the year“ in 2019</a:t>
                      </a:r>
                      <a:r>
                        <a:rPr lang="cs-CZ" sz="1100" noProof="0" dirty="0">
                          <a:solidFill>
                            <a:schemeClr val="bg1"/>
                          </a:solidFill>
                        </a:rPr>
                        <a:t>, </a:t>
                      </a:r>
                      <a:r>
                        <a:rPr lang="en-US" sz="1100" noProof="0" dirty="0">
                          <a:solidFill>
                            <a:schemeClr val="bg1"/>
                          </a:solidFill>
                        </a:rPr>
                        <a:t>2020</a:t>
                      </a:r>
                      <a:r>
                        <a:rPr lang="cs-CZ" sz="1100" noProof="0" dirty="0">
                          <a:solidFill>
                            <a:schemeClr val="bg1"/>
                          </a:solidFill>
                        </a:rPr>
                        <a:t>, 2021, 2022, 2023</a:t>
                      </a:r>
                      <a:endParaRPr lang="en-US" sz="1100" noProof="0" dirty="0">
                        <a:solidFill>
                          <a:schemeClr val="bg1"/>
                        </a:solidFill>
                      </a:endParaRPr>
                    </a:p>
                    <a:p>
                      <a:pPr marL="171450" marR="0" lvl="0" indent="-17145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operation with 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Universities in Pilsen, </a:t>
                      </a:r>
                      <a:r>
                        <a:rPr lang="en-US" sz="110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Zlín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Prague or Brno</a:t>
                      </a:r>
                    </a:p>
                  </a:txBody>
                  <a:tcPr marL="35989" marR="10797" marT="10797" marB="10797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1944211"/>
                  </a:ext>
                </a:extLst>
              </a:tr>
            </a:tbl>
          </a:graphicData>
        </a:graphic>
      </p:graphicFrame>
      <p:pic>
        <p:nvPicPr>
          <p:cNvPr id="28" name="Picture Placeholder 11" descr="A building under construction&#10;&#10;Description automatically generated with low confidence">
            <a:extLst>
              <a:ext uri="{FF2B5EF4-FFF2-40B4-BE49-F238E27FC236}">
                <a16:creationId xmlns:a16="http://schemas.microsoft.com/office/drawing/2014/main" id="{85519C06-1EA6-4565-B052-47F9D0DE4F37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61068" y="1"/>
            <a:ext cx="4481521" cy="2574001"/>
          </a:xfrm>
          <a:prstGeom prst="rect">
            <a:avLst/>
          </a:prstGeom>
        </p:spPr>
      </p:pic>
      <p:pic>
        <p:nvPicPr>
          <p:cNvPr id="7" name="Picture Placeholder 7" descr="A picture containing sky, outdoor&#10;&#10;Description automatically generated">
            <a:extLst>
              <a:ext uri="{FF2B5EF4-FFF2-40B4-BE49-F238E27FC236}">
                <a16:creationId xmlns:a16="http://schemas.microsoft.com/office/drawing/2014/main" id="{49022B2A-0159-4392-ACAC-47150A34F2EC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61068" y="2574002"/>
            <a:ext cx="4481521" cy="2574001"/>
          </a:xfrm>
          <a:prstGeom prst="rect">
            <a:avLst/>
          </a:prstGeom>
        </p:spPr>
      </p:pic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5B4B450D-8482-46F5-8225-52E170DC9C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73047" y="143955"/>
            <a:ext cx="709670" cy="597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7948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C782F1B-5609-452D-AF78-5D5E4C0BF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2022-03-18 l DIWT l ZF Engineering Plzeň</a:t>
            </a:r>
            <a:endParaRPr lang="de-DE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8D90D65-E2A4-4682-9F78-D67D3BF673EB}"/>
              </a:ext>
            </a:extLst>
          </p:cNvPr>
          <p:cNvSpPr txBox="1">
            <a:spLocks/>
          </p:cNvSpPr>
          <p:nvPr/>
        </p:nvSpPr>
        <p:spPr>
          <a:xfrm>
            <a:off x="361662" y="143999"/>
            <a:ext cx="4120728" cy="10083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1999" dirty="0"/>
              <a:t>Zlín </a:t>
            </a:r>
            <a:r>
              <a:rPr lang="cs-CZ" sz="1999" dirty="0" err="1"/>
              <a:t>branch</a:t>
            </a:r>
            <a:r>
              <a:rPr lang="cs-CZ" sz="1999" dirty="0"/>
              <a:t> office</a:t>
            </a:r>
          </a:p>
        </p:txBody>
      </p:sp>
      <p:pic>
        <p:nvPicPr>
          <p:cNvPr id="10" name="Obrázek 7">
            <a:extLst>
              <a:ext uri="{FF2B5EF4-FFF2-40B4-BE49-F238E27FC236}">
                <a16:creationId xmlns:a16="http://schemas.microsoft.com/office/drawing/2014/main" id="{B7311D8B-7A05-4E45-AD59-3D1C9C0C4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5099236" y="96666"/>
            <a:ext cx="3846424" cy="2639610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D0E48D33-E92A-4E10-92A8-411121C88C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428" y="3034659"/>
            <a:ext cx="1862339" cy="1072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DD26EB7C-903A-E4BD-4F70-B0F84DDFEC4B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78352" y="3034659"/>
            <a:ext cx="2067308" cy="1187376"/>
          </a:xfrm>
          <a:prstGeom prst="rect">
            <a:avLst/>
          </a:prstGeom>
        </p:spPr>
      </p:pic>
      <p:graphicFrame>
        <p:nvGraphicFramePr>
          <p:cNvPr id="6" name="Inhaltsplatzhalter 3">
            <a:extLst>
              <a:ext uri="{FF2B5EF4-FFF2-40B4-BE49-F238E27FC236}">
                <a16:creationId xmlns:a16="http://schemas.microsoft.com/office/drawing/2014/main" id="{1F4335DE-DFFB-746F-B9E0-1A71EC941BB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6243220"/>
              </p:ext>
            </p:extLst>
          </p:nvPr>
        </p:nvGraphicFramePr>
        <p:xfrm>
          <a:off x="361662" y="623778"/>
          <a:ext cx="4120728" cy="396602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1207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34496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b="0" noProof="0" dirty="0">
                          <a:solidFill>
                            <a:schemeClr val="tx2"/>
                          </a:solidFill>
                        </a:rPr>
                        <a:t>Locations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0" noProof="0" dirty="0" err="1">
                          <a:solidFill>
                            <a:schemeClr val="bg1"/>
                          </a:solidFill>
                        </a:rPr>
                        <a:t>Zlín</a:t>
                      </a:r>
                      <a:endParaRPr lang="cs-CZ" sz="1100" b="0" kern="0" noProof="0" dirty="0">
                        <a:solidFill>
                          <a:schemeClr val="bg1"/>
                        </a:solidFill>
                      </a:endParaRPr>
                    </a:p>
                    <a:p>
                      <a:pPr marL="171450" marR="0" lvl="0" indent="-17145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loor space</a:t>
                      </a:r>
                      <a:r>
                        <a:rPr lang="cs-CZ" sz="1100" b="0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60 </a:t>
                      </a:r>
                      <a:r>
                        <a:rPr lang="en-US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²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-</a:t>
                      </a:r>
                      <a:r>
                        <a:rPr lang="en-GB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&gt;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825 </a:t>
                      </a:r>
                      <a:r>
                        <a:rPr lang="en-US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²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cs-CZ" sz="1100" b="0" kern="1200" noProof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100" b="0" kern="1200" noProof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b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2023)</a:t>
                      </a:r>
                      <a:endParaRPr lang="cs-CZ" sz="1100" b="0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endParaRPr lang="cs-CZ" sz="1100" b="0" kern="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89" marR="10797" marT="10797" marB="10797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20179"/>
                  </a:ext>
                </a:extLst>
              </a:tr>
              <a:tr h="912391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cs-CZ" sz="1100" b="0" noProof="0" dirty="0">
                        <a:solidFill>
                          <a:schemeClr val="tx2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b="0" noProof="0" dirty="0">
                          <a:solidFill>
                            <a:schemeClr val="tx2"/>
                          </a:solidFill>
                        </a:rPr>
                        <a:t>Key figures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unded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endParaRPr lang="en-US" sz="1100" b="0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ssociates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: 75 HC (9</a:t>
                      </a:r>
                      <a:r>
                        <a:rPr lang="en-US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/20</a:t>
                      </a:r>
                      <a:r>
                        <a:rPr lang="cs-CZ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)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None/>
                      </a:pPr>
                      <a:endParaRPr lang="cs-CZ" sz="1100" b="0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89" marR="10797" marT="10797" marB="107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46076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cs-CZ" sz="1100" noProof="0" dirty="0">
                        <a:solidFill>
                          <a:schemeClr val="tx2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noProof="0" dirty="0">
                          <a:solidFill>
                            <a:schemeClr val="tx2"/>
                          </a:solidFill>
                        </a:rPr>
                        <a:t>We provide R&amp;D Services for ZF group</a:t>
                      </a:r>
                    </a:p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cs-CZ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D</a:t>
                      </a:r>
                      <a:r>
                        <a:rPr kumimoji="0" lang="en-US" sz="110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evelopment</a:t>
                      </a:r>
                      <a:r>
                        <a:rPr kumimoji="0" lang="cs-CZ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 (C and C++)</a:t>
                      </a:r>
                      <a:r>
                        <a:rPr kumimoji="0" lang="en-US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, </a:t>
                      </a:r>
                      <a:r>
                        <a:rPr kumimoji="0" lang="cs-CZ" sz="110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cyber</a:t>
                      </a:r>
                      <a:r>
                        <a:rPr kumimoji="0" lang="cs-CZ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cs-CZ" sz="110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security</a:t>
                      </a:r>
                      <a:r>
                        <a:rPr kumimoji="0" lang="cs-CZ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, </a:t>
                      </a:r>
                      <a:r>
                        <a:rPr kumimoji="0" lang="en-US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SW </a:t>
                      </a:r>
                      <a:r>
                        <a:rPr kumimoji="0" lang="cs-CZ" sz="110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coordination</a:t>
                      </a:r>
                      <a:r>
                        <a:rPr kumimoji="0" lang="cs-CZ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, </a:t>
                      </a:r>
                      <a:r>
                        <a:rPr kumimoji="0" lang="en-US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testing</a:t>
                      </a:r>
                      <a:r>
                        <a:rPr kumimoji="0" lang="cs-CZ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, </a:t>
                      </a:r>
                      <a:r>
                        <a:rPr kumimoji="0" lang="en-US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process quality</a:t>
                      </a:r>
                      <a:r>
                        <a:rPr kumimoji="0" lang="cs-CZ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en-US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in E-mobility branch</a:t>
                      </a:r>
                      <a:r>
                        <a:rPr kumimoji="0" lang="cs-CZ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, </a:t>
                      </a:r>
                      <a:r>
                        <a:rPr kumimoji="0" lang="cs-CZ" sz="110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simulations</a:t>
                      </a:r>
                      <a:r>
                        <a:rPr kumimoji="0" lang="en-US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cs-CZ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and </a:t>
                      </a:r>
                      <a:r>
                        <a:rPr kumimoji="0" lang="cs-CZ" sz="110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mechatronics</a:t>
                      </a:r>
                      <a:endParaRPr kumimoji="0" lang="en-US" sz="110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</a:endParaRPr>
                    </a:p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u="none" strike="noStrike" kern="1200" noProof="0" dirty="0">
                          <a:solidFill>
                            <a:schemeClr val="bg1"/>
                          </a:solidFill>
                          <a:effectLst/>
                        </a:rPr>
                        <a:t>SW support for ZF plant(s) „EOL SW“</a:t>
                      </a:r>
                    </a:p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u="none" strike="noStrike" kern="1200" noProof="0" dirty="0">
                          <a:solidFill>
                            <a:schemeClr val="bg1"/>
                          </a:solidFill>
                          <a:effectLst/>
                        </a:rPr>
                        <a:t>Support of other disciplines located in Pilsen   </a:t>
                      </a:r>
                      <a:endParaRPr lang="en-US" sz="1100" b="0" i="0" u="none" strike="noStrike" kern="1200" baseline="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cs-CZ" sz="1100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35989" marR="10797" marT="10797" marB="107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73059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cs-CZ" sz="1100" noProof="0" dirty="0">
                        <a:solidFill>
                          <a:schemeClr val="tx2"/>
                        </a:solidFill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noProof="0" dirty="0">
                          <a:solidFill>
                            <a:schemeClr val="tx2"/>
                          </a:solidFill>
                        </a:rPr>
                        <a:t>Other things to know about</a:t>
                      </a:r>
                    </a:p>
                    <a:p>
                      <a:pPr marL="171450" marR="0" lvl="0" indent="-17145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operation with 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Universities in </a:t>
                      </a:r>
                      <a:r>
                        <a:rPr lang="en-US" sz="110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Zlín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Brno</a:t>
                      </a:r>
                    </a:p>
                  </a:txBody>
                  <a:tcPr marL="35989" marR="10797" marT="10797" marB="10797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19442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793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TW_CP"/>
  <p:tag name="MASTER" val=""/>
  <p:tag name="AGENDAPIC" val=""/>
  <p:tag name="NOAGENDA" val="0"/>
  <p:tag name="LANGUAGE" val="english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d_6064"/>
  <p:tag name="SLIDEDATE" val="26.07.201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d_16"/>
  <p:tag name="SLIDEDATE" val="17.03.202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d_605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heme/theme1.xml><?xml version="1.0" encoding="utf-8"?>
<a:theme xmlns:a="http://schemas.openxmlformats.org/drawingml/2006/main" name="ZF AG">
  <a:themeElements>
    <a:clrScheme name="© ZF Friedrichshafen AG">
      <a:dk1>
        <a:srgbClr val="000000"/>
      </a:dk1>
      <a:lt1>
        <a:srgbClr val="FFFFFF"/>
      </a:lt1>
      <a:dk2>
        <a:srgbClr val="00ABE7"/>
      </a:dk2>
      <a:lt2>
        <a:srgbClr val="BFBFBF"/>
      </a:lt2>
      <a:accent1>
        <a:srgbClr val="7FA5BC"/>
      </a:accent1>
      <a:accent2>
        <a:srgbClr val="7FD5F3"/>
      </a:accent2>
      <a:accent3>
        <a:srgbClr val="BFEAF9"/>
      </a:accent3>
      <a:accent4>
        <a:srgbClr val="004D7A"/>
      </a:accent4>
      <a:accent5>
        <a:srgbClr val="1179BF"/>
      </a:accent5>
      <a:accent6>
        <a:srgbClr val="81BCDF"/>
      </a:accent6>
      <a:hlink>
        <a:srgbClr val="00ABE7"/>
      </a:hlink>
      <a:folHlink>
        <a:srgbClr val="7FD5F3"/>
      </a:folHlink>
    </a:clrScheme>
    <a:fontScheme name="© ZF Friedrichshafen AG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FD5F3"/>
        </a:solidFill>
        <a:ln w="12700" cap="flat" cmpd="sng" algn="ctr">
          <a:noFill/>
          <a:prstDash val="solid"/>
        </a:ln>
        <a:effectLst/>
      </a:spPr>
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Tahoma"/>
            <a:ea typeface="+mn-ea"/>
            <a:cs typeface="Tahoma" pitchFamily="34" charset="0"/>
          </a:defRPr>
        </a:defPPr>
      </a:lstStyle>
    </a:spDef>
    <a:lnDef>
      <a:spPr>
        <a:noFill/>
        <a:ln w="28575" cap="rnd" cmpd="sng" algn="ctr">
          <a:solidFill>
            <a:srgbClr val="00ABE7"/>
          </a:solidFill>
          <a:prstDash val="sysDot"/>
          <a:round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ZF Cyan 100%">
      <a:srgbClr val="00ABE7"/>
    </a:custClr>
    <a:custClr name="ZF Cyan 50%">
      <a:srgbClr val="7FD5F3"/>
    </a:custClr>
    <a:custClr name="ZF Cyan 25%">
      <a:srgbClr val="BFEAF9"/>
    </a:custClr>
    <a:custClr>
      <a:srgbClr val="FFFFFF"/>
    </a:custClr>
    <a:custClr name="ZF Blue 100%">
      <a:srgbClr val="1179BF"/>
    </a:custClr>
    <a:custClr name="ZF Blue 50%">
      <a:srgbClr val="81BCDF"/>
    </a:custClr>
    <a:custClr>
      <a:srgbClr val="FFFFFF"/>
    </a:custClr>
    <a:custClr name="Middle Blue 100%">
      <a:srgbClr val="004D7A"/>
    </a:custClr>
    <a:custClr name="Middle Blue 50%">
      <a:srgbClr val="7FA5BC"/>
    </a:custClr>
    <a:custClr>
      <a:srgbClr val="FFFFFF"/>
    </a:custClr>
    <a:custClr name="Black 100%">
      <a:srgbClr val="000000"/>
    </a:custClr>
    <a:custClr name="Black 50%">
      <a:srgbClr val="7F7F7F"/>
    </a:custClr>
    <a:custClr name="Black 25%">
      <a:srgbClr val="BFBFBF"/>
    </a:custClr>
    <a:custClr>
      <a:srgbClr val="FFFFFF"/>
    </a:custClr>
    <a:custClr name="1. Step color gradient">
      <a:srgbClr val="1179BF"/>
    </a:custClr>
    <a:custClr name="2. Step color gradient">
      <a:srgbClr val="004D7A"/>
    </a:custClr>
    <a:custClr name="3. Step color gradient">
      <a:srgbClr val="001024"/>
    </a:custClr>
    <a:custClr>
      <a:srgbClr val="FFFFFF"/>
    </a:custClr>
    <a:custClr name="ZF Red - Only highlight color">
      <a:srgbClr val="DD0C29"/>
    </a:custClr>
  </a:custClrLst>
</a:theme>
</file>

<file path=ppt/theme/theme2.xml><?xml version="1.0" encoding="utf-8"?>
<a:theme xmlns:a="http://schemas.openxmlformats.org/drawingml/2006/main" name="5_ZF AG">
  <a:themeElements>
    <a:clrScheme name="© ZF Friedrichshafen AG">
      <a:dk1>
        <a:srgbClr val="000000"/>
      </a:dk1>
      <a:lt1>
        <a:srgbClr val="FFFFFF"/>
      </a:lt1>
      <a:dk2>
        <a:srgbClr val="00ABE7"/>
      </a:dk2>
      <a:lt2>
        <a:srgbClr val="BFBFBF"/>
      </a:lt2>
      <a:accent1>
        <a:srgbClr val="7FA5BC"/>
      </a:accent1>
      <a:accent2>
        <a:srgbClr val="7FD5F3"/>
      </a:accent2>
      <a:accent3>
        <a:srgbClr val="BFEAF9"/>
      </a:accent3>
      <a:accent4>
        <a:srgbClr val="004D7A"/>
      </a:accent4>
      <a:accent5>
        <a:srgbClr val="1179BF"/>
      </a:accent5>
      <a:accent6>
        <a:srgbClr val="81BCDF"/>
      </a:accent6>
      <a:hlink>
        <a:srgbClr val="00ABE7"/>
      </a:hlink>
      <a:folHlink>
        <a:srgbClr val="7FD5F3"/>
      </a:folHlink>
    </a:clrScheme>
    <a:fontScheme name="© ZF Friedrichshafen AG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FD5F3"/>
        </a:solidFill>
        <a:ln w="12700" cap="flat" cmpd="sng" algn="ctr">
          <a:noFill/>
          <a:prstDash val="solid"/>
        </a:ln>
        <a:effectLst/>
      </a:spPr>
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Tahoma"/>
            <a:ea typeface="+mn-ea"/>
            <a:cs typeface="Tahoma" pitchFamily="34" charset="0"/>
          </a:defRPr>
        </a:defPPr>
      </a:lstStyle>
    </a:spDef>
    <a:lnDef>
      <a:spPr>
        <a:noFill/>
        <a:ln w="28575" cap="rnd" cmpd="sng" algn="ctr">
          <a:solidFill>
            <a:srgbClr val="00ABE7"/>
          </a:solidFill>
          <a:prstDash val="sysDot"/>
          <a:round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ZF Cyan 100%">
      <a:srgbClr val="00ABE7"/>
    </a:custClr>
    <a:custClr name="ZF Cyan 50%">
      <a:srgbClr val="7FD5F3"/>
    </a:custClr>
    <a:custClr name="ZF Cyan 25%">
      <a:srgbClr val="BFEAF9"/>
    </a:custClr>
    <a:custClr>
      <a:srgbClr val="FFFFFF"/>
    </a:custClr>
    <a:custClr name="ZF Blue 100%">
      <a:srgbClr val="1179BF"/>
    </a:custClr>
    <a:custClr name="ZF Blue 50%">
      <a:srgbClr val="81BCDF"/>
    </a:custClr>
    <a:custClr>
      <a:srgbClr val="FFFFFF"/>
    </a:custClr>
    <a:custClr name="Middle Blue 100%">
      <a:srgbClr val="004D7A"/>
    </a:custClr>
    <a:custClr name="Middle Blue 50%">
      <a:srgbClr val="7FA5BC"/>
    </a:custClr>
    <a:custClr>
      <a:srgbClr val="FFFFFF"/>
    </a:custClr>
    <a:custClr name="Black 100%">
      <a:srgbClr val="000000"/>
    </a:custClr>
    <a:custClr name="Black 50%">
      <a:srgbClr val="7F7F7F"/>
    </a:custClr>
    <a:custClr name="Black 25%">
      <a:srgbClr val="BFBFBF"/>
    </a:custClr>
    <a:custClr>
      <a:srgbClr val="FFFFFF"/>
    </a:custClr>
    <a:custClr name="1. Step color gradient">
      <a:srgbClr val="1179BF"/>
    </a:custClr>
    <a:custClr name="2. Step color gradient">
      <a:srgbClr val="004D7A"/>
    </a:custClr>
    <a:custClr name="3. Step color gradient">
      <a:srgbClr val="001024"/>
    </a:custClr>
    <a:custClr>
      <a:srgbClr val="FFFFFF"/>
    </a:custClr>
    <a:custClr name="ZF Red - Only highlight color">
      <a:srgbClr val="DD0C29"/>
    </a:custClr>
  </a:custClrLst>
  <a:extLst>
    <a:ext uri="{05A4C25C-085E-4340-85A3-A5531E510DB2}">
      <thm15:themeFamily xmlns:thm15="http://schemas.microsoft.com/office/thememl/2012/main" name="master_zf.potx" id="{4F3D0504-CFB6-41D8-A747-F063E2124B11}" vid="{D3C6B623-A8E2-4041-B7B3-43FB646A98F7}"/>
    </a:ext>
  </a:extLst>
</a:theme>
</file>

<file path=ppt/theme/theme3.xml><?xml version="1.0" encoding="utf-8"?>
<a:theme xmlns:a="http://schemas.openxmlformats.org/drawingml/2006/main" name="1_ZF AG">
  <a:themeElements>
    <a:clrScheme name="© ZF Friedrichshafen AG">
      <a:dk1>
        <a:srgbClr val="000000"/>
      </a:dk1>
      <a:lt1>
        <a:srgbClr val="FFFFFF"/>
      </a:lt1>
      <a:dk2>
        <a:srgbClr val="00ABE7"/>
      </a:dk2>
      <a:lt2>
        <a:srgbClr val="BFBFBF"/>
      </a:lt2>
      <a:accent1>
        <a:srgbClr val="7FA5BC"/>
      </a:accent1>
      <a:accent2>
        <a:srgbClr val="7FD5F3"/>
      </a:accent2>
      <a:accent3>
        <a:srgbClr val="BFEAF9"/>
      </a:accent3>
      <a:accent4>
        <a:srgbClr val="004D7A"/>
      </a:accent4>
      <a:accent5>
        <a:srgbClr val="1179BF"/>
      </a:accent5>
      <a:accent6>
        <a:srgbClr val="81BCDF"/>
      </a:accent6>
      <a:hlink>
        <a:srgbClr val="00ABE7"/>
      </a:hlink>
      <a:folHlink>
        <a:srgbClr val="7FD5F3"/>
      </a:folHlink>
    </a:clrScheme>
    <a:fontScheme name="© ZF Friedrichshafen AG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FD5F3"/>
        </a:solidFill>
        <a:ln w="12700" cap="flat" cmpd="sng" algn="ctr">
          <a:noFill/>
          <a:prstDash val="solid"/>
        </a:ln>
        <a:effectLst/>
      </a:spPr>
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Tahoma"/>
            <a:ea typeface="+mn-ea"/>
            <a:cs typeface="Tahoma" pitchFamily="34" charset="0"/>
          </a:defRPr>
        </a:defPPr>
      </a:lstStyle>
    </a:spDef>
    <a:lnDef>
      <a:spPr>
        <a:noFill/>
        <a:ln w="28575" cap="rnd" cmpd="sng" algn="ctr">
          <a:solidFill>
            <a:srgbClr val="00ABE7"/>
          </a:solidFill>
          <a:prstDash val="sysDot"/>
          <a:round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ZF Cyan 100%">
      <a:srgbClr val="00ABE7"/>
    </a:custClr>
    <a:custClr name="ZF Cyan 50%">
      <a:srgbClr val="7FD5F3"/>
    </a:custClr>
    <a:custClr name="ZF Cyan 25%">
      <a:srgbClr val="BFEAF9"/>
    </a:custClr>
    <a:custClr>
      <a:srgbClr val="FFFFFF"/>
    </a:custClr>
    <a:custClr name="ZF Blue 100%">
      <a:srgbClr val="1179BF"/>
    </a:custClr>
    <a:custClr name="ZF Blue 50%">
      <a:srgbClr val="81BCDF"/>
    </a:custClr>
    <a:custClr>
      <a:srgbClr val="FFFFFF"/>
    </a:custClr>
    <a:custClr name="Middle Blue 100%">
      <a:srgbClr val="004D7A"/>
    </a:custClr>
    <a:custClr name="Middle Blue 50%">
      <a:srgbClr val="7FA5BC"/>
    </a:custClr>
    <a:custClr>
      <a:srgbClr val="FFFFFF"/>
    </a:custClr>
    <a:custClr name="Black 100%">
      <a:srgbClr val="000000"/>
    </a:custClr>
    <a:custClr name="Black 50%">
      <a:srgbClr val="7F7F7F"/>
    </a:custClr>
    <a:custClr name="Black 25%">
      <a:srgbClr val="BFBFBF"/>
    </a:custClr>
    <a:custClr>
      <a:srgbClr val="FFFFFF"/>
    </a:custClr>
    <a:custClr name="1. Step color gradient">
      <a:srgbClr val="1179BF"/>
    </a:custClr>
    <a:custClr name="2. Step color gradient">
      <a:srgbClr val="004D7A"/>
    </a:custClr>
    <a:custClr name="3. Step color gradient">
      <a:srgbClr val="001024"/>
    </a:custClr>
    <a:custClr>
      <a:srgbClr val="FFFFFF"/>
    </a:custClr>
    <a:custClr name="ZF Red - Only highlight color">
      <a:srgbClr val="DD0C29"/>
    </a:custClr>
  </a:custClrLst>
</a:theme>
</file>

<file path=ppt/theme/theme4.xml><?xml version="1.0" encoding="utf-8"?>
<a:theme xmlns:a="http://schemas.openxmlformats.org/drawingml/2006/main" name="Larissa">
  <a:themeElements>
    <a:clrScheme name="© ZF Friedrichshafen AG">
      <a:dk1>
        <a:srgbClr val="000000"/>
      </a:dk1>
      <a:lt1>
        <a:srgbClr val="FFFFFF"/>
      </a:lt1>
      <a:dk2>
        <a:srgbClr val="00ABE7"/>
      </a:dk2>
      <a:lt2>
        <a:srgbClr val="E5E5E5"/>
      </a:lt2>
      <a:accent1>
        <a:srgbClr val="7FD5F3"/>
      </a:accent1>
      <a:accent2>
        <a:srgbClr val="BFEAF9"/>
      </a:accent2>
      <a:accent3>
        <a:srgbClr val="E5F6FD"/>
      </a:accent3>
      <a:accent4>
        <a:srgbClr val="1179BF"/>
      </a:accent4>
      <a:accent5>
        <a:srgbClr val="81BCDF"/>
      </a:accent5>
      <a:accent6>
        <a:srgbClr val="C0DEEF"/>
      </a:accent6>
      <a:hlink>
        <a:srgbClr val="1179BF"/>
      </a:hlink>
      <a:folHlink>
        <a:srgbClr val="7FD5F3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ahoma"/>
        <a:font script="Hebr" typeface="Tahom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© ZF Friedrichshafen AG">
      <a:dk1>
        <a:srgbClr val="000000"/>
      </a:dk1>
      <a:lt1>
        <a:srgbClr val="FFFFFF"/>
      </a:lt1>
      <a:dk2>
        <a:srgbClr val="00ABE7"/>
      </a:dk2>
      <a:lt2>
        <a:srgbClr val="E5E5E5"/>
      </a:lt2>
      <a:accent1>
        <a:srgbClr val="7FD5F3"/>
      </a:accent1>
      <a:accent2>
        <a:srgbClr val="BFEAF9"/>
      </a:accent2>
      <a:accent3>
        <a:srgbClr val="E5F6FD"/>
      </a:accent3>
      <a:accent4>
        <a:srgbClr val="1179BF"/>
      </a:accent4>
      <a:accent5>
        <a:srgbClr val="81BCDF"/>
      </a:accent5>
      <a:accent6>
        <a:srgbClr val="C0DEEF"/>
      </a:accent6>
      <a:hlink>
        <a:srgbClr val="1179BF"/>
      </a:hlink>
      <a:folHlink>
        <a:srgbClr val="7FD5F3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ahoma"/>
        <a:font script="Hebr" typeface="Tahom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nXeGKudETKPeaCNGFh5i8sltj09I1nJ8AlBUytNZ1Ehih9jnZMZtoeNI9UMZ5>DLypFCKquMi/teLBbvv3qpcV0N7cfyNFSRWKMBAlKhI=</nXeGKudETKPeaCNGFh5i8sltj09I1nJ8AlBUytNZ1Ehih9jnZMZtoeNI9UMZ5>
</file>

<file path=customXml/item10.xml><?xml version="1.0" encoding="utf-8"?>
<nXeGKudETKPeaCNGFh5i5JKJLOqxkMZWB6LsYfMaI9RtbpE1WkCpXazESWus5B>dcsNT4mw2uIZbmtv9t4rUNb6eU4Ge2n8Rq7iZXBULbHiIPxBuPBZlUX8m0EP5uRPYQX7biOucUuFUAPfWEnQew==</nXeGKudETKPeaCNGFh5i5JKJLOqxkMZWB6LsYfMaI9RtbpE1WkCpXazESWus5B>
</file>

<file path=customXml/item11.xml><?xml version="1.0" encoding="utf-8"?>
<nXeGKudETKPeaCNGFh5i5IeuWeXv6XDtePDOrtUSOqWwmvYa7PTRiLQvIZkriN4zFxEJfkpx7yiWurrFRQTw>wET7z3APVwWLb5suGR4vTrhDRZJozxrRzOAhwYFpvHz9eQHoa02Xka3de7sjEXtf</nXeGKudETKPeaCNGFh5i5IeuWeXv6XDtePDOrtUSOqWwmvYa7PTRiLQvIZkriN4zFxEJfkpx7yiWurrFRQTw>
</file>

<file path=customXml/item12.xml><?xml version="1.0" encoding="utf-8"?>
<NovaPath_docIDOld>GJP8VGGNECBB1V1EHILWEFHZWG</NovaPath_docIDOld>
</file>

<file path=customXml/item13.xml><?xml version="1.0" encoding="utf-8"?>
<nXeGKudETKPeaCNGFh5i2aVdoOsLYjULCdH7T707tDyRRmguot4fEcJ2iD6f9>KIVwNfXVORo1fEyQhgLGBA==</nXeGKudETKPeaCNGFh5i2aVdoOsLYjULCdH7T707tDyRRmguot4fEcJ2iD6f9>
</file>

<file path=customXml/item14.xml><?xml version="1.0" encoding="utf-8"?>
<NovaPath_tenantID>8BC9BD9B-31E2-4E97-ABE0-B03814292429</NovaPath_tenantID>
</file>

<file path=customXml/item15.xml><?xml version="1.0" encoding="utf-8"?>
<NovaPath_docClass>Public</NovaPath_docClass>
</file>

<file path=customXml/item16.xml><?xml version="1.0" encoding="utf-8"?>
<NovaPath_versionInfo>4.6.8.12343</NovaPath_versionInfo>
</file>

<file path=customXml/item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.xml><?xml version="1.0" encoding="utf-8"?>
<NovaPath_DocumentType>0</NovaPath_DocumentType>
</file>

<file path=customXml/item19.xml><?xml version="1.0" encoding="utf-8"?>
<NovaPath_DocInfoFromAfterSave>False</NovaPath_DocInfoFromAfterSave>
</file>

<file path=customXml/item2.xml><?xml version="1.0" encoding="utf-8"?>
<nXeGKudETKPeaCNGFh5i7KB6PCgefevITs3IW5zvHkDTq2cPPZVDzitehfVaR>xXOERgJrn4wgiPpGYa05bg==</nXeGKudETKPeaCNGFh5i7KB6PCgefevITs3IW5zvHkDTq2cPPZVDzitehfVaR>
</file>

<file path=customXml/item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1.xml><?xml version="1.0" encoding="utf-8"?>
<nXeGKudETKPeaCNGFh5i7cKyawAjgyQn9gyiebCxx1jD9eHXSWW9Lib2F1j9>mZ4rtFSXbzk2Ux9ca9oo006L+qSJnqON+Iw4zthUMQGTQ34lfyy7cjj93XVzyI5aiozZQk2s1VQnGGoPYNpLprWTstcS7UtqS7g4jLTgOvJzvi+YlPbuSFaq6UxfRCIc01alxzCD6dz6QfRz+aaXxKIcI5bwpeRy4XQuXnG5CjYylcbauyigHUoIpanBPIwJnxaf7PjXi/NjXPw+2WdwJg==</nXeGKudETKPeaCNGFh5i7cKyawAjgyQn9gyiebCxx1jD9eHXSWW9Lib2F1j9>
</file>

<file path=customXml/item22.xml><?xml version="1.0" encoding="utf-8"?>
<nXeGKudETKPeaCNGFh5iKXsadLDxTRe0xbrxgS3asWaSdlBY0sLX5pYu7jLmo>SiTVZYrZoP6lgSCTj6v0lYUXo7rptB3vsxE98fSlaTok74hHqUQ//z+IzG3f3dKdNUyW4Kjm/X9VSbJA4Gr5MW0KPH+B642pxXdDNArGooo=</nXeGKudETKPeaCNGFh5iKXsadLDxTRe0xbrxgS3asWaSdlBY0sLX5pYu7jLmo>
</file>

<file path=customXml/item23.xml><?xml version="1.0" encoding="utf-8"?>
<nXeGKudETKPeaCNGFh5iTSI5UodjD94nh7U7VklxY>1WU6L+L47DPfkaDSG9/rMIo01n/qlMAJ5VgF43kxiUqrCmvOFIqMmvmRRjMG84MRNPd0oo/PH31fY9izPy5NGg==</nXeGKudETKPeaCNGFh5iTSI5UodjD94nh7U7VklxY>
</file>

<file path=customXml/item24.xml><?xml version="1.0" encoding="utf-8"?>
<NovaPath_docClassDate>10/19/2017 13:50:03</NovaPath_docClassDate>
</file>

<file path=customXml/item2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3B377CDAB9F44086062B70D3470BEA" ma:contentTypeVersion="14" ma:contentTypeDescription="Create a new document." ma:contentTypeScope="" ma:versionID="a99836fde2866476b9358efd9db9c561">
  <xsd:schema xmlns:xsd="http://www.w3.org/2001/XMLSchema" xmlns:xs="http://www.w3.org/2001/XMLSchema" xmlns:p="http://schemas.microsoft.com/office/2006/metadata/properties" xmlns:ns3="c8b59e23-51f1-4b01-af8c-859006f4fcad" xmlns:ns4="bc86049e-8f30-46c0-be7b-4574519e8ca9" targetNamespace="http://schemas.microsoft.com/office/2006/metadata/properties" ma:root="true" ma:fieldsID="5beaa9bcce70cec7109c1da0c10d0652" ns3:_="" ns4:_="">
    <xsd:import namespace="c8b59e23-51f1-4b01-af8c-859006f4fcad"/>
    <xsd:import namespace="bc86049e-8f30-46c0-be7b-4574519e8c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b59e23-51f1-4b01-af8c-859006f4fc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86049e-8f30-46c0-be7b-4574519e8ca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6.xml><?xml version="1.0" encoding="utf-8"?>
<NovaPath_docName>C:\Users\Z237137\Desktop\ZF Engineering Plzeň Company Presentation 2020 v2.pptx</NovaPath_docName>
</file>

<file path=customXml/item27.xml><?xml version="1.0" encoding="utf-8"?>
<NovaPath_baseApplication>Microsoft PowerPoint</NovaPath_baseApplication>
</file>

<file path=customXml/item28.xml><?xml version="1.0" encoding="utf-8"?>
<NovaPath_docAuthor>Dick Marike FRD VCMA</NovaPath_docAuthor>
</file>

<file path=customXml/item29.xml><?xml version="1.0" encoding="utf-8"?>
<NovaPath_docClassID>1010</NovaPath_docClassID>
</file>

<file path=customXml/item3.xml><?xml version="1.0" encoding="utf-8"?>
<nXeGKudETKPeaCNGFh5iyLk1gcWWJqTgFQk8wGFUmjFC0m6hdwbr2zDsrBNVqK>Kzzd2pWBtImcGvgC4ner3gxeeWs5hnlYsA54t7fnddfGGmjGJI2cJSOHsiHZSiRq</nXeGKudETKPeaCNGFh5iyLk1gcWWJqTgFQk8wGFUmjFC0m6hdwbr2zDsrBNVqK>
</file>

<file path=customXml/item30.xml><?xml version="1.0" encoding="utf-8"?>
<nXeGKudETKPeaCNGFh5i0BGlH9ci87cLWvMx3DlPzuAPh2gY9s703zKUS7uW>mZ4rtFSXbzk2Ux9ca9oo006L+qSJnqON+Iw4zthUMQGTQ34lfyy7cjj93XVzyI5ag/OE7WpHG6upod4ULOTLmw==</nXeGKudETKPeaCNGFh5i0BGlH9ci87cLWvMx3DlPzuAPh2gY9s703zKUS7uW>
</file>

<file path=customXml/item31.xml><?xml version="1.0" encoding="utf-8"?>
<nXeGKudETKPeaCNGFh5iy53cs4YTjZQd4Re9Stbph13fJwq3N1dxRUwfkxNCzGbktJIbKf2q8mQyY814Q>GoBUcRQBOiWNv9cnqy33XA==</nXeGKudETKPeaCNGFh5iy53cs4YTjZQd4Re9Stbph13fJwq3N1dxRUwfkxNCzGbktJIbKf2q8mQyY814Q>
</file>

<file path=customXml/item4.xml><?xml version="1.0" encoding="utf-8"?>
<NovaPath_docOwner>Z604449</NovaPath_docOwner>
</file>

<file path=customXml/item5.xml><?xml version="1.0" encoding="utf-8"?>
<nXeGKudETKPeaCNGFh5ix5fP7fSWtl37NIroXmYBQsS1cecqKZfGozr8W9iy>lRNKEdCWJXNAkniveh3+yQ==</nXeGKudETKPeaCNGFh5ix5fP7fSWtl37NIroXmYBQsS1cecqKZfGozr8W9iy>
</file>

<file path=customXml/item6.xml><?xml version="1.0" encoding="utf-8"?>
<NovaPath_docID>1UKOY44AZQ932XXRJBRX7CJN4N</NovaPath_docID>
</file>

<file path=customXml/item7.xml><?xml version="1.0" encoding="utf-8"?>
<NovaPath_docPath>C:\Users\Z237137\Desktop</NovaPath_docPath>
</file>

<file path=customXml/item8.xml><?xml version="1.0" encoding="utf-8"?>
<nXeGKudETKPeaCNGFh5ix5fP7fSWtl37NIroXmZyHIynb9qBde2n67FOJFV2>eDRB324l0Mn4dbbVFF/GnQ==</nXeGKudETKPeaCNGFh5ix5fP7fSWtl37NIroXmZyHIynb9qBde2n67FOJFV2>
</file>

<file path=customXml/item9.xml><?xml version="1.0" encoding="utf-8"?>
<nXeGKudETKPeaCNGFh5ix5fP7fSWtl37NIroXmZN38TajkfZeW3Vf6bvmNn8>Wcrp3DWBc4kUNhtkUASHFVRKgjbIrt6pbk6NeypKtmq9HcPQsDocHq45yB1EIqc8</nXeGKudETKPeaCNGFh5ix5fP7fSWtl37NIroXmZN38TajkfZeW3Vf6bvmNn8>
</file>

<file path=customXml/itemProps1.xml><?xml version="1.0" encoding="utf-8"?>
<ds:datastoreItem xmlns:ds="http://schemas.openxmlformats.org/officeDocument/2006/customXml" ds:itemID="{3A6DC246-88A9-46F0-B73F-85ECCED9AF81}">
  <ds:schemaRefs/>
</ds:datastoreItem>
</file>

<file path=customXml/itemProps10.xml><?xml version="1.0" encoding="utf-8"?>
<ds:datastoreItem xmlns:ds="http://schemas.openxmlformats.org/officeDocument/2006/customXml" ds:itemID="{CC6FEF57-3383-4B3E-85AF-42B10B698CB6}">
  <ds:schemaRefs/>
</ds:datastoreItem>
</file>

<file path=customXml/itemProps11.xml><?xml version="1.0" encoding="utf-8"?>
<ds:datastoreItem xmlns:ds="http://schemas.openxmlformats.org/officeDocument/2006/customXml" ds:itemID="{CFFAF3D7-83E1-4358-ADC6-EDB96D5B1AD2}">
  <ds:schemaRefs/>
</ds:datastoreItem>
</file>

<file path=customXml/itemProps12.xml><?xml version="1.0" encoding="utf-8"?>
<ds:datastoreItem xmlns:ds="http://schemas.openxmlformats.org/officeDocument/2006/customXml" ds:itemID="{F5B0F994-7DDD-4D33-B716-3D2FAE563512}">
  <ds:schemaRefs/>
</ds:datastoreItem>
</file>

<file path=customXml/itemProps13.xml><?xml version="1.0" encoding="utf-8"?>
<ds:datastoreItem xmlns:ds="http://schemas.openxmlformats.org/officeDocument/2006/customXml" ds:itemID="{8371AD39-18F6-4E3B-AAF0-9B6A79F3755C}">
  <ds:schemaRefs/>
</ds:datastoreItem>
</file>

<file path=customXml/itemProps14.xml><?xml version="1.0" encoding="utf-8"?>
<ds:datastoreItem xmlns:ds="http://schemas.openxmlformats.org/officeDocument/2006/customXml" ds:itemID="{74EB17FA-6452-42F4-93BC-4A08C7FC5027}">
  <ds:schemaRefs/>
</ds:datastoreItem>
</file>

<file path=customXml/itemProps15.xml><?xml version="1.0" encoding="utf-8"?>
<ds:datastoreItem xmlns:ds="http://schemas.openxmlformats.org/officeDocument/2006/customXml" ds:itemID="{998DD3EC-39AA-4CFA-BBEE-4FB0F77A878B}">
  <ds:schemaRefs/>
</ds:datastoreItem>
</file>

<file path=customXml/itemProps16.xml><?xml version="1.0" encoding="utf-8"?>
<ds:datastoreItem xmlns:ds="http://schemas.openxmlformats.org/officeDocument/2006/customXml" ds:itemID="{913EC149-11A7-4A9B-BDAB-426A059DA40B}">
  <ds:schemaRefs/>
</ds:datastoreItem>
</file>

<file path=customXml/itemProps17.xml><?xml version="1.0" encoding="utf-8"?>
<ds:datastoreItem xmlns:ds="http://schemas.openxmlformats.org/officeDocument/2006/customXml" ds:itemID="{F94D8F02-C8A0-4813-BC3A-920B38E0FDE4}">
  <ds:schemaRefs>
    <ds:schemaRef ds:uri="http://schemas.microsoft.com/sharepoint/v3/contenttype/forms"/>
  </ds:schemaRefs>
</ds:datastoreItem>
</file>

<file path=customXml/itemProps18.xml><?xml version="1.0" encoding="utf-8"?>
<ds:datastoreItem xmlns:ds="http://schemas.openxmlformats.org/officeDocument/2006/customXml" ds:itemID="{F34638E1-AAD7-41B8-B7A4-E90DC7819F30}">
  <ds:schemaRefs/>
</ds:datastoreItem>
</file>

<file path=customXml/itemProps19.xml><?xml version="1.0" encoding="utf-8"?>
<ds:datastoreItem xmlns:ds="http://schemas.openxmlformats.org/officeDocument/2006/customXml" ds:itemID="{D476692F-661A-4001-AA69-987DFA912D48}">
  <ds:schemaRefs/>
</ds:datastoreItem>
</file>

<file path=customXml/itemProps2.xml><?xml version="1.0" encoding="utf-8"?>
<ds:datastoreItem xmlns:ds="http://schemas.openxmlformats.org/officeDocument/2006/customXml" ds:itemID="{FC190AF1-947E-4CDE-93B6-1A10C2966583}">
  <ds:schemaRefs/>
</ds:datastoreItem>
</file>

<file path=customXml/itemProps20.xml><?xml version="1.0" encoding="utf-8"?>
<ds:datastoreItem xmlns:ds="http://schemas.openxmlformats.org/officeDocument/2006/customXml" ds:itemID="{608037BA-C216-4CE3-B28F-0DCA16A695BB}">
  <ds:schemaRefs>
    <ds:schemaRef ds:uri="bc86049e-8f30-46c0-be7b-4574519e8ca9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terms/"/>
    <ds:schemaRef ds:uri="c8b59e23-51f1-4b01-af8c-859006f4fcad"/>
    <ds:schemaRef ds:uri="http://purl.org/dc/elements/1.1/"/>
  </ds:schemaRefs>
</ds:datastoreItem>
</file>

<file path=customXml/itemProps21.xml><?xml version="1.0" encoding="utf-8"?>
<ds:datastoreItem xmlns:ds="http://schemas.openxmlformats.org/officeDocument/2006/customXml" ds:itemID="{FD177200-D116-4FD9-8D73-AFF5DA84BCB9}">
  <ds:schemaRefs/>
</ds:datastoreItem>
</file>

<file path=customXml/itemProps22.xml><?xml version="1.0" encoding="utf-8"?>
<ds:datastoreItem xmlns:ds="http://schemas.openxmlformats.org/officeDocument/2006/customXml" ds:itemID="{7EA97D84-4661-48F7-A100-9A6965D0E351}">
  <ds:schemaRefs/>
</ds:datastoreItem>
</file>

<file path=customXml/itemProps23.xml><?xml version="1.0" encoding="utf-8"?>
<ds:datastoreItem xmlns:ds="http://schemas.openxmlformats.org/officeDocument/2006/customXml" ds:itemID="{937639FC-E483-47A8-9C9E-475CADA545A3}">
  <ds:schemaRefs/>
</ds:datastoreItem>
</file>

<file path=customXml/itemProps24.xml><?xml version="1.0" encoding="utf-8"?>
<ds:datastoreItem xmlns:ds="http://schemas.openxmlformats.org/officeDocument/2006/customXml" ds:itemID="{8CC91E9A-6062-4525-89F2-46B07DB7083D}">
  <ds:schemaRefs/>
</ds:datastoreItem>
</file>

<file path=customXml/itemProps25.xml><?xml version="1.0" encoding="utf-8"?>
<ds:datastoreItem xmlns:ds="http://schemas.openxmlformats.org/officeDocument/2006/customXml" ds:itemID="{59527EAC-5E30-48C1-AEA4-366D843CE3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b59e23-51f1-4b01-af8c-859006f4fcad"/>
    <ds:schemaRef ds:uri="bc86049e-8f30-46c0-be7b-4574519e8c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6.xml><?xml version="1.0" encoding="utf-8"?>
<ds:datastoreItem xmlns:ds="http://schemas.openxmlformats.org/officeDocument/2006/customXml" ds:itemID="{625C9971-1430-4795-89A4-9D0E02100329}">
  <ds:schemaRefs/>
</ds:datastoreItem>
</file>

<file path=customXml/itemProps27.xml><?xml version="1.0" encoding="utf-8"?>
<ds:datastoreItem xmlns:ds="http://schemas.openxmlformats.org/officeDocument/2006/customXml" ds:itemID="{B2DBC380-ECED-4FA4-A21E-1D4671519FD0}">
  <ds:schemaRefs/>
</ds:datastoreItem>
</file>

<file path=customXml/itemProps28.xml><?xml version="1.0" encoding="utf-8"?>
<ds:datastoreItem xmlns:ds="http://schemas.openxmlformats.org/officeDocument/2006/customXml" ds:itemID="{06A681B0-1D61-4FAC-A8A3-82CB1032ADEB}">
  <ds:schemaRefs/>
</ds:datastoreItem>
</file>

<file path=customXml/itemProps29.xml><?xml version="1.0" encoding="utf-8"?>
<ds:datastoreItem xmlns:ds="http://schemas.openxmlformats.org/officeDocument/2006/customXml" ds:itemID="{32CD8AAD-88A4-4B77-94B2-56E4D31B5CA6}">
  <ds:schemaRefs/>
</ds:datastoreItem>
</file>

<file path=customXml/itemProps3.xml><?xml version="1.0" encoding="utf-8"?>
<ds:datastoreItem xmlns:ds="http://schemas.openxmlformats.org/officeDocument/2006/customXml" ds:itemID="{E9DAE8E7-F793-429C-8027-7F4558738C06}">
  <ds:schemaRefs/>
</ds:datastoreItem>
</file>

<file path=customXml/itemProps30.xml><?xml version="1.0" encoding="utf-8"?>
<ds:datastoreItem xmlns:ds="http://schemas.openxmlformats.org/officeDocument/2006/customXml" ds:itemID="{09465A75-00E1-4712-8A4B-B27ED86B30CB}">
  <ds:schemaRefs/>
</ds:datastoreItem>
</file>

<file path=customXml/itemProps31.xml><?xml version="1.0" encoding="utf-8"?>
<ds:datastoreItem xmlns:ds="http://schemas.openxmlformats.org/officeDocument/2006/customXml" ds:itemID="{BF4F3143-2AC4-4949-8ABF-548A432270CD}">
  <ds:schemaRefs/>
</ds:datastoreItem>
</file>

<file path=customXml/itemProps4.xml><?xml version="1.0" encoding="utf-8"?>
<ds:datastoreItem xmlns:ds="http://schemas.openxmlformats.org/officeDocument/2006/customXml" ds:itemID="{E43704B5-269D-4DC9-8949-0952D336111C}">
  <ds:schemaRefs/>
</ds:datastoreItem>
</file>

<file path=customXml/itemProps5.xml><?xml version="1.0" encoding="utf-8"?>
<ds:datastoreItem xmlns:ds="http://schemas.openxmlformats.org/officeDocument/2006/customXml" ds:itemID="{A1DEA022-BC7B-4BA5-8BAF-B71F9F8A5CF9}">
  <ds:schemaRefs/>
</ds:datastoreItem>
</file>

<file path=customXml/itemProps6.xml><?xml version="1.0" encoding="utf-8"?>
<ds:datastoreItem xmlns:ds="http://schemas.openxmlformats.org/officeDocument/2006/customXml" ds:itemID="{A8D08D2C-516C-4856-AE47-8AC44E7FD46A}">
  <ds:schemaRefs/>
</ds:datastoreItem>
</file>

<file path=customXml/itemProps7.xml><?xml version="1.0" encoding="utf-8"?>
<ds:datastoreItem xmlns:ds="http://schemas.openxmlformats.org/officeDocument/2006/customXml" ds:itemID="{BDBAE3D3-C83F-439A-B281-1DE33FB49245}">
  <ds:schemaRefs/>
</ds:datastoreItem>
</file>

<file path=customXml/itemProps8.xml><?xml version="1.0" encoding="utf-8"?>
<ds:datastoreItem xmlns:ds="http://schemas.openxmlformats.org/officeDocument/2006/customXml" ds:itemID="{925B950C-9663-42C8-8260-9AF463C30D93}">
  <ds:schemaRefs/>
</ds:datastoreItem>
</file>

<file path=customXml/itemProps9.xml><?xml version="1.0" encoding="utf-8"?>
<ds:datastoreItem xmlns:ds="http://schemas.openxmlformats.org/officeDocument/2006/customXml" ds:itemID="{C48DCDDC-EF3A-4AA0-BE77-35A45406EA8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zf</Template>
  <TotalTime>0</TotalTime>
  <Words>1009</Words>
  <Application>Microsoft Office PowerPoint</Application>
  <PresentationFormat>Předvádění na obrazovce (16:9)</PresentationFormat>
  <Paragraphs>249</Paragraphs>
  <Slides>14</Slides>
  <Notes>10</Notes>
  <HiddenSlides>0</HiddenSlides>
  <MMClips>0</MMClips>
  <ScaleCrop>false</ScaleCrop>
  <HeadingPairs>
    <vt:vector size="10" baseType="variant">
      <vt:variant>
        <vt:lpstr>Použitá písma</vt:lpstr>
      </vt:variant>
      <vt:variant>
        <vt:i4>5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4</vt:i4>
      </vt:variant>
      <vt:variant>
        <vt:lpstr>Vlastní prezentace</vt:lpstr>
      </vt:variant>
      <vt:variant>
        <vt:i4>6</vt:i4>
      </vt:variant>
    </vt:vector>
  </HeadingPairs>
  <TitlesOfParts>
    <vt:vector size="29" baseType="lpstr">
      <vt:lpstr>Arial</vt:lpstr>
      <vt:lpstr>Calibri</vt:lpstr>
      <vt:lpstr>Tahoma</vt:lpstr>
      <vt:lpstr>Wingdings</vt:lpstr>
      <vt:lpstr>ZF Prometo Medium</vt:lpstr>
      <vt:lpstr>ZF AG</vt:lpstr>
      <vt:lpstr>5_ZF AG</vt:lpstr>
      <vt:lpstr>1_ZF AG</vt:lpstr>
      <vt:lpstr>think-cell Slide</vt:lpstr>
      <vt:lpstr>ZF Engineering Company presentation</vt:lpstr>
      <vt:lpstr>Prezentace aplikace PowerPoint</vt:lpstr>
      <vt:lpstr>ZF Milestones</vt:lpstr>
      <vt:lpstr>ZF products we are contributing to with engineering work</vt:lpstr>
      <vt:lpstr>Prezentace aplikace PowerPoint</vt:lpstr>
      <vt:lpstr>ZF locations in the Czech Republic in 2021: 3614 employees</vt:lpstr>
      <vt:lpstr>Key Figures – Locations </vt:lpstr>
      <vt:lpstr>ZF Engineering Plzeň s.r.o.  </vt:lpstr>
      <vt:lpstr>Prezentace aplikace PowerPoint</vt:lpstr>
      <vt:lpstr>Company culture</vt:lpstr>
      <vt:lpstr>Prezentace aplikace PowerPoint</vt:lpstr>
      <vt:lpstr>Bachelor &amp; diploma thesis</vt:lpstr>
      <vt:lpstr>Prezentace aplikace PowerPoint</vt:lpstr>
      <vt:lpstr>Prezentace aplikace PowerPoint</vt:lpstr>
      <vt:lpstr>Short introduction</vt:lpstr>
      <vt:lpstr>Electronics</vt:lpstr>
      <vt:lpstr>Mechanics</vt:lpstr>
      <vt:lpstr>Rapid Prototyping</vt:lpstr>
      <vt:lpstr>Support functions</vt:lpstr>
      <vt:lpstr>Membershi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F Engineering Plzeň 2021</dc:title>
  <dc:subject/>
  <dc:creator/>
  <cp:keywords>Public</cp:keywords>
  <cp:lastModifiedBy/>
  <cp:revision>90</cp:revision>
  <dcterms:created xsi:type="dcterms:W3CDTF">2017-08-02T13:05:50Z</dcterms:created>
  <dcterms:modified xsi:type="dcterms:W3CDTF">2024-09-25T06:2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>ZF Engineering Plzeň 2021</vt:lpwstr>
  </property>
  <property fmtid="{D5CDD505-2E9C-101B-9397-08002B2CF9AE}" pid="3" name="tw_theme">
    <vt:lpwstr/>
  </property>
  <property fmtid="{D5CDD505-2E9C-101B-9397-08002B2CF9AE}" pid="4" name="tw_company">
    <vt:lpwstr/>
  </property>
  <property fmtid="{D5CDD505-2E9C-101B-9397-08002B2CF9AE}" pid="5" name="tw_unit">
    <vt:lpwstr/>
  </property>
  <property fmtid="{D5CDD505-2E9C-101B-9397-08002B2CF9AE}" pid="6" name="tw_speaker">
    <vt:lpwstr>Dr. Mathias Eickhoff</vt:lpwstr>
  </property>
  <property fmtid="{D5CDD505-2E9C-101B-9397-08002B2CF9AE}" pid="7" name="tw_function">
    <vt:lpwstr/>
  </property>
  <property fmtid="{D5CDD505-2E9C-101B-9397-08002B2CF9AE}" pid="8" name="tw_location">
    <vt:lpwstr/>
  </property>
  <property fmtid="{D5CDD505-2E9C-101B-9397-08002B2CF9AE}" pid="9" name="tw_date">
    <vt:lpwstr/>
  </property>
  <property fmtid="{D5CDD505-2E9C-101B-9397-08002B2CF9AE}" pid="10" name="Dokumenten-ID">
    <vt:lpwstr>1UKOY44AZQ932XXRJBRX7CJN4N</vt:lpwstr>
  </property>
  <property fmtid="{D5CDD505-2E9C-101B-9397-08002B2CF9AE}" pid="11" name="NovaPath-Version">
    <vt:lpwstr>4.6.8.12343</vt:lpwstr>
  </property>
  <property fmtid="{D5CDD505-2E9C-101B-9397-08002B2CF9AE}" pid="12" name="Klassifizierung">
    <vt:lpwstr>Public</vt:lpwstr>
  </property>
  <property fmtid="{D5CDD505-2E9C-101B-9397-08002B2CF9AE}" pid="13" name="Klassifizierungs-Id">
    <vt:lpwstr>1010</vt:lpwstr>
  </property>
  <property fmtid="{D5CDD505-2E9C-101B-9397-08002B2CF9AE}" pid="14" name="Klassifizierungs-Datum">
    <vt:lpwstr>10/19/2017 13:50:03</vt:lpwstr>
  </property>
  <property fmtid="{D5CDD505-2E9C-101B-9397-08002B2CF9AE}" pid="15" name="tw_cover_word">
    <vt:lpwstr/>
  </property>
  <property fmtid="{D5CDD505-2E9C-101B-9397-08002B2CF9AE}" pid="16" name="ContentTypeId">
    <vt:lpwstr>0x010100E23B377CDAB9F44086062B70D3470BEA</vt:lpwstr>
  </property>
  <property fmtid="{D5CDD505-2E9C-101B-9397-08002B2CF9AE}" pid="17" name="MSIP_Label_7294a1c8-9899-41e7-8f6e-8b1b3c79592a_Enabled">
    <vt:lpwstr>true</vt:lpwstr>
  </property>
  <property fmtid="{D5CDD505-2E9C-101B-9397-08002B2CF9AE}" pid="18" name="MSIP_Label_7294a1c8-9899-41e7-8f6e-8b1b3c79592a_SetDate">
    <vt:lpwstr>2022-03-30T13:37:13Z</vt:lpwstr>
  </property>
  <property fmtid="{D5CDD505-2E9C-101B-9397-08002B2CF9AE}" pid="19" name="MSIP_Label_7294a1c8-9899-41e7-8f6e-8b1b3c79592a_Method">
    <vt:lpwstr>Privileged</vt:lpwstr>
  </property>
  <property fmtid="{D5CDD505-2E9C-101B-9397-08002B2CF9AE}" pid="20" name="MSIP_Label_7294a1c8-9899-41e7-8f6e-8b1b3c79592a_Name">
    <vt:lpwstr>Internal sub2 (no marking)</vt:lpwstr>
  </property>
  <property fmtid="{D5CDD505-2E9C-101B-9397-08002B2CF9AE}" pid="21" name="MSIP_Label_7294a1c8-9899-41e7-8f6e-8b1b3c79592a_SiteId">
    <vt:lpwstr>eb70b763-b6d7-4486-8555-8831709a784e</vt:lpwstr>
  </property>
  <property fmtid="{D5CDD505-2E9C-101B-9397-08002B2CF9AE}" pid="22" name="MSIP_Label_7294a1c8-9899-41e7-8f6e-8b1b3c79592a_ActionId">
    <vt:lpwstr>0a8cd540-10ed-4039-b146-c62342e0497a</vt:lpwstr>
  </property>
  <property fmtid="{D5CDD505-2E9C-101B-9397-08002B2CF9AE}" pid="23" name="MSIP_Label_7294a1c8-9899-41e7-8f6e-8b1b3c79592a_ContentBits">
    <vt:lpwstr>0</vt:lpwstr>
  </property>
</Properties>
</file>